
<file path=[Content_Types].xml><?xml version="1.0" encoding="utf-8"?>
<Types xmlns="http://schemas.openxmlformats.org/package/2006/content-types">
  <Default Extension="xml" ContentType="application/xml"/>
  <Default Extension="jpeg" ContentType="image/jpeg"/>
  <Default Extension="jpg" ContentType="image/jpeg"/>
  <Default Extension="rels" ContentType="application/vnd.openxmlformats-package.relationships+xml"/>
  <Default Extension="xlsx" ContentType="application/vnd.openxmlformats-officedocument.spreadsheetml.sheet"/>
  <Default Extension="tmp" ContentType="image/p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10.xml" ContentType="application/vnd.openxmlformats-officedocument.presentationml.notesSlide+xml"/>
  <Override PartName="/ppt/charts/chart4.xml" ContentType="application/vnd.openxmlformats-officedocument.drawingml.chart+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6.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715" r:id="rId1"/>
  </p:sldMasterIdLst>
  <p:notesMasterIdLst>
    <p:notesMasterId r:id="rId53"/>
  </p:notesMasterIdLst>
  <p:handoutMasterIdLst>
    <p:handoutMasterId r:id="rId54"/>
  </p:handoutMasterIdLst>
  <p:sldIdLst>
    <p:sldId id="348" r:id="rId2"/>
    <p:sldId id="354" r:id="rId3"/>
    <p:sldId id="359" r:id="rId4"/>
    <p:sldId id="397" r:id="rId5"/>
    <p:sldId id="357" r:id="rId6"/>
    <p:sldId id="358" r:id="rId7"/>
    <p:sldId id="360" r:id="rId8"/>
    <p:sldId id="362" r:id="rId9"/>
    <p:sldId id="363" r:id="rId10"/>
    <p:sldId id="364" r:id="rId11"/>
    <p:sldId id="365" r:id="rId12"/>
    <p:sldId id="366" r:id="rId13"/>
    <p:sldId id="367" r:id="rId14"/>
    <p:sldId id="399" r:id="rId15"/>
    <p:sldId id="400" r:id="rId16"/>
    <p:sldId id="368" r:id="rId17"/>
    <p:sldId id="370" r:id="rId18"/>
    <p:sldId id="371" r:id="rId19"/>
    <p:sldId id="372" r:id="rId20"/>
    <p:sldId id="369" r:id="rId21"/>
    <p:sldId id="374" r:id="rId22"/>
    <p:sldId id="375" r:id="rId23"/>
    <p:sldId id="373" r:id="rId24"/>
    <p:sldId id="376" r:id="rId25"/>
    <p:sldId id="377" r:id="rId26"/>
    <p:sldId id="380" r:id="rId27"/>
    <p:sldId id="381" r:id="rId28"/>
    <p:sldId id="390" r:id="rId29"/>
    <p:sldId id="382" r:id="rId30"/>
    <p:sldId id="384" r:id="rId31"/>
    <p:sldId id="385" r:id="rId32"/>
    <p:sldId id="387" r:id="rId33"/>
    <p:sldId id="388" r:id="rId34"/>
    <p:sldId id="410" r:id="rId35"/>
    <p:sldId id="389" r:id="rId36"/>
    <p:sldId id="393" r:id="rId37"/>
    <p:sldId id="395" r:id="rId38"/>
    <p:sldId id="396" r:id="rId39"/>
    <p:sldId id="392" r:id="rId40"/>
    <p:sldId id="401" r:id="rId41"/>
    <p:sldId id="404" r:id="rId42"/>
    <p:sldId id="405" r:id="rId43"/>
    <p:sldId id="317" r:id="rId44"/>
    <p:sldId id="351" r:id="rId45"/>
    <p:sldId id="352" r:id="rId46"/>
    <p:sldId id="349" r:id="rId47"/>
    <p:sldId id="406" r:id="rId48"/>
    <p:sldId id="407" r:id="rId49"/>
    <p:sldId id="408" r:id="rId50"/>
    <p:sldId id="258" r:id="rId51"/>
    <p:sldId id="409" r:id="rId52"/>
  </p:sldIdLst>
  <p:sldSz cx="9144000" cy="6858000" type="screen4x3"/>
  <p:notesSz cx="7099300" cy="10234613"/>
  <p:custDataLst>
    <p:tags r:id="rId56"/>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799">
          <p15:clr>
            <a:srgbClr val="A4A3A4"/>
          </p15:clr>
        </p15:guide>
        <p15:guide id="2" orient="horz" pos="4020">
          <p15:clr>
            <a:srgbClr val="A4A3A4"/>
          </p15:clr>
        </p15:guide>
        <p15:guide id="3" pos="158">
          <p15:clr>
            <a:srgbClr val="A4A3A4"/>
          </p15:clr>
        </p15:guide>
        <p15:guide id="4" pos="5602">
          <p15:clr>
            <a:srgbClr val="A4A3A4"/>
          </p15:clr>
        </p15:guide>
      </p15:sldGuideLst>
    </p:ext>
    <p:ext uri="{2D200454-40CA-4A62-9FC3-DE9A4176ACB9}">
      <p15:notesGuideLst xmlns:p15="http://schemas.microsoft.com/office/powerpoint/2012/main" xmlns="">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000066"/>
    <a:srgbClr val="3333FF"/>
    <a:srgbClr val="000099"/>
    <a:srgbClr val="E9E6E6"/>
    <a:srgbClr val="FF0066"/>
    <a:srgbClr val="DEE6ED"/>
    <a:srgbClr val="C8D8E6"/>
    <a:srgbClr val="23476E"/>
    <a:srgbClr val="2321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65" autoAdjust="0"/>
    <p:restoredTop sz="87035" autoAdjust="0"/>
  </p:normalViewPr>
  <p:slideViewPr>
    <p:cSldViewPr snapToObjects="1" showGuides="1">
      <p:cViewPr varScale="1">
        <p:scale>
          <a:sx n="76" d="100"/>
          <a:sy n="76" d="100"/>
        </p:scale>
        <p:origin x="-1816" y="-104"/>
      </p:cViewPr>
      <p:guideLst>
        <p:guide orient="horz" pos="799"/>
        <p:guide orient="horz" pos="4020"/>
        <p:guide pos="158"/>
        <p:guide pos="5602"/>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62" d="100"/>
          <a:sy n="62" d="100"/>
        </p:scale>
        <p:origin x="-3342" y="-84"/>
      </p:cViewPr>
      <p:guideLst>
        <p:guide orient="horz" pos="187"/>
        <p:guide orient="horz" pos="638"/>
        <p:guide orient="horz" pos="453"/>
        <p:guide orient="horz" pos="6262"/>
        <p:guide pos="4186"/>
        <p:guide pos="286"/>
        <p:guide pos="830"/>
        <p:guide pos="386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notesMaster" Target="notesMasters/notesMaster1.xml"/><Relationship Id="rId54" Type="http://schemas.openxmlformats.org/officeDocument/2006/relationships/handoutMaster" Target="handoutMasters/handoutMaster1.xml"/><Relationship Id="rId55" Type="http://schemas.openxmlformats.org/officeDocument/2006/relationships/printerSettings" Target="printerSettings/printerSettings1.bin"/><Relationship Id="rId56" Type="http://schemas.openxmlformats.org/officeDocument/2006/relationships/tags" Target="tags/tag1.xml"/><Relationship Id="rId57" Type="http://schemas.openxmlformats.org/officeDocument/2006/relationships/presProps" Target="presProps.xml"/><Relationship Id="rId58" Type="http://schemas.openxmlformats.org/officeDocument/2006/relationships/viewProps" Target="viewProps.xml"/><Relationship Id="rId59" Type="http://schemas.openxmlformats.org/officeDocument/2006/relationships/theme" Target="theme/theme1.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971780418954"/>
          <c:y val="0.0598481732812393"/>
          <c:w val="0.547505184400208"/>
          <c:h val="0.880303653437522"/>
        </c:manualLayout>
      </c:layout>
      <c:barChart>
        <c:barDir val="bar"/>
        <c:grouping val="clustered"/>
        <c:varyColors val="0"/>
        <c:ser>
          <c:idx val="0"/>
          <c:order val="0"/>
          <c:tx>
            <c:strRef>
              <c:f>Tabelle1!$B$1</c:f>
              <c:strCache>
                <c:ptCount val="1"/>
                <c:pt idx="0">
                  <c:v>market share</c:v>
                </c:pt>
              </c:strCache>
            </c:strRef>
          </c:tx>
          <c:spPr>
            <a:solidFill>
              <a:schemeClr val="accent4"/>
            </a:solidFill>
          </c:spPr>
          <c:invertIfNegative val="0"/>
          <c:dPt>
            <c:idx val="3"/>
            <c:invertIfNegative val="0"/>
            <c:bubble3D val="0"/>
            <c:spPr>
              <a:solidFill>
                <a:schemeClr val="accent1"/>
              </a:solidFill>
            </c:spPr>
          </c:dPt>
          <c:dLbls>
            <c:dLbl>
              <c:idx val="0"/>
              <c:layout/>
              <c:tx>
                <c:rich>
                  <a:bodyPr/>
                  <a:lstStyle/>
                  <a:p>
                    <a:r>
                      <a:rPr lang="en-US" dirty="0" smtClean="0">
                        <a:solidFill>
                          <a:schemeClr val="tx1"/>
                        </a:solidFill>
                      </a:rPr>
                      <a:t>6.7%</a:t>
                    </a:r>
                    <a:endParaRPr lang="en-US" dirty="0"/>
                  </a:p>
                </c:rich>
              </c:tx>
              <c:dLblPos val="outEnd"/>
              <c:showLegendKey val="0"/>
              <c:showVal val="1"/>
              <c:showCatName val="0"/>
              <c:showSerName val="0"/>
              <c:showPercent val="0"/>
              <c:showBubbleSize val="0"/>
            </c:dLbl>
            <c:dLbl>
              <c:idx val="1"/>
              <c:layout/>
              <c:tx>
                <c:rich>
                  <a:bodyPr/>
                  <a:lstStyle/>
                  <a:p>
                    <a:r>
                      <a:rPr lang="en-US" dirty="0" smtClean="0">
                        <a:solidFill>
                          <a:schemeClr val="tx1"/>
                        </a:solidFill>
                      </a:rPr>
                      <a:t>15.2%</a:t>
                    </a:r>
                    <a:endParaRPr lang="en-US" dirty="0"/>
                  </a:p>
                </c:rich>
              </c:tx>
              <c:dLblPos val="outEnd"/>
              <c:showLegendKey val="0"/>
              <c:showVal val="1"/>
              <c:showCatName val="0"/>
              <c:showSerName val="0"/>
              <c:showPercent val="0"/>
              <c:showBubbleSize val="0"/>
            </c:dLbl>
            <c:dLbl>
              <c:idx val="2"/>
              <c:layout/>
              <c:tx>
                <c:rich>
                  <a:bodyPr/>
                  <a:lstStyle/>
                  <a:p>
                    <a:r>
                      <a:rPr lang="en-US" dirty="0" smtClean="0">
                        <a:solidFill>
                          <a:schemeClr val="tx1"/>
                        </a:solidFill>
                      </a:rPr>
                      <a:t>16.0%</a:t>
                    </a:r>
                    <a:endParaRPr lang="en-US" dirty="0"/>
                  </a:p>
                </c:rich>
              </c:tx>
              <c:dLblPos val="outEnd"/>
              <c:showLegendKey val="0"/>
              <c:showVal val="1"/>
              <c:showCatName val="0"/>
              <c:showSerName val="0"/>
              <c:showPercent val="0"/>
              <c:showBubbleSize val="0"/>
            </c:dLbl>
            <c:dLbl>
              <c:idx val="3"/>
              <c:layout/>
              <c:tx>
                <c:rich>
                  <a:bodyPr/>
                  <a:lstStyle/>
                  <a:p>
                    <a:r>
                      <a:rPr lang="en-US" dirty="0" smtClean="0">
                        <a:solidFill>
                          <a:schemeClr val="tx1"/>
                        </a:solidFill>
                      </a:rPr>
                      <a:t>23.9%</a:t>
                    </a:r>
                    <a:endParaRPr lang="en-US" dirty="0"/>
                  </a:p>
                </c:rich>
              </c:tx>
              <c:dLblPos val="outEnd"/>
              <c:showLegendKey val="0"/>
              <c:showVal val="1"/>
              <c:showCatName val="0"/>
              <c:showSerName val="0"/>
              <c:showPercent val="0"/>
              <c:showBubbleSize val="0"/>
            </c:dLbl>
            <c:dLbl>
              <c:idx val="4"/>
              <c:layout/>
              <c:tx>
                <c:rich>
                  <a:bodyPr/>
                  <a:lstStyle/>
                  <a:p>
                    <a:r>
                      <a:rPr lang="en-US" dirty="0" smtClean="0">
                        <a:solidFill>
                          <a:schemeClr val="tx1"/>
                        </a:solidFill>
                      </a:rPr>
                      <a:t>30.5%</a:t>
                    </a:r>
                    <a:endParaRPr lang="en-US" dirty="0"/>
                  </a:p>
                </c:rich>
              </c:tx>
              <c:dLblPos val="outEnd"/>
              <c:showLegendKey val="0"/>
              <c:showVal val="1"/>
              <c:showCatName val="0"/>
              <c:showSerName val="0"/>
              <c:showPercent val="0"/>
              <c:showBubbleSize val="0"/>
            </c:dLbl>
            <c:txPr>
              <a:bodyPr/>
              <a:lstStyle/>
              <a:p>
                <a:pPr>
                  <a:defRPr sz="1100">
                    <a:solidFill>
                      <a:schemeClr val="tx1"/>
                    </a:solidFill>
                  </a:defRPr>
                </a:pPr>
                <a:endParaRPr lang="en-US"/>
              </a:p>
            </c:txPr>
            <c:dLblPos val="outEnd"/>
            <c:showLegendKey val="0"/>
            <c:showVal val="1"/>
            <c:showCatName val="0"/>
            <c:showSerName val="0"/>
            <c:showPercent val="0"/>
            <c:showBubbleSize val="0"/>
            <c:showLeaderLines val="0"/>
          </c:dLbls>
          <c:cat>
            <c:strRef>
              <c:f>Tabelle1!$A$2:$A$6</c:f>
              <c:strCache>
                <c:ptCount val="5"/>
                <c:pt idx="0">
                  <c:v>SHHIC</c:v>
                </c:pt>
                <c:pt idx="1">
                  <c:v>STMicro</c:v>
                </c:pt>
                <c:pt idx="2">
                  <c:v>Samsung</c:v>
                </c:pt>
                <c:pt idx="3">
                  <c:v>Infineon</c:v>
                </c:pt>
                <c:pt idx="4">
                  <c:v>NXP</c:v>
                </c:pt>
              </c:strCache>
            </c:strRef>
          </c:cat>
          <c:val>
            <c:numRef>
              <c:f>Tabelle1!$B$2:$B$6</c:f>
              <c:numCache>
                <c:formatCode>0.0%</c:formatCode>
                <c:ptCount val="5"/>
                <c:pt idx="0">
                  <c:v>0.067</c:v>
                </c:pt>
                <c:pt idx="1">
                  <c:v>0.152</c:v>
                </c:pt>
                <c:pt idx="2">
                  <c:v>0.16</c:v>
                </c:pt>
                <c:pt idx="3">
                  <c:v>0.239</c:v>
                </c:pt>
                <c:pt idx="4">
                  <c:v>0.305</c:v>
                </c:pt>
              </c:numCache>
            </c:numRef>
          </c:val>
        </c:ser>
        <c:dLbls>
          <c:showLegendKey val="0"/>
          <c:showVal val="0"/>
          <c:showCatName val="0"/>
          <c:showSerName val="0"/>
          <c:showPercent val="0"/>
          <c:showBubbleSize val="0"/>
        </c:dLbls>
        <c:gapWidth val="75"/>
        <c:overlap val="-25"/>
        <c:axId val="2114576568"/>
        <c:axId val="2114579560"/>
      </c:barChart>
      <c:catAx>
        <c:axId val="2114576568"/>
        <c:scaling>
          <c:orientation val="minMax"/>
        </c:scaling>
        <c:delete val="0"/>
        <c:axPos val="l"/>
        <c:majorTickMark val="none"/>
        <c:minorTickMark val="none"/>
        <c:tickLblPos val="nextTo"/>
        <c:crossAx val="2114579560"/>
        <c:crosses val="autoZero"/>
        <c:auto val="1"/>
        <c:lblAlgn val="ctr"/>
        <c:lblOffset val="100"/>
        <c:noMultiLvlLbl val="0"/>
      </c:catAx>
      <c:valAx>
        <c:axId val="2114579560"/>
        <c:scaling>
          <c:orientation val="minMax"/>
          <c:max val="0.35"/>
        </c:scaling>
        <c:delete val="1"/>
        <c:axPos val="b"/>
        <c:numFmt formatCode="0.0%" sourceLinked="1"/>
        <c:majorTickMark val="none"/>
        <c:minorTickMark val="none"/>
        <c:tickLblPos val="none"/>
        <c:crossAx val="211457656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5563320219805"/>
          <c:y val="0.05828225465966"/>
          <c:w val="0.420034392866513"/>
          <c:h val="0.88343549068068"/>
        </c:manualLayout>
      </c:layout>
      <c:barChart>
        <c:barDir val="bar"/>
        <c:grouping val="stacked"/>
        <c:varyColors val="0"/>
        <c:ser>
          <c:idx val="0"/>
          <c:order val="0"/>
          <c:tx>
            <c:strRef>
              <c:f>Tabelle1!$B$1</c:f>
              <c:strCache>
                <c:ptCount val="1"/>
                <c:pt idx="0">
                  <c:v>Market share</c:v>
                </c:pt>
              </c:strCache>
            </c:strRef>
          </c:tx>
          <c:spPr>
            <a:solidFill>
              <a:schemeClr val="accent4"/>
            </a:solidFill>
          </c:spPr>
          <c:invertIfNegative val="0"/>
          <c:dPt>
            <c:idx val="4"/>
            <c:invertIfNegative val="0"/>
            <c:bubble3D val="0"/>
            <c:spPr>
              <a:solidFill>
                <a:schemeClr val="accent1"/>
              </a:solidFill>
            </c:spPr>
          </c:dPt>
          <c:dLbls>
            <c:dLbl>
              <c:idx val="0"/>
              <c:layout>
                <c:manualLayout>
                  <c:x val="0.190271627639119"/>
                  <c:y val="9.24248377533835E-17"/>
                </c:manualLayout>
              </c:layout>
              <c:tx>
                <c:rich>
                  <a:bodyPr/>
                  <a:lstStyle/>
                  <a:p>
                    <a:r>
                      <a:rPr lang="en-US" dirty="0" smtClean="0">
                        <a:solidFill>
                          <a:schemeClr val="tx1"/>
                        </a:solidFill>
                      </a:rPr>
                      <a:t>5.4%</a:t>
                    </a:r>
                    <a:endParaRPr lang="en-US" dirty="0"/>
                  </a:p>
                </c:rich>
              </c:tx>
              <c:dLblPos val="ctr"/>
              <c:showLegendKey val="0"/>
              <c:showVal val="1"/>
              <c:showCatName val="0"/>
              <c:showSerName val="0"/>
              <c:showPercent val="0"/>
              <c:showBubbleSize val="0"/>
            </c:dLbl>
            <c:dLbl>
              <c:idx val="1"/>
              <c:layout>
                <c:manualLayout>
                  <c:x val="0.199553170450783"/>
                  <c:y val="0.0"/>
                </c:manualLayout>
              </c:layout>
              <c:tx>
                <c:rich>
                  <a:bodyPr/>
                  <a:lstStyle/>
                  <a:p>
                    <a:r>
                      <a:rPr lang="en-US" dirty="0" smtClean="0">
                        <a:solidFill>
                          <a:schemeClr val="tx1"/>
                        </a:solidFill>
                      </a:rPr>
                      <a:t>5.7%</a:t>
                    </a:r>
                    <a:endParaRPr lang="en-US" dirty="0"/>
                  </a:p>
                </c:rich>
              </c:tx>
              <c:dLblPos val="ctr"/>
              <c:showLegendKey val="0"/>
              <c:showVal val="1"/>
              <c:showCatName val="0"/>
              <c:showSerName val="0"/>
              <c:showPercent val="0"/>
              <c:showBubbleSize val="0"/>
            </c:dLbl>
            <c:dLbl>
              <c:idx val="2"/>
              <c:layout>
                <c:manualLayout>
                  <c:x val="0.204193941856615"/>
                  <c:y val="0.0"/>
                </c:manualLayout>
              </c:layout>
              <c:tx>
                <c:rich>
                  <a:bodyPr/>
                  <a:lstStyle/>
                  <a:p>
                    <a:r>
                      <a:rPr lang="en-US" dirty="0" smtClean="0">
                        <a:solidFill>
                          <a:schemeClr val="tx1"/>
                        </a:solidFill>
                      </a:rPr>
                      <a:t>5.9%</a:t>
                    </a:r>
                    <a:endParaRPr lang="en-US" dirty="0"/>
                  </a:p>
                </c:rich>
              </c:tx>
              <c:dLblPos val="ctr"/>
              <c:showLegendKey val="0"/>
              <c:showVal val="1"/>
              <c:showCatName val="0"/>
              <c:showSerName val="0"/>
              <c:showPercent val="0"/>
              <c:showBubbleSize val="0"/>
            </c:dLbl>
            <c:dLbl>
              <c:idx val="3"/>
              <c:layout>
                <c:manualLayout>
                  <c:x val="0.241320113103273"/>
                  <c:y val="0.0"/>
                </c:manualLayout>
              </c:layout>
              <c:tx>
                <c:rich>
                  <a:bodyPr/>
                  <a:lstStyle/>
                  <a:p>
                    <a:r>
                      <a:rPr lang="en-US" dirty="0" smtClean="0">
                        <a:solidFill>
                          <a:schemeClr val="tx1"/>
                        </a:solidFill>
                      </a:rPr>
                      <a:t>7.0%</a:t>
                    </a:r>
                    <a:endParaRPr lang="en-US" dirty="0"/>
                  </a:p>
                </c:rich>
              </c:tx>
              <c:dLblPos val="ctr"/>
              <c:showLegendKey val="0"/>
              <c:showVal val="1"/>
              <c:showCatName val="0"/>
              <c:showSerName val="0"/>
              <c:showPercent val="0"/>
              <c:showBubbleSize val="0"/>
            </c:dLbl>
            <c:dLbl>
              <c:idx val="4"/>
              <c:layout>
                <c:manualLayout>
                  <c:x val="0.324853998408252"/>
                  <c:y val="0.00504141302470888"/>
                </c:manualLayout>
              </c:layout>
              <c:tx>
                <c:rich>
                  <a:bodyPr/>
                  <a:lstStyle/>
                  <a:p>
                    <a:r>
                      <a:rPr lang="en-US" dirty="0" smtClean="0"/>
                      <a:t>19.2</a:t>
                    </a:r>
                    <a:r>
                      <a:rPr lang="en-US" dirty="0"/>
                      <a:t>%</a:t>
                    </a:r>
                  </a:p>
                </c:rich>
              </c:tx>
              <c:showLegendKey val="0"/>
              <c:showVal val="1"/>
              <c:showCatName val="0"/>
              <c:showSerName val="0"/>
              <c:showPercent val="0"/>
              <c:showBubbleSize val="0"/>
            </c:dLbl>
            <c:txPr>
              <a:bodyPr/>
              <a:lstStyle/>
              <a:p>
                <a:pPr>
                  <a:defRPr sz="1100">
                    <a:solidFill>
                      <a:schemeClr val="tx1"/>
                    </a:solidFill>
                  </a:defRPr>
                </a:pPr>
                <a:endParaRPr lang="en-US"/>
              </a:p>
            </c:txPr>
            <c:dLblPos val="ctr"/>
            <c:showLegendKey val="0"/>
            <c:showVal val="1"/>
            <c:showCatName val="0"/>
            <c:showSerName val="0"/>
            <c:showPercent val="0"/>
            <c:showBubbleSize val="0"/>
            <c:showLeaderLines val="0"/>
          </c:dLbls>
          <c:cat>
            <c:strRef>
              <c:f>Tabelle1!$A$2:$A$6</c:f>
              <c:strCache>
                <c:ptCount val="5"/>
                <c:pt idx="0">
                  <c:v>Toshiba</c:v>
                </c:pt>
                <c:pt idx="1">
                  <c:v>Fairchild</c:v>
                </c:pt>
                <c:pt idx="2">
                  <c:v>STMicro</c:v>
                </c:pt>
                <c:pt idx="3">
                  <c:v>Mitsubishi</c:v>
                </c:pt>
                <c:pt idx="4">
                  <c:v>Infineon
(incl. IRF)</c:v>
                </c:pt>
              </c:strCache>
            </c:strRef>
          </c:cat>
          <c:val>
            <c:numRef>
              <c:f>Tabelle1!$B$2:$B$6</c:f>
              <c:numCache>
                <c:formatCode>0.0%</c:formatCode>
                <c:ptCount val="5"/>
                <c:pt idx="0">
                  <c:v>0.054</c:v>
                </c:pt>
                <c:pt idx="1">
                  <c:v>0.057</c:v>
                </c:pt>
                <c:pt idx="2">
                  <c:v>0.059</c:v>
                </c:pt>
                <c:pt idx="3">
                  <c:v>0.07</c:v>
                </c:pt>
                <c:pt idx="4">
                  <c:v>0.192</c:v>
                </c:pt>
              </c:numCache>
            </c:numRef>
          </c:val>
        </c:ser>
        <c:dLbls>
          <c:showLegendKey val="0"/>
          <c:showVal val="0"/>
          <c:showCatName val="0"/>
          <c:showSerName val="0"/>
          <c:showPercent val="0"/>
          <c:showBubbleSize val="0"/>
        </c:dLbls>
        <c:gapWidth val="75"/>
        <c:overlap val="100"/>
        <c:axId val="2116278424"/>
        <c:axId val="2116281464"/>
      </c:barChart>
      <c:catAx>
        <c:axId val="2116278424"/>
        <c:scaling>
          <c:orientation val="minMax"/>
        </c:scaling>
        <c:delete val="0"/>
        <c:axPos val="l"/>
        <c:numFmt formatCode="0%" sourceLinked="0"/>
        <c:majorTickMark val="none"/>
        <c:minorTickMark val="none"/>
        <c:tickLblPos val="nextTo"/>
        <c:crossAx val="2116281464"/>
        <c:crosses val="autoZero"/>
        <c:auto val="1"/>
        <c:lblAlgn val="ctr"/>
        <c:lblOffset val="0"/>
        <c:noMultiLvlLbl val="0"/>
      </c:catAx>
      <c:valAx>
        <c:axId val="2116281464"/>
        <c:scaling>
          <c:orientation val="minMax"/>
          <c:max val="0.18"/>
        </c:scaling>
        <c:delete val="1"/>
        <c:axPos val="b"/>
        <c:numFmt formatCode="0.0%" sourceLinked="1"/>
        <c:majorTickMark val="none"/>
        <c:minorTickMark val="none"/>
        <c:tickLblPos val="none"/>
        <c:crossAx val="211627842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315423976608"/>
          <c:y val="0.0602025425554837"/>
          <c:w val="0.680922880116959"/>
          <c:h val="0.879594914889033"/>
        </c:manualLayout>
      </c:layout>
      <c:barChart>
        <c:barDir val="bar"/>
        <c:grouping val="clustered"/>
        <c:varyColors val="0"/>
        <c:ser>
          <c:idx val="0"/>
          <c:order val="0"/>
          <c:tx>
            <c:strRef>
              <c:f>Tabelle1!$B$1</c:f>
              <c:strCache>
                <c:ptCount val="1"/>
                <c:pt idx="0">
                  <c:v>Market share [%]</c:v>
                </c:pt>
              </c:strCache>
            </c:strRef>
          </c:tx>
          <c:spPr>
            <a:solidFill>
              <a:schemeClr val="accent4"/>
            </a:solidFill>
          </c:spPr>
          <c:invertIfNegative val="0"/>
          <c:dPt>
            <c:idx val="3"/>
            <c:invertIfNegative val="0"/>
            <c:bubble3D val="0"/>
            <c:spPr>
              <a:solidFill>
                <a:schemeClr val="accent1"/>
              </a:solidFill>
            </c:spPr>
          </c:dPt>
          <c:dLbls>
            <c:dLbl>
              <c:idx val="0"/>
              <c:layout/>
              <c:tx>
                <c:rich>
                  <a:bodyPr/>
                  <a:lstStyle/>
                  <a:p>
                    <a:r>
                      <a:rPr lang="en-US" smtClean="0">
                        <a:solidFill>
                          <a:schemeClr val="tx1"/>
                        </a:solidFill>
                      </a:rPr>
                      <a:t>6.8</a:t>
                    </a:r>
                    <a:r>
                      <a:rPr lang="en-US">
                        <a:solidFill>
                          <a:schemeClr val="tx1"/>
                        </a:solidFill>
                      </a:rPr>
                      <a:t>%</a:t>
                    </a:r>
                    <a:endParaRPr lang="en-US"/>
                  </a:p>
                </c:rich>
              </c:tx>
              <c:dLblPos val="outEnd"/>
              <c:showLegendKey val="0"/>
              <c:showVal val="1"/>
              <c:showCatName val="0"/>
              <c:showSerName val="0"/>
              <c:showPercent val="0"/>
              <c:showBubbleSize val="0"/>
            </c:dLbl>
            <c:dLbl>
              <c:idx val="1"/>
              <c:layout/>
              <c:tx>
                <c:rich>
                  <a:bodyPr/>
                  <a:lstStyle/>
                  <a:p>
                    <a:r>
                      <a:rPr lang="en-US" smtClean="0">
                        <a:solidFill>
                          <a:schemeClr val="tx1"/>
                        </a:solidFill>
                      </a:rPr>
                      <a:t>7.5</a:t>
                    </a:r>
                    <a:r>
                      <a:rPr lang="en-US">
                        <a:solidFill>
                          <a:schemeClr val="tx1"/>
                        </a:solidFill>
                      </a:rPr>
                      <a:t>%</a:t>
                    </a:r>
                    <a:endParaRPr lang="en-US"/>
                  </a:p>
                </c:rich>
              </c:tx>
              <c:dLblPos val="outEnd"/>
              <c:showLegendKey val="0"/>
              <c:showVal val="1"/>
              <c:showCatName val="0"/>
              <c:showSerName val="0"/>
              <c:showPercent val="0"/>
              <c:showBubbleSize val="0"/>
            </c:dLbl>
            <c:dLbl>
              <c:idx val="2"/>
              <c:layout/>
              <c:tx>
                <c:rich>
                  <a:bodyPr/>
                  <a:lstStyle/>
                  <a:p>
                    <a:r>
                      <a:rPr lang="en-US" smtClean="0">
                        <a:solidFill>
                          <a:schemeClr val="tx1"/>
                        </a:solidFill>
                      </a:rPr>
                      <a:t>7.8</a:t>
                    </a:r>
                    <a:r>
                      <a:rPr lang="en-US">
                        <a:solidFill>
                          <a:schemeClr val="tx1"/>
                        </a:solidFill>
                      </a:rPr>
                      <a:t>%</a:t>
                    </a:r>
                    <a:endParaRPr lang="en-US"/>
                  </a:p>
                </c:rich>
              </c:tx>
              <c:dLblPos val="outEnd"/>
              <c:showLegendKey val="0"/>
              <c:showVal val="1"/>
              <c:showCatName val="0"/>
              <c:showSerName val="0"/>
              <c:showPercent val="0"/>
              <c:showBubbleSize val="0"/>
            </c:dLbl>
            <c:dLbl>
              <c:idx val="3"/>
              <c:layout/>
              <c:tx>
                <c:rich>
                  <a:bodyPr/>
                  <a:lstStyle/>
                  <a:p>
                    <a:r>
                      <a:rPr lang="en-US" smtClean="0">
                        <a:solidFill>
                          <a:schemeClr val="tx1"/>
                        </a:solidFill>
                      </a:rPr>
                      <a:t>10.5</a:t>
                    </a:r>
                    <a:r>
                      <a:rPr lang="en-US">
                        <a:solidFill>
                          <a:schemeClr val="tx1"/>
                        </a:solidFill>
                      </a:rPr>
                      <a:t>%</a:t>
                    </a:r>
                    <a:endParaRPr lang="en-US"/>
                  </a:p>
                </c:rich>
              </c:tx>
              <c:dLblPos val="outEnd"/>
              <c:showLegendKey val="0"/>
              <c:showVal val="1"/>
              <c:showCatName val="0"/>
              <c:showSerName val="0"/>
              <c:showPercent val="0"/>
              <c:showBubbleSize val="0"/>
            </c:dLbl>
            <c:dLbl>
              <c:idx val="4"/>
              <c:layout/>
              <c:tx>
                <c:rich>
                  <a:bodyPr/>
                  <a:lstStyle/>
                  <a:p>
                    <a:r>
                      <a:rPr lang="en-US" smtClean="0">
                        <a:solidFill>
                          <a:schemeClr val="tx1"/>
                        </a:solidFill>
                      </a:rPr>
                      <a:t>12.0</a:t>
                    </a:r>
                    <a:r>
                      <a:rPr lang="en-US">
                        <a:solidFill>
                          <a:schemeClr val="tx1"/>
                        </a:solidFill>
                      </a:rPr>
                      <a:t>%</a:t>
                    </a:r>
                    <a:endParaRPr lang="en-US"/>
                  </a:p>
                </c:rich>
              </c:tx>
              <c:dLblPos val="outEnd"/>
              <c:showLegendKey val="0"/>
              <c:showVal val="1"/>
              <c:showCatName val="0"/>
              <c:showSerName val="0"/>
              <c:showPercent val="0"/>
              <c:showBubbleSize val="0"/>
            </c:dLbl>
            <c:txPr>
              <a:bodyPr/>
              <a:lstStyle/>
              <a:p>
                <a:pPr>
                  <a:defRPr sz="1100">
                    <a:solidFill>
                      <a:schemeClr val="tx1"/>
                    </a:solidFill>
                  </a:defRPr>
                </a:pPr>
                <a:endParaRPr lang="en-US"/>
              </a:p>
            </c:txPr>
            <c:dLblPos val="outEnd"/>
            <c:showLegendKey val="0"/>
            <c:showVal val="1"/>
            <c:showCatName val="0"/>
            <c:showSerName val="0"/>
            <c:showPercent val="0"/>
            <c:showBubbleSize val="0"/>
            <c:showLeaderLines val="0"/>
          </c:dLbls>
          <c:cat>
            <c:strRef>
              <c:f>Tabelle1!$A$2:$A$6</c:f>
              <c:strCache>
                <c:ptCount val="5"/>
                <c:pt idx="0">
                  <c:v>NXP</c:v>
                </c:pt>
                <c:pt idx="1">
                  <c:v>Freescale</c:v>
                </c:pt>
                <c:pt idx="2">
                  <c:v>STMicro</c:v>
                </c:pt>
                <c:pt idx="3">
                  <c:v>Infineon
(incl. IRF)</c:v>
                </c:pt>
                <c:pt idx="4">
                  <c:v>Renesas</c:v>
                </c:pt>
              </c:strCache>
            </c:strRef>
          </c:cat>
          <c:val>
            <c:numRef>
              <c:f>Tabelle1!$B$2:$B$6</c:f>
              <c:numCache>
                <c:formatCode>0.0%</c:formatCode>
                <c:ptCount val="5"/>
                <c:pt idx="0">
                  <c:v>0.068</c:v>
                </c:pt>
                <c:pt idx="1">
                  <c:v>0.075</c:v>
                </c:pt>
                <c:pt idx="2">
                  <c:v>0.078</c:v>
                </c:pt>
                <c:pt idx="3">
                  <c:v>0.105</c:v>
                </c:pt>
                <c:pt idx="4">
                  <c:v>0.12</c:v>
                </c:pt>
              </c:numCache>
            </c:numRef>
          </c:val>
        </c:ser>
        <c:dLbls>
          <c:showLegendKey val="0"/>
          <c:showVal val="0"/>
          <c:showCatName val="0"/>
          <c:showSerName val="0"/>
          <c:showPercent val="0"/>
          <c:showBubbleSize val="0"/>
        </c:dLbls>
        <c:gapWidth val="75"/>
        <c:overlap val="-25"/>
        <c:axId val="2116320248"/>
        <c:axId val="2116323304"/>
      </c:barChart>
      <c:catAx>
        <c:axId val="2116320248"/>
        <c:scaling>
          <c:orientation val="minMax"/>
        </c:scaling>
        <c:delete val="0"/>
        <c:axPos val="l"/>
        <c:numFmt formatCode="0%" sourceLinked="0"/>
        <c:majorTickMark val="none"/>
        <c:minorTickMark val="none"/>
        <c:tickLblPos val="nextTo"/>
        <c:crossAx val="2116323304"/>
        <c:crosses val="autoZero"/>
        <c:auto val="1"/>
        <c:lblAlgn val="ctr"/>
        <c:lblOffset val="100"/>
        <c:noMultiLvlLbl val="0"/>
      </c:catAx>
      <c:valAx>
        <c:axId val="2116323304"/>
        <c:scaling>
          <c:orientation val="minMax"/>
          <c:max val="0.15"/>
        </c:scaling>
        <c:delete val="1"/>
        <c:axPos val="b"/>
        <c:numFmt formatCode="0.0%" sourceLinked="1"/>
        <c:majorTickMark val="none"/>
        <c:minorTickMark val="none"/>
        <c:tickLblPos val="none"/>
        <c:crossAx val="211632024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74891249335153"/>
          <c:y val="0.0331634566719557"/>
          <c:w val="0.962510875066485"/>
          <c:h val="0.933673086656134"/>
        </c:manualLayout>
      </c:layout>
      <c:pieChart>
        <c:varyColors val="1"/>
        <c:ser>
          <c:idx val="0"/>
          <c:order val="0"/>
          <c:tx>
            <c:strRef>
              <c:f>Tabelle1!$B$1</c:f>
              <c:strCache>
                <c:ptCount val="1"/>
                <c:pt idx="0">
                  <c:v>Revenue</c:v>
                </c:pt>
              </c:strCache>
            </c:strRef>
          </c:tx>
          <c:dPt>
            <c:idx val="0"/>
            <c:bubble3D val="0"/>
            <c:spPr>
              <a:solidFill>
                <a:schemeClr val="accent4"/>
              </a:solidFill>
            </c:spPr>
          </c:dPt>
          <c:dPt>
            <c:idx val="1"/>
            <c:bubble3D val="0"/>
          </c:dPt>
          <c:dPt>
            <c:idx val="2"/>
            <c:bubble3D val="0"/>
          </c:dPt>
          <c:dPt>
            <c:idx val="3"/>
            <c:bubble3D val="0"/>
            <c:spPr>
              <a:solidFill>
                <a:schemeClr val="bg2"/>
              </a:solidFill>
            </c:spPr>
          </c:dPt>
          <c:dPt>
            <c:idx val="4"/>
            <c:bubble3D val="0"/>
            <c:spPr>
              <a:solidFill>
                <a:schemeClr val="accent6"/>
              </a:solidFill>
            </c:spPr>
          </c:dPt>
          <c:cat>
            <c:strRef>
              <c:f>Tabelle1!$A$2:$A$6</c:f>
              <c:strCache>
                <c:ptCount val="5"/>
                <c:pt idx="0">
                  <c:v>ATV</c:v>
                </c:pt>
                <c:pt idx="1">
                  <c:v>IPC</c:v>
                </c:pt>
                <c:pt idx="2">
                  <c:v>PMM</c:v>
                </c:pt>
                <c:pt idx="3">
                  <c:v>OOS</c:v>
                </c:pt>
                <c:pt idx="4">
                  <c:v>CCS</c:v>
                </c:pt>
              </c:strCache>
            </c:strRef>
          </c:cat>
          <c:val>
            <c:numRef>
              <c:f>Tabelle1!$B$2:$B$6</c:f>
              <c:numCache>
                <c:formatCode>General</c:formatCode>
                <c:ptCount val="5"/>
                <c:pt idx="0">
                  <c:v>621.0</c:v>
                </c:pt>
                <c:pt idx="1">
                  <c:v>269.0</c:v>
                </c:pt>
                <c:pt idx="2">
                  <c:v>517.0</c:v>
                </c:pt>
                <c:pt idx="3">
                  <c:v>7.0</c:v>
                </c:pt>
                <c:pt idx="4">
                  <c:v>172.0</c:v>
                </c:pt>
              </c:numCache>
            </c:numRef>
          </c:val>
        </c:ser>
        <c:dLbls>
          <c:showLegendKey val="0"/>
          <c:showVal val="0"/>
          <c:showCatName val="0"/>
          <c:showSerName val="0"/>
          <c:showPercent val="0"/>
          <c:showBubbleSize val="0"/>
          <c:showLeaderLines val="0"/>
        </c:dLbls>
        <c:firstSliceAng val="230"/>
      </c:pieChart>
    </c:plotArea>
    <c:plotVisOnly val="1"/>
    <c:dispBlanksAs val="zero"/>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7.png"/></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
          <p:cNvSpPr>
            <a:spLocks noGrp="1" noChangeArrowheads="1"/>
          </p:cNvSpPr>
          <p:nvPr>
            <p:ph type="hdr" sz="quarter"/>
          </p:nvPr>
        </p:nvSpPr>
        <p:spPr bwMode="auto">
          <a:xfrm>
            <a:off x="453306" y="296863"/>
            <a:ext cx="4422857" cy="41772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dirty="0">
              <a:solidFill>
                <a:srgbClr val="00214A"/>
              </a:solidFill>
              <a:latin typeface="Verdana" pitchFamily="34" charset="0"/>
            </a:endParaRPr>
          </a:p>
        </p:txBody>
      </p:sp>
      <p:pic>
        <p:nvPicPr>
          <p:cNvPr id="26" name="Picture 2"/>
          <p:cNvPicPr>
            <a:picLocks noChangeAspect="1" noChangeArrowheads="1"/>
          </p:cNvPicPr>
          <p:nvPr/>
        </p:nvPicPr>
        <p:blipFill>
          <a:blip r:embed="rId2" cstate="print"/>
          <a:srcRect/>
          <a:stretch>
            <a:fillRect/>
          </a:stretch>
        </p:blipFill>
        <p:spPr bwMode="auto">
          <a:xfrm>
            <a:off x="5657072" y="295163"/>
            <a:ext cx="880886" cy="419422"/>
          </a:xfrm>
          <a:prstGeom prst="rect">
            <a:avLst/>
          </a:prstGeom>
          <a:noFill/>
          <a:ln w="9525">
            <a:noFill/>
            <a:miter lim="800000"/>
            <a:headEnd/>
            <a:tailEnd/>
          </a:ln>
          <a:effectLst/>
        </p:spPr>
      </p:pic>
      <p:sp>
        <p:nvSpPr>
          <p:cNvPr id="7" name="Footer Placeholder 6"/>
          <p:cNvSpPr>
            <a:spLocks noGrp="1"/>
          </p:cNvSpPr>
          <p:nvPr>
            <p:ph type="ftr" sz="quarter" idx="2"/>
          </p:nvPr>
        </p:nvSpPr>
        <p:spPr>
          <a:xfrm>
            <a:off x="1317625" y="9941842"/>
            <a:ext cx="4824413" cy="179611"/>
          </a:xfrm>
          <a:prstGeom prst="rect">
            <a:avLst/>
          </a:prstGeom>
        </p:spPr>
        <p:txBody>
          <a:bodyPr vert="horz" lIns="91440" tIns="45720" rIns="91440" bIns="45720" rtlCol="0" anchor="ctr"/>
          <a:lstStyle>
            <a:lvl1pPr algn="l">
              <a:defRPr sz="1200"/>
            </a:lvl1pPr>
          </a:lstStyle>
          <a:p>
            <a:pPr algn="ctr"/>
            <a:r>
              <a:rPr lang="en-US" sz="800" smtClean="0">
                <a:latin typeface="Verdana" pitchFamily="34" charset="0"/>
                <a:ea typeface="Verdana" pitchFamily="34" charset="0"/>
                <a:cs typeface="Verdana" pitchFamily="34" charset="0"/>
              </a:rPr>
              <a:t>Copyright © Infineon Technologies AG 2015. All rights reserved.</a:t>
            </a:r>
            <a:endParaRPr lang="en-US" sz="800" dirty="0">
              <a:latin typeface="Verdana" pitchFamily="34" charset="0"/>
              <a:ea typeface="Verdana" pitchFamily="34" charset="0"/>
              <a:cs typeface="Verdana" pitchFamily="34" charset="0"/>
            </a:endParaRPr>
          </a:p>
        </p:txBody>
      </p:sp>
      <p:sp>
        <p:nvSpPr>
          <p:cNvPr id="9" name="Date Placeholder 8"/>
          <p:cNvSpPr>
            <a:spLocks noGrp="1"/>
          </p:cNvSpPr>
          <p:nvPr>
            <p:ph type="dt" sz="quarter" idx="1"/>
          </p:nvPr>
        </p:nvSpPr>
        <p:spPr>
          <a:xfrm>
            <a:off x="453306" y="9941842"/>
            <a:ext cx="864319" cy="179611"/>
          </a:xfrm>
          <a:prstGeom prst="rect">
            <a:avLst/>
          </a:prstGeom>
        </p:spPr>
        <p:txBody>
          <a:bodyPr vert="horz" lIns="91440" tIns="45720" rIns="91440" bIns="45720" rtlCol="0" anchor="ctr"/>
          <a:lstStyle>
            <a:lvl1pPr algn="r">
              <a:defRPr sz="1200"/>
            </a:lvl1pPr>
          </a:lstStyle>
          <a:p>
            <a:pPr algn="l"/>
            <a:r>
              <a:rPr lang="en-US" sz="800" smtClean="0">
                <a:latin typeface="Verdana" pitchFamily="34" charset="0"/>
                <a:ea typeface="Verdana" pitchFamily="34" charset="0"/>
                <a:cs typeface="Verdana" pitchFamily="34" charset="0"/>
              </a:rPr>
              <a:t>set date</a:t>
            </a:r>
            <a:endParaRPr lang="en-US" sz="800">
              <a:latin typeface="Verdana" pitchFamily="34" charset="0"/>
              <a:ea typeface="Verdana" pitchFamily="34" charset="0"/>
              <a:cs typeface="Verdana" pitchFamily="34" charset="0"/>
            </a:endParaRPr>
          </a:p>
        </p:txBody>
      </p:sp>
      <p:sp>
        <p:nvSpPr>
          <p:cNvPr id="10" name="Slide Number Placeholder 9"/>
          <p:cNvSpPr>
            <a:spLocks noGrp="1"/>
          </p:cNvSpPr>
          <p:nvPr>
            <p:ph type="sldNum" sz="quarter" idx="3"/>
          </p:nvPr>
        </p:nvSpPr>
        <p:spPr>
          <a:xfrm>
            <a:off x="6142038" y="9941842"/>
            <a:ext cx="448737" cy="179611"/>
          </a:xfrm>
          <a:prstGeom prst="rect">
            <a:avLst/>
          </a:prstGeom>
        </p:spPr>
        <p:txBody>
          <a:bodyPr vert="horz" lIns="91440" tIns="45720" rIns="91440" bIns="45720" rtlCol="0" anchor="ctr"/>
          <a:lstStyle>
            <a:lvl1pPr algn="r">
              <a:defRPr sz="1200"/>
            </a:lvl1pPr>
          </a:lstStyle>
          <a:p>
            <a:fld id="{C58D39F9-DC77-4BF5-B1EC-BE12E526A4D2}" type="slidenum">
              <a:rPr lang="en-US" sz="800" smtClean="0">
                <a:latin typeface="Verdana" pitchFamily="34" charset="0"/>
                <a:ea typeface="Verdana" pitchFamily="34" charset="0"/>
                <a:cs typeface="Verdana" pitchFamily="34" charset="0"/>
              </a:rPr>
              <a:pPr/>
              <a:t>‹#›</a:t>
            </a:fld>
            <a:endParaRPr lang="en-US" sz="80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 Id="rId2" Type="http://schemas.openxmlformats.org/officeDocument/2006/relationships/image" Target="../media/image7.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Rectangle 4"/>
          <p:cNvSpPr>
            <a:spLocks noGrp="1" noRot="1" noChangeAspect="1" noChangeArrowheads="1" noTextEdit="1"/>
          </p:cNvSpPr>
          <p:nvPr>
            <p:ph type="sldImg" idx="2"/>
          </p:nvPr>
        </p:nvSpPr>
        <p:spPr bwMode="auto">
          <a:xfrm>
            <a:off x="453305" y="1012850"/>
            <a:ext cx="6191969" cy="4643978"/>
          </a:xfrm>
          <a:prstGeom prst="rect">
            <a:avLst/>
          </a:prstGeom>
          <a:noFill/>
          <a:ln w="9525">
            <a:solidFill>
              <a:srgbClr val="000000"/>
            </a:solidFill>
            <a:miter lim="800000"/>
            <a:headEnd/>
            <a:tailEnd/>
          </a:ln>
          <a:effectLst/>
        </p:spPr>
      </p:sp>
      <p:sp>
        <p:nvSpPr>
          <p:cNvPr id="84997" name="Rectangle 5"/>
          <p:cNvSpPr>
            <a:spLocks noGrp="1" noChangeArrowheads="1"/>
          </p:cNvSpPr>
          <p:nvPr>
            <p:ph type="body" sz="quarter" idx="3"/>
          </p:nvPr>
        </p:nvSpPr>
        <p:spPr bwMode="auto">
          <a:xfrm>
            <a:off x="453306" y="5868498"/>
            <a:ext cx="6191968" cy="3672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Enter Notes</a:t>
            </a:r>
          </a:p>
        </p:txBody>
      </p:sp>
      <p:sp>
        <p:nvSpPr>
          <p:cNvPr id="28" name="Rectangle 2"/>
          <p:cNvSpPr>
            <a:spLocks noGrp="1" noChangeArrowheads="1"/>
          </p:cNvSpPr>
          <p:nvPr>
            <p:ph type="hdr" sz="quarter"/>
          </p:nvPr>
        </p:nvSpPr>
        <p:spPr bwMode="auto">
          <a:xfrm>
            <a:off x="454025" y="295163"/>
            <a:ext cx="4422857" cy="41942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Verdana" pitchFamily="34" charset="0"/>
              </a:defRPr>
            </a:lvl1pPr>
          </a:lstStyle>
          <a:p>
            <a:endParaRPr lang="en-US" dirty="0">
              <a:solidFill>
                <a:srgbClr val="00214A"/>
              </a:solidFill>
            </a:endParaRPr>
          </a:p>
        </p:txBody>
      </p:sp>
      <p:pic>
        <p:nvPicPr>
          <p:cNvPr id="32" name="Picture 2"/>
          <p:cNvPicPr>
            <a:picLocks noChangeAspect="1" noChangeArrowheads="1"/>
          </p:cNvPicPr>
          <p:nvPr/>
        </p:nvPicPr>
        <p:blipFill>
          <a:blip r:embed="rId2" cstate="print"/>
          <a:srcRect/>
          <a:stretch>
            <a:fillRect/>
          </a:stretch>
        </p:blipFill>
        <p:spPr bwMode="auto">
          <a:xfrm>
            <a:off x="5657072" y="295163"/>
            <a:ext cx="880886" cy="419422"/>
          </a:xfrm>
          <a:prstGeom prst="rect">
            <a:avLst/>
          </a:prstGeom>
          <a:noFill/>
          <a:ln w="9525">
            <a:noFill/>
            <a:miter lim="800000"/>
            <a:headEnd/>
            <a:tailEnd/>
          </a:ln>
          <a:effectLst/>
        </p:spPr>
      </p:pic>
      <p:sp>
        <p:nvSpPr>
          <p:cNvPr id="10" name="Footer Placeholder 9"/>
          <p:cNvSpPr>
            <a:spLocks noGrp="1"/>
          </p:cNvSpPr>
          <p:nvPr>
            <p:ph type="ftr" sz="quarter" idx="4"/>
          </p:nvPr>
        </p:nvSpPr>
        <p:spPr>
          <a:xfrm>
            <a:off x="1317625" y="9940925"/>
            <a:ext cx="4824411" cy="144933"/>
          </a:xfrm>
          <a:prstGeom prst="rect">
            <a:avLst/>
          </a:prstGeom>
        </p:spPr>
        <p:txBody>
          <a:bodyPr vert="horz" lIns="91440" tIns="45720" rIns="91440" bIns="45720" rtlCol="0" anchor="ctr"/>
          <a:lstStyle>
            <a:lvl1pPr algn="ctr">
              <a:defRPr sz="800">
                <a:latin typeface="Verdana" pitchFamily="34" charset="0"/>
                <a:ea typeface="Verdana" pitchFamily="34" charset="0"/>
                <a:cs typeface="Verdana" pitchFamily="34" charset="0"/>
              </a:defRPr>
            </a:lvl1pPr>
          </a:lstStyle>
          <a:p>
            <a:r>
              <a:rPr lang="en-US" smtClean="0"/>
              <a:t>Copyright © Infineon Technologies AG 2015. All rights reserved.</a:t>
            </a:r>
            <a:endParaRPr lang="en-US" dirty="0"/>
          </a:p>
        </p:txBody>
      </p:sp>
      <p:sp>
        <p:nvSpPr>
          <p:cNvPr id="11" name="Date Placeholder 10"/>
          <p:cNvSpPr>
            <a:spLocks noGrp="1"/>
          </p:cNvSpPr>
          <p:nvPr>
            <p:ph type="dt" idx="1"/>
          </p:nvPr>
        </p:nvSpPr>
        <p:spPr>
          <a:xfrm>
            <a:off x="453306" y="9940925"/>
            <a:ext cx="864320" cy="144933"/>
          </a:xfrm>
          <a:prstGeom prst="rect">
            <a:avLst/>
          </a:prstGeom>
        </p:spPr>
        <p:txBody>
          <a:bodyPr vert="horz" lIns="91440" tIns="45720" rIns="91440" bIns="45720" rtlCol="0" anchor="ctr"/>
          <a:lstStyle>
            <a:lvl1pPr algn="l">
              <a:defRPr sz="800">
                <a:latin typeface="Verdana" pitchFamily="34" charset="0"/>
                <a:ea typeface="Verdana" pitchFamily="34" charset="0"/>
                <a:cs typeface="Verdana" pitchFamily="34" charset="0"/>
              </a:defRPr>
            </a:lvl1pPr>
          </a:lstStyle>
          <a:p>
            <a:r>
              <a:rPr lang="en-US" smtClean="0"/>
              <a:t>set date</a:t>
            </a:r>
            <a:endParaRPr lang="en-US"/>
          </a:p>
        </p:txBody>
      </p:sp>
      <p:sp>
        <p:nvSpPr>
          <p:cNvPr id="12" name="Slide Number Placeholder 11"/>
          <p:cNvSpPr>
            <a:spLocks noGrp="1"/>
          </p:cNvSpPr>
          <p:nvPr>
            <p:ph type="sldNum" sz="quarter" idx="5"/>
          </p:nvPr>
        </p:nvSpPr>
        <p:spPr>
          <a:xfrm>
            <a:off x="6142037" y="9940925"/>
            <a:ext cx="503237" cy="144933"/>
          </a:xfrm>
          <a:prstGeom prst="rect">
            <a:avLst/>
          </a:prstGeom>
        </p:spPr>
        <p:txBody>
          <a:bodyPr vert="horz" lIns="91440" tIns="45720" rIns="91440" bIns="45720" rtlCol="0" anchor="ctr"/>
          <a:lstStyle>
            <a:lvl1pPr algn="r">
              <a:defRPr sz="800">
                <a:latin typeface="Verdana" pitchFamily="34" charset="0"/>
                <a:ea typeface="Verdana" pitchFamily="34" charset="0"/>
                <a:cs typeface="Verdana" pitchFamily="34" charset="0"/>
              </a:defRPr>
            </a:lvl1pPr>
          </a:lstStyle>
          <a:p>
            <a:fld id="{1A5E1CB4-6977-43BF-ACA9-CC28B9D6A559}" type="slidenum">
              <a:rPr lang="en-US" smtClean="0"/>
              <a:pPr/>
              <a:t>‹#›</a:t>
            </a:fld>
            <a:endParaRPr lang="en-US"/>
          </a:p>
        </p:txBody>
      </p:sp>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rgbClr val="00214A"/>
        </a:solidFill>
        <a:latin typeface="Verdana" pitchFamily="34" charset="0"/>
        <a:ea typeface="+mn-ea"/>
        <a:cs typeface="+mn-cs"/>
      </a:defRPr>
    </a:lvl1pPr>
    <a:lvl2pPr marL="457200" algn="l" rtl="0" fontAlgn="base">
      <a:spcBef>
        <a:spcPct val="30000"/>
      </a:spcBef>
      <a:spcAft>
        <a:spcPct val="0"/>
      </a:spcAft>
      <a:defRPr sz="1200" kern="1200">
        <a:solidFill>
          <a:srgbClr val="00214A"/>
        </a:solidFill>
        <a:latin typeface="Verdana" pitchFamily="34" charset="0"/>
        <a:ea typeface="+mn-ea"/>
        <a:cs typeface="+mn-cs"/>
      </a:defRPr>
    </a:lvl2pPr>
    <a:lvl3pPr marL="914400" algn="l" rtl="0" fontAlgn="base">
      <a:spcBef>
        <a:spcPct val="30000"/>
      </a:spcBef>
      <a:spcAft>
        <a:spcPct val="0"/>
      </a:spcAft>
      <a:defRPr sz="1200" kern="1200">
        <a:solidFill>
          <a:srgbClr val="00214A"/>
        </a:solidFill>
        <a:latin typeface="Verdana" pitchFamily="34" charset="0"/>
        <a:ea typeface="+mn-ea"/>
        <a:cs typeface="+mn-cs"/>
      </a:defRPr>
    </a:lvl3pPr>
    <a:lvl4pPr marL="1371600" algn="l" rtl="0" fontAlgn="base">
      <a:spcBef>
        <a:spcPct val="30000"/>
      </a:spcBef>
      <a:spcAft>
        <a:spcPct val="0"/>
      </a:spcAft>
      <a:defRPr sz="1200" kern="1200">
        <a:solidFill>
          <a:srgbClr val="00214A"/>
        </a:solidFill>
        <a:latin typeface="Verdana" pitchFamily="34" charset="0"/>
        <a:ea typeface="+mn-ea"/>
        <a:cs typeface="+mn-cs"/>
      </a:defRPr>
    </a:lvl4pPr>
    <a:lvl5pPr marL="1828800" algn="l" rtl="0" fontAlgn="base">
      <a:spcBef>
        <a:spcPct val="30000"/>
      </a:spcBef>
      <a:spcAft>
        <a:spcPct val="0"/>
      </a:spcAft>
      <a:defRPr sz="1200" kern="1200">
        <a:solidFill>
          <a:srgbClr val="00214A"/>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1</a:t>
            </a:fld>
            <a:endParaRPr lang="en-US"/>
          </a:p>
        </p:txBody>
      </p:sp>
    </p:spTree>
    <p:extLst>
      <p:ext uri="{BB962C8B-B14F-4D97-AF65-F5344CB8AC3E}">
        <p14:creationId xmlns:p14="http://schemas.microsoft.com/office/powerpoint/2010/main" val="2576337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4025" y="1012825"/>
            <a:ext cx="6191250" cy="4643438"/>
          </a:xfrm>
        </p:spPr>
      </p:sp>
      <p:sp>
        <p:nvSpPr>
          <p:cNvPr id="8" name="Notizenplatzhalter 2"/>
          <p:cNvSpPr>
            <a:spLocks noGrp="1"/>
          </p:cNvSpPr>
          <p:nvPr>
            <p:ph type="body" idx="3"/>
          </p:nvPr>
        </p:nvSpPr>
        <p:spPr>
          <a:xfrm>
            <a:off x="453306" y="5868498"/>
            <a:ext cx="6191968" cy="3672000"/>
          </a:xfrm>
        </p:spPr>
        <p:txBody>
          <a:bodyPr/>
          <a:lstStyle/>
          <a:p>
            <a:r>
              <a:rPr lang="en-US" dirty="0" smtClean="0">
                <a:solidFill>
                  <a:schemeClr val="tx1"/>
                </a:solidFill>
              </a:rPr>
              <a:t>Automotive</a:t>
            </a:r>
            <a:r>
              <a:rPr lang="en-US" baseline="0" dirty="0" smtClean="0">
                <a:solidFill>
                  <a:schemeClr val="tx1"/>
                </a:solidFill>
              </a:rPr>
              <a:t> also generates the largest division of Infineon – certainly be revenue.</a:t>
            </a:r>
            <a:endParaRPr lang="en-US" dirty="0">
              <a:solidFill>
                <a:schemeClr val="tx1"/>
              </a:solidFill>
            </a:endParaRPr>
          </a:p>
        </p:txBody>
      </p:sp>
      <p:sp>
        <p:nvSpPr>
          <p:cNvPr id="9" name="Kopfzeilenplatzhalter 3"/>
          <p:cNvSpPr>
            <a:spLocks noGrp="1"/>
          </p:cNvSpPr>
          <p:nvPr>
            <p:ph type="hdr" sz="quarter"/>
          </p:nvPr>
        </p:nvSpPr>
        <p:spPr>
          <a:xfrm>
            <a:off x="454027" y="295163"/>
            <a:ext cx="4422857" cy="419422"/>
          </a:xfrm>
        </p:spPr>
        <p:txBody>
          <a:bodyPr/>
          <a:lstStyle/>
          <a:p>
            <a:r>
              <a:rPr lang="en-US" smtClean="0"/>
              <a:t>Company Presentation</a:t>
            </a:r>
            <a:endParaRPr lang="en-US" dirty="0"/>
          </a:p>
        </p:txBody>
      </p:sp>
      <p:sp>
        <p:nvSpPr>
          <p:cNvPr id="10" name="Fußzeilenplatzhalter 4"/>
          <p:cNvSpPr>
            <a:spLocks noGrp="1"/>
          </p:cNvSpPr>
          <p:nvPr>
            <p:ph type="ftr" sz="quarter" idx="4"/>
          </p:nvPr>
        </p:nvSpPr>
        <p:spPr>
          <a:xfrm>
            <a:off x="1317625" y="9940927"/>
            <a:ext cx="4824411" cy="144933"/>
          </a:xfrm>
        </p:spPr>
        <p:txBody>
          <a:bodyPr/>
          <a:lstStyle/>
          <a:p>
            <a:r>
              <a:rPr lang="en-US" smtClean="0"/>
              <a:t>Copyright © Infineon Technologies AG 2015. All rights reserved.</a:t>
            </a:r>
            <a:endParaRPr lang="en-US" dirty="0"/>
          </a:p>
        </p:txBody>
      </p:sp>
      <p:sp>
        <p:nvSpPr>
          <p:cNvPr id="11" name="Datumsplatzhalter 5"/>
          <p:cNvSpPr>
            <a:spLocks noGrp="1"/>
          </p:cNvSpPr>
          <p:nvPr>
            <p:ph type="dt" idx="1"/>
          </p:nvPr>
        </p:nvSpPr>
        <p:spPr>
          <a:xfrm>
            <a:off x="453307" y="9940927"/>
            <a:ext cx="1224084" cy="144933"/>
          </a:xfrm>
        </p:spPr>
        <p:txBody>
          <a:bodyPr/>
          <a:lstStyle/>
          <a:p>
            <a:r>
              <a:rPr lang="de-DE" smtClean="0"/>
              <a:t>July 2015</a:t>
            </a:r>
            <a:endParaRPr lang="en-US"/>
          </a:p>
        </p:txBody>
      </p:sp>
      <p:sp>
        <p:nvSpPr>
          <p:cNvPr id="12" name="Foliennummernplatzhalter 6"/>
          <p:cNvSpPr>
            <a:spLocks noGrp="1"/>
          </p:cNvSpPr>
          <p:nvPr>
            <p:ph type="sldNum" sz="quarter" idx="5"/>
          </p:nvPr>
        </p:nvSpPr>
        <p:spPr>
          <a:xfrm>
            <a:off x="6142037" y="9940927"/>
            <a:ext cx="503237" cy="144933"/>
          </a:xfrm>
        </p:spPr>
        <p:txBody>
          <a:bodyPr/>
          <a:lstStyle/>
          <a:p>
            <a:fld id="{F93D440C-42AC-48A3-BEAF-CCC423AF6677}" type="slidenum">
              <a:rPr lang="en-US" smtClean="0"/>
              <a:t>10</a:t>
            </a:fld>
            <a:endParaRPr lang="en-US"/>
          </a:p>
        </p:txBody>
      </p:sp>
    </p:spTree>
    <p:extLst>
      <p:ext uri="{BB962C8B-B14F-4D97-AF65-F5344CB8AC3E}">
        <p14:creationId xmlns:p14="http://schemas.microsoft.com/office/powerpoint/2010/main" val="24229648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Folienbildplatzhalter 1"/>
          <p:cNvSpPr>
            <a:spLocks noGrp="1" noRot="1" noChangeAspect="1" noTextEdit="1"/>
          </p:cNvSpPr>
          <p:nvPr>
            <p:ph type="sldImg"/>
          </p:nvPr>
        </p:nvSpPr>
        <p:spPr>
          <a:xfrm>
            <a:off x="454025" y="1012825"/>
            <a:ext cx="6191250" cy="4643438"/>
          </a:xfrm>
          <a:ln/>
        </p:spPr>
      </p:sp>
      <p:sp>
        <p:nvSpPr>
          <p:cNvPr id="8" name="Notizenplatzhalter 2"/>
          <p:cNvSpPr>
            <a:spLocks noGrp="1"/>
          </p:cNvSpPr>
          <p:nvPr>
            <p:ph type="body" idx="3"/>
          </p:nvPr>
        </p:nvSpPr>
        <p:spPr>
          <a:xfrm>
            <a:off x="453306" y="5868498"/>
            <a:ext cx="6191968" cy="3672000"/>
          </a:xfrm>
        </p:spPr>
        <p:txBody>
          <a:bodyPr/>
          <a:lstStyle/>
          <a:p>
            <a:r>
              <a:rPr lang="en-US" dirty="0" smtClean="0">
                <a:solidFill>
                  <a:schemeClr val="tx1"/>
                </a:solidFill>
              </a:rPr>
              <a:t>Here I’ve highlighted</a:t>
            </a:r>
            <a:r>
              <a:rPr lang="en-US" baseline="0" dirty="0" smtClean="0">
                <a:solidFill>
                  <a:schemeClr val="tx1"/>
                </a:solidFill>
              </a:rPr>
              <a:t> Automotive microcontrollers amongst the product range because this is the products Bristol worked on, in the application areas of engine management, safety and the growing area of advanced driver assistance systems.</a:t>
            </a:r>
            <a:endParaRPr lang="en-US" dirty="0">
              <a:solidFill>
                <a:schemeClr val="tx1"/>
              </a:solidFill>
            </a:endParaRPr>
          </a:p>
        </p:txBody>
      </p:sp>
      <p:sp>
        <p:nvSpPr>
          <p:cNvPr id="9" name="Kopfzeilenplatzhalter 3"/>
          <p:cNvSpPr>
            <a:spLocks noGrp="1"/>
          </p:cNvSpPr>
          <p:nvPr>
            <p:ph type="hdr" sz="quarter"/>
          </p:nvPr>
        </p:nvSpPr>
        <p:spPr>
          <a:xfrm>
            <a:off x="454027" y="295163"/>
            <a:ext cx="4422857" cy="419422"/>
          </a:xfrm>
        </p:spPr>
        <p:txBody>
          <a:bodyPr/>
          <a:lstStyle/>
          <a:p>
            <a:r>
              <a:rPr lang="en-US" smtClean="0"/>
              <a:t>Company Presentation</a:t>
            </a:r>
            <a:endParaRPr lang="en-US" dirty="0"/>
          </a:p>
        </p:txBody>
      </p:sp>
      <p:sp>
        <p:nvSpPr>
          <p:cNvPr id="10" name="Fußzeilenplatzhalter 4"/>
          <p:cNvSpPr>
            <a:spLocks noGrp="1"/>
          </p:cNvSpPr>
          <p:nvPr>
            <p:ph type="ftr" sz="quarter" idx="4"/>
          </p:nvPr>
        </p:nvSpPr>
        <p:spPr>
          <a:xfrm>
            <a:off x="1317625" y="9940927"/>
            <a:ext cx="4824411" cy="144933"/>
          </a:xfrm>
        </p:spPr>
        <p:txBody>
          <a:bodyPr/>
          <a:lstStyle/>
          <a:p>
            <a:r>
              <a:rPr lang="en-US" smtClean="0"/>
              <a:t>Copyright © Infineon Technologies AG 2015. All rights reserved.</a:t>
            </a:r>
            <a:endParaRPr lang="en-US" dirty="0"/>
          </a:p>
        </p:txBody>
      </p:sp>
      <p:sp>
        <p:nvSpPr>
          <p:cNvPr id="11" name="Datumsplatzhalter 5"/>
          <p:cNvSpPr>
            <a:spLocks noGrp="1"/>
          </p:cNvSpPr>
          <p:nvPr>
            <p:ph type="dt" idx="1"/>
          </p:nvPr>
        </p:nvSpPr>
        <p:spPr>
          <a:xfrm>
            <a:off x="453307" y="9940927"/>
            <a:ext cx="1224084" cy="144933"/>
          </a:xfrm>
        </p:spPr>
        <p:txBody>
          <a:bodyPr/>
          <a:lstStyle/>
          <a:p>
            <a:r>
              <a:rPr lang="de-DE" smtClean="0"/>
              <a:t>July 2015</a:t>
            </a:r>
            <a:endParaRPr lang="en-US"/>
          </a:p>
        </p:txBody>
      </p:sp>
      <p:sp>
        <p:nvSpPr>
          <p:cNvPr id="12" name="Foliennummernplatzhalter 6"/>
          <p:cNvSpPr>
            <a:spLocks noGrp="1"/>
          </p:cNvSpPr>
          <p:nvPr>
            <p:ph type="sldNum" sz="quarter" idx="5"/>
          </p:nvPr>
        </p:nvSpPr>
        <p:spPr>
          <a:xfrm>
            <a:off x="6142037" y="9940927"/>
            <a:ext cx="503237" cy="144933"/>
          </a:xfrm>
        </p:spPr>
        <p:txBody>
          <a:bodyPr/>
          <a:lstStyle/>
          <a:p>
            <a:fld id="{F93D440C-42AC-48A3-BEAF-CCC423AF6677}" type="slidenum">
              <a:rPr lang="en-US" smtClean="0"/>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1012825"/>
            <a:ext cx="6213475" cy="4659313"/>
          </a:xfrm>
        </p:spPr>
      </p:sp>
      <p:sp>
        <p:nvSpPr>
          <p:cNvPr id="10" name="Notizenplatzhalter 2"/>
          <p:cNvSpPr>
            <a:spLocks noGrp="1"/>
          </p:cNvSpPr>
          <p:nvPr>
            <p:ph type="body" idx="3"/>
          </p:nvPr>
        </p:nvSpPr>
        <p:spPr>
          <a:xfrm>
            <a:off x="453306" y="5868498"/>
            <a:ext cx="6191968" cy="3672000"/>
          </a:xfrm>
        </p:spPr>
        <p:txBody>
          <a:bodyPr/>
          <a:lstStyle/>
          <a:p>
            <a:r>
              <a:rPr lang="en-US" dirty="0" smtClean="0">
                <a:solidFill>
                  <a:schemeClr val="tx1"/>
                </a:solidFill>
              </a:rPr>
              <a:t>Infineon has a</a:t>
            </a:r>
            <a:r>
              <a:rPr lang="en-US" baseline="0" dirty="0" smtClean="0">
                <a:solidFill>
                  <a:schemeClr val="tx1"/>
                </a:solidFill>
              </a:rPr>
              <a:t> global workforce as well as a global market</a:t>
            </a:r>
            <a:endParaRPr lang="en-US" dirty="0">
              <a:solidFill>
                <a:schemeClr val="tx1"/>
              </a:solidFill>
            </a:endParaRPr>
          </a:p>
        </p:txBody>
      </p:sp>
      <p:sp>
        <p:nvSpPr>
          <p:cNvPr id="11" name="Kopfzeilenplatzhalter 3"/>
          <p:cNvSpPr>
            <a:spLocks noGrp="1"/>
          </p:cNvSpPr>
          <p:nvPr>
            <p:ph type="hdr" sz="quarter"/>
          </p:nvPr>
        </p:nvSpPr>
        <p:spPr>
          <a:xfrm>
            <a:off x="454027" y="295163"/>
            <a:ext cx="4422857" cy="419422"/>
          </a:xfrm>
        </p:spPr>
        <p:txBody>
          <a:bodyPr/>
          <a:lstStyle/>
          <a:p>
            <a:r>
              <a:rPr lang="en-US" smtClean="0"/>
              <a:t>Company Presentation</a:t>
            </a:r>
            <a:endParaRPr lang="en-US" dirty="0"/>
          </a:p>
        </p:txBody>
      </p:sp>
      <p:sp>
        <p:nvSpPr>
          <p:cNvPr id="12" name="Fußzeilenplatzhalter 4"/>
          <p:cNvSpPr>
            <a:spLocks noGrp="1"/>
          </p:cNvSpPr>
          <p:nvPr>
            <p:ph type="ftr" sz="quarter" idx="4"/>
          </p:nvPr>
        </p:nvSpPr>
        <p:spPr>
          <a:xfrm>
            <a:off x="1317625" y="9940927"/>
            <a:ext cx="4824411" cy="144933"/>
          </a:xfrm>
        </p:spPr>
        <p:txBody>
          <a:bodyPr/>
          <a:lstStyle/>
          <a:p>
            <a:r>
              <a:rPr lang="en-US" smtClean="0"/>
              <a:t>Copyright © Infineon Technologies AG 2015. All rights reserved.</a:t>
            </a:r>
            <a:endParaRPr lang="en-US" dirty="0"/>
          </a:p>
        </p:txBody>
      </p:sp>
      <p:sp>
        <p:nvSpPr>
          <p:cNvPr id="16" name="Datumsplatzhalter 5"/>
          <p:cNvSpPr>
            <a:spLocks noGrp="1"/>
          </p:cNvSpPr>
          <p:nvPr>
            <p:ph type="dt" idx="1"/>
          </p:nvPr>
        </p:nvSpPr>
        <p:spPr>
          <a:xfrm>
            <a:off x="453307" y="9940927"/>
            <a:ext cx="1224084" cy="144933"/>
          </a:xfrm>
        </p:spPr>
        <p:txBody>
          <a:bodyPr/>
          <a:lstStyle/>
          <a:p>
            <a:r>
              <a:rPr lang="de-DE" smtClean="0"/>
              <a:t>July 2015</a:t>
            </a:r>
            <a:endParaRPr lang="en-US"/>
          </a:p>
        </p:txBody>
      </p:sp>
      <p:sp>
        <p:nvSpPr>
          <p:cNvPr id="17" name="Foliennummernplatzhalter 6"/>
          <p:cNvSpPr>
            <a:spLocks noGrp="1"/>
          </p:cNvSpPr>
          <p:nvPr>
            <p:ph type="sldNum" sz="quarter" idx="5"/>
          </p:nvPr>
        </p:nvSpPr>
        <p:spPr>
          <a:xfrm>
            <a:off x="6142037" y="9940927"/>
            <a:ext cx="503237" cy="144933"/>
          </a:xfrm>
        </p:spPr>
        <p:txBody>
          <a:bodyPr/>
          <a:lstStyle/>
          <a:p>
            <a:fld id="{F93D440C-42AC-48A3-BEAF-CCC423AF6677}" type="slidenum">
              <a:rPr lang="en-US" smtClean="0"/>
              <a:t>12</a:t>
            </a:fld>
            <a:endParaRPr lang="en-US"/>
          </a:p>
        </p:txBody>
      </p:sp>
    </p:spTree>
    <p:extLst>
      <p:ext uri="{BB962C8B-B14F-4D97-AF65-F5344CB8AC3E}">
        <p14:creationId xmlns:p14="http://schemas.microsoft.com/office/powerpoint/2010/main" val="2922842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Rot="1" noChangeAspect="1" noChangeArrowheads="1" noTextEdit="1"/>
          </p:cNvSpPr>
          <p:nvPr>
            <p:ph type="sldImg"/>
          </p:nvPr>
        </p:nvSpPr>
        <p:spPr>
          <a:xfrm>
            <a:off x="454025" y="1019175"/>
            <a:ext cx="6191250" cy="4643438"/>
          </a:xfrm>
          <a:ln/>
        </p:spPr>
      </p:sp>
      <p:sp>
        <p:nvSpPr>
          <p:cNvPr id="13" name="Notizenplatzhalter 2"/>
          <p:cNvSpPr>
            <a:spLocks noGrp="1"/>
          </p:cNvSpPr>
          <p:nvPr>
            <p:ph type="body" idx="3"/>
          </p:nvPr>
        </p:nvSpPr>
        <p:spPr>
          <a:xfrm>
            <a:off x="453306" y="5868498"/>
            <a:ext cx="6191968" cy="3672000"/>
          </a:xfrm>
        </p:spPr>
        <p:txBody>
          <a:bodyPr/>
          <a:lstStyle/>
          <a:p>
            <a:r>
              <a:rPr lang="en-US" dirty="0" smtClean="0">
                <a:solidFill>
                  <a:schemeClr val="tx1"/>
                </a:solidFill>
              </a:rPr>
              <a:t>And confirmation</a:t>
            </a:r>
            <a:r>
              <a:rPr lang="en-US" baseline="0" dirty="0" smtClean="0">
                <a:solidFill>
                  <a:schemeClr val="tx1"/>
                </a:solidFill>
              </a:rPr>
              <a:t> that Infineon makes the world a greener place – a lot of the CO2 savings are down to the engine </a:t>
            </a:r>
            <a:r>
              <a:rPr lang="en-US" baseline="0" dirty="0" err="1" smtClean="0">
                <a:solidFill>
                  <a:schemeClr val="tx1"/>
                </a:solidFill>
              </a:rPr>
              <a:t>mamagement</a:t>
            </a:r>
            <a:r>
              <a:rPr lang="en-US" baseline="0" dirty="0" smtClean="0">
                <a:solidFill>
                  <a:schemeClr val="tx1"/>
                </a:solidFill>
              </a:rPr>
              <a:t> systems we produce – that help to make cars a lot more fuel efficient and a lot less polluting.</a:t>
            </a:r>
          </a:p>
        </p:txBody>
      </p:sp>
      <p:sp>
        <p:nvSpPr>
          <p:cNvPr id="14" name="Kopfzeilenplatzhalter 3"/>
          <p:cNvSpPr>
            <a:spLocks noGrp="1"/>
          </p:cNvSpPr>
          <p:nvPr>
            <p:ph type="hdr" sz="quarter"/>
          </p:nvPr>
        </p:nvSpPr>
        <p:spPr>
          <a:xfrm>
            <a:off x="454027" y="295163"/>
            <a:ext cx="4422857" cy="419422"/>
          </a:xfrm>
        </p:spPr>
        <p:txBody>
          <a:bodyPr/>
          <a:lstStyle/>
          <a:p>
            <a:r>
              <a:rPr lang="en-US" smtClean="0"/>
              <a:t>Company Presentation</a:t>
            </a:r>
            <a:endParaRPr lang="en-US" dirty="0"/>
          </a:p>
        </p:txBody>
      </p:sp>
      <p:sp>
        <p:nvSpPr>
          <p:cNvPr id="15" name="Fußzeilenplatzhalter 4"/>
          <p:cNvSpPr>
            <a:spLocks noGrp="1"/>
          </p:cNvSpPr>
          <p:nvPr>
            <p:ph type="ftr" sz="quarter" idx="4"/>
          </p:nvPr>
        </p:nvSpPr>
        <p:spPr>
          <a:xfrm>
            <a:off x="1317625" y="9940927"/>
            <a:ext cx="4824411" cy="144933"/>
          </a:xfrm>
        </p:spPr>
        <p:txBody>
          <a:bodyPr/>
          <a:lstStyle/>
          <a:p>
            <a:r>
              <a:rPr lang="en-US" smtClean="0"/>
              <a:t>Copyright © Infineon Technologies AG 2015. All rights reserved.</a:t>
            </a:r>
            <a:endParaRPr lang="en-US" dirty="0"/>
          </a:p>
        </p:txBody>
      </p:sp>
      <p:sp>
        <p:nvSpPr>
          <p:cNvPr id="16" name="Datumsplatzhalter 5"/>
          <p:cNvSpPr>
            <a:spLocks noGrp="1"/>
          </p:cNvSpPr>
          <p:nvPr>
            <p:ph type="dt" idx="1"/>
          </p:nvPr>
        </p:nvSpPr>
        <p:spPr>
          <a:xfrm>
            <a:off x="453307" y="9940927"/>
            <a:ext cx="1224084" cy="144933"/>
          </a:xfrm>
        </p:spPr>
        <p:txBody>
          <a:bodyPr/>
          <a:lstStyle/>
          <a:p>
            <a:r>
              <a:rPr lang="de-DE" smtClean="0"/>
              <a:t>July 2015</a:t>
            </a:r>
            <a:endParaRPr lang="en-US"/>
          </a:p>
        </p:txBody>
      </p:sp>
      <p:sp>
        <p:nvSpPr>
          <p:cNvPr id="17" name="Foliennummernplatzhalter 6"/>
          <p:cNvSpPr>
            <a:spLocks noGrp="1"/>
          </p:cNvSpPr>
          <p:nvPr>
            <p:ph type="sldNum" sz="quarter" idx="5"/>
          </p:nvPr>
        </p:nvSpPr>
        <p:spPr>
          <a:xfrm>
            <a:off x="6142037" y="9940927"/>
            <a:ext cx="503237" cy="144933"/>
          </a:xfrm>
        </p:spPr>
        <p:txBody>
          <a:bodyPr/>
          <a:lstStyle/>
          <a:p>
            <a:fld id="{F93D440C-42AC-48A3-BEAF-CCC423AF6677}" type="slidenum">
              <a:rPr lang="en-US" smtClean="0"/>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And now</a:t>
            </a:r>
            <a:r>
              <a:rPr lang="en-GB" baseline="0" dirty="0" smtClean="0"/>
              <a:t> away from the official slides. Wanted a slide on advanced driver assistance systems – an area of massive growth in he automotive semiconductors and one we’re heavily involved in in Bristol.</a:t>
            </a:r>
          </a:p>
          <a:p>
            <a:endParaRPr lang="en-GB" baseline="0" dirty="0" smtClean="0"/>
          </a:p>
          <a:p>
            <a:r>
              <a:rPr lang="en-GB" baseline="0" dirty="0" smtClean="0"/>
              <a:t>Adaptive cruise control – cars actively braking when to maintain a good stopping distance from the car in front.</a:t>
            </a:r>
          </a:p>
          <a:p>
            <a:r>
              <a:rPr lang="en-GB" baseline="0" dirty="0" smtClean="0"/>
              <a:t>Automatic parking – for example the car parallel parking itself.</a:t>
            </a:r>
          </a:p>
          <a:p>
            <a:r>
              <a:rPr lang="en-GB" baseline="0" dirty="0" smtClean="0"/>
              <a:t>Collision avoidance systems – detect imminent collision and either warn the driver or actively take preventative steps – and the least pre-tensioning the seatbelts and warming up the airbags .</a:t>
            </a:r>
          </a:p>
          <a:p>
            <a:r>
              <a:rPr lang="en-GB" baseline="0" dirty="0" smtClean="0"/>
              <a:t>Driver drowsiness detection – the car monitoring the driver and giving him or her a jolt or lighting a coffee cup on the dashboard when it detects the driver is tiring. Particularly interesting going forward when the control of the car may be passing between the car itself and the driver and the car will have to ensure the driver is ready to take control before passing it on.</a:t>
            </a:r>
          </a:p>
          <a:p>
            <a:endParaRPr lang="en-GB" baseline="0" dirty="0" smtClean="0"/>
          </a:p>
          <a:p>
            <a:r>
              <a:rPr lang="en-GB" dirty="0" smtClean="0"/>
              <a:t>Network</a:t>
            </a:r>
            <a:r>
              <a:rPr lang="en-GB" baseline="0" dirty="0" smtClean="0"/>
              <a:t> connectivity – vehicle to vehicle and infrastructure to vehicle communication.</a:t>
            </a:r>
          </a:p>
          <a:p>
            <a:r>
              <a:rPr lang="en-GB" baseline="0" dirty="0" smtClean="0"/>
              <a:t>RADAR, LIDAR and camera technologies produce a lot of data – and this all needs processing very quickly. Doing this at a cost that makes it practical to put this technology in mass produced cars is possible due to Moore’s Law. </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14</a:t>
            </a:fld>
            <a:endParaRPr lang="en-US"/>
          </a:p>
        </p:txBody>
      </p:sp>
    </p:spTree>
    <p:extLst>
      <p:ext uri="{BB962C8B-B14F-4D97-AF65-F5344CB8AC3E}">
        <p14:creationId xmlns:p14="http://schemas.microsoft.com/office/powerpoint/2010/main" val="2674152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Legal – Internationally recognised</a:t>
            </a:r>
            <a:r>
              <a:rPr lang="en-GB" baseline="0" dirty="0" smtClean="0"/>
              <a:t> </a:t>
            </a:r>
            <a:r>
              <a:rPr lang="en-GB" dirty="0" smtClean="0"/>
              <a:t>Geneva and Vienna</a:t>
            </a:r>
            <a:r>
              <a:rPr lang="en-GB" baseline="0" dirty="0" smtClean="0"/>
              <a:t> Conventions on Roa</a:t>
            </a:r>
            <a:r>
              <a:rPr lang="en-GB" dirty="0" smtClean="0"/>
              <a:t>d Traffic</a:t>
            </a:r>
            <a:r>
              <a:rPr lang="en-GB" baseline="0" dirty="0" smtClean="0"/>
              <a:t> state that a driver must be in control of the vehicle</a:t>
            </a:r>
          </a:p>
          <a:p>
            <a:r>
              <a:rPr lang="en-GB" baseline="0" dirty="0" smtClean="0"/>
              <a:t>Economic – what will be the impact on the car insurance market</a:t>
            </a:r>
          </a:p>
          <a:p>
            <a:r>
              <a:rPr lang="en-GB" baseline="0" dirty="0" smtClean="0"/>
              <a:t>Cultural – how long before people will trust self-driving cars, what about people who enjoy driving</a:t>
            </a:r>
          </a:p>
          <a:p>
            <a:endParaRPr lang="en-GB" baseline="0" dirty="0" smtClean="0"/>
          </a:p>
          <a:p>
            <a:r>
              <a:rPr lang="en-GB" baseline="0" dirty="0" smtClean="0"/>
              <a:t>Already there are 150 Google Cars driving around Silicon Valley </a:t>
            </a:r>
            <a:r>
              <a:rPr lang="en-GB" baseline="0" dirty="0" err="1" smtClean="0"/>
              <a:t>devloping</a:t>
            </a:r>
            <a:r>
              <a:rPr lang="en-GB" baseline="0" dirty="0" smtClean="0"/>
              <a:t> practical experience – and using radar technology from Infineon. </a:t>
            </a:r>
          </a:p>
          <a:p>
            <a:endParaRPr lang="en-GB" baseline="0" dirty="0" smtClean="0"/>
          </a:p>
          <a:p>
            <a:r>
              <a:rPr lang="en-GB" baseline="0" dirty="0" smtClean="0"/>
              <a:t>Video shows new BMW7 series parking itself. Not very spectacular but interesting thing is that the driver is not in the car. However, critically, he is still in control because, although the car is perfectly capable of parking itself,  he’s pushing a button – if he takes his finger off the car stops. From a technical point of view its perfectly possible for him to </a:t>
            </a:r>
            <a:r>
              <a:rPr lang="en-GB" baseline="0" dirty="0" err="1" smtClean="0"/>
              <a:t>pusn</a:t>
            </a:r>
            <a:r>
              <a:rPr lang="en-GB" baseline="0" dirty="0" smtClean="0"/>
              <a:t> the button and leave the car to park itself – from a legal point of view it’s not. </a:t>
            </a:r>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15</a:t>
            </a:fld>
            <a:endParaRPr lang="en-US"/>
          </a:p>
        </p:txBody>
      </p:sp>
    </p:spTree>
    <p:extLst>
      <p:ext uri="{BB962C8B-B14F-4D97-AF65-F5344CB8AC3E}">
        <p14:creationId xmlns:p14="http://schemas.microsoft.com/office/powerpoint/2010/main" val="6953898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As I said Infineon</a:t>
            </a:r>
            <a:r>
              <a:rPr lang="en-GB" baseline="0" dirty="0" smtClean="0"/>
              <a:t> Bristol is part of the Automotive Microcontroller group of Infineon.</a:t>
            </a:r>
          </a:p>
          <a:p>
            <a:r>
              <a:rPr lang="en-GB" baseline="0" dirty="0" smtClean="0"/>
              <a:t>…</a:t>
            </a:r>
          </a:p>
          <a:p>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17</a:t>
            </a:fld>
            <a:endParaRPr lang="en-US"/>
          </a:p>
        </p:txBody>
      </p:sp>
    </p:spTree>
    <p:extLst>
      <p:ext uri="{BB962C8B-B14F-4D97-AF65-F5344CB8AC3E}">
        <p14:creationId xmlns:p14="http://schemas.microsoft.com/office/powerpoint/2010/main" val="9682354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Typical</a:t>
            </a:r>
            <a:r>
              <a:rPr lang="en-GB" baseline="0" dirty="0" smtClean="0"/>
              <a:t> automotive system consists of sensors, a microcontroller and actuators. The sensors measure and pass this data to the microcontroller. The microcontroller processes the data and decides on the action to be taken which it passes onto the actuators that take the action.</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18</a:t>
            </a:fld>
            <a:endParaRPr lang="en-US"/>
          </a:p>
        </p:txBody>
      </p:sp>
    </p:spTree>
    <p:extLst>
      <p:ext uri="{BB962C8B-B14F-4D97-AF65-F5344CB8AC3E}">
        <p14:creationId xmlns:p14="http://schemas.microsoft.com/office/powerpoint/2010/main" val="5809266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Example automotive</a:t>
            </a:r>
            <a:r>
              <a:rPr lang="en-GB" baseline="0" dirty="0" smtClean="0"/>
              <a:t> system – is a electronic stability control system – aimed at preventing a car from skidding.</a:t>
            </a:r>
          </a:p>
          <a:p>
            <a:endParaRPr lang="en-GB" baseline="0" dirty="0" smtClean="0"/>
          </a:p>
          <a:p>
            <a:r>
              <a:rPr lang="en-GB" baseline="0" dirty="0" smtClean="0"/>
              <a:t>The sensors will measure information such as the angle the car is travelling, the angle the car should be traveling at and the speed of each of the wheels.</a:t>
            </a:r>
          </a:p>
          <a:p>
            <a:r>
              <a:rPr lang="en-GB" baseline="0" dirty="0" smtClean="0"/>
              <a:t>This information is passed to the microcontroller along busses and  the microcontroller will calculate whether everything is as it should be or whether some corrective action needs to be taken. In the case that action needs to be taken it will pass the information on to the actuators – brake valves in this case. For example if one of the wheels is spinning too fast the microcontroller will cause the brake on that wheel to be repeatedly applied and removed until the system stabilises again.</a:t>
            </a:r>
            <a:endParaRPr lang="en-GB" dirty="0" smtClean="0"/>
          </a:p>
          <a:p>
            <a:endParaRPr lang="en-GB" dirty="0" smtClean="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19</a:t>
            </a:fld>
            <a:endParaRPr lang="en-US"/>
          </a:p>
        </p:txBody>
      </p:sp>
    </p:spTree>
    <p:extLst>
      <p:ext uri="{BB962C8B-B14F-4D97-AF65-F5344CB8AC3E}">
        <p14:creationId xmlns:p14="http://schemas.microsoft.com/office/powerpoint/2010/main" val="3779465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 what does a microcontroller look</a:t>
            </a:r>
            <a:r>
              <a:rPr lang="en-GB" baseline="0" dirty="0" smtClean="0"/>
              <a:t> like?</a:t>
            </a:r>
          </a:p>
          <a:p>
            <a:r>
              <a:rPr lang="en-GB" dirty="0" smtClean="0"/>
              <a:t>Example - </a:t>
            </a:r>
            <a:r>
              <a:rPr lang="en-GB" baseline="0" dirty="0" smtClean="0"/>
              <a:t>previous generation of microcontrollers developed in Infineon.</a:t>
            </a:r>
          </a:p>
          <a:p>
            <a:endParaRPr lang="en-GB" baseline="0" dirty="0" smtClean="0"/>
          </a:p>
          <a:p>
            <a:r>
              <a:rPr lang="en-GB" baseline="0" dirty="0" smtClean="0"/>
              <a:t>The red blocks are processors executing code stored in the Flash memories.  The code will be executed according to data received from the sensors and this comes in through a number of communication blocks shown along the bottom. Some of the tasks are time-based or repetitive and the timing is controlled by timers like the GTM and STM. </a:t>
            </a:r>
          </a:p>
          <a:p>
            <a:endParaRPr lang="en-GB" baseline="0" dirty="0" smtClean="0"/>
          </a:p>
          <a:p>
            <a:r>
              <a:rPr lang="en-GB" baseline="0" dirty="0" smtClean="0"/>
              <a:t>Some of the other blocks are a DMA for moving data around the controller independently of the CPUs. So for example data coming in through the communication modules can be moved to memories closer to the CPU for faster processing.</a:t>
            </a:r>
          </a:p>
          <a:p>
            <a:endParaRPr lang="en-GB" baseline="0" dirty="0" smtClean="0"/>
          </a:p>
          <a:p>
            <a:r>
              <a:rPr lang="en-GB" baseline="0" dirty="0" smtClean="0"/>
              <a:t>We have two on-chip  busses – including a fast speed interconnect fro moving data around the ‘compute system’.</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0</a:t>
            </a:fld>
            <a:endParaRPr lang="en-US"/>
          </a:p>
        </p:txBody>
      </p:sp>
    </p:spTree>
    <p:extLst>
      <p:ext uri="{BB962C8B-B14F-4D97-AF65-F5344CB8AC3E}">
        <p14:creationId xmlns:p14="http://schemas.microsoft.com/office/powerpoint/2010/main" val="1899294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Lecture</a:t>
            </a:r>
            <a:r>
              <a:rPr lang="en-GB" baseline="0" dirty="0" smtClean="0"/>
              <a:t> is broadly split into 2 parts</a:t>
            </a:r>
          </a:p>
          <a:p>
            <a:r>
              <a:rPr lang="en-GB" baseline="0" dirty="0" smtClean="0"/>
              <a:t>First part is mean to set some context. So I’ll take a brief look at the semiconductor industry and the focus pretty quickly on Infineon and the Bristol Design Centre. </a:t>
            </a:r>
          </a:p>
          <a:p>
            <a:r>
              <a:rPr lang="en-GB" baseline="0" dirty="0" smtClean="0"/>
              <a:t>In the second part I’ll give an overview of how we execute our verification and start to get a but more technical</a:t>
            </a:r>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a:t>
            </a:fld>
            <a:endParaRPr lang="en-US"/>
          </a:p>
        </p:txBody>
      </p:sp>
    </p:spTree>
    <p:extLst>
      <p:ext uri="{BB962C8B-B14F-4D97-AF65-F5344CB8AC3E}">
        <p14:creationId xmlns:p14="http://schemas.microsoft.com/office/powerpoint/2010/main" val="40734521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The</a:t>
            </a:r>
            <a:r>
              <a:rPr lang="en-GB" baseline="0" dirty="0" smtClean="0"/>
              <a:t> shaded part here is approximately the part that Bristol is responsible for developing.</a:t>
            </a:r>
          </a:p>
          <a:p>
            <a:r>
              <a:rPr lang="en-GB" baseline="0" dirty="0" smtClean="0"/>
              <a:t>Which includes the high-speed compute sub-system …</a:t>
            </a:r>
            <a:endParaRPr lang="en-GB" dirty="0" smtClean="0"/>
          </a:p>
          <a:p>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1</a:t>
            </a:fld>
            <a:endParaRPr lang="en-US"/>
          </a:p>
        </p:txBody>
      </p:sp>
    </p:spTree>
    <p:extLst>
      <p:ext uri="{BB962C8B-B14F-4D97-AF65-F5344CB8AC3E}">
        <p14:creationId xmlns:p14="http://schemas.microsoft.com/office/powerpoint/2010/main" val="11220815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baseline="0" dirty="0" smtClean="0"/>
              <a:t>… and the ADAS sub-system. </a:t>
            </a:r>
          </a:p>
          <a:p>
            <a:r>
              <a:rPr lang="en-GB" baseline="0" dirty="0" smtClean="0"/>
              <a:t>In the current generation under development this looks somewhat different.</a:t>
            </a:r>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2</a:t>
            </a:fld>
            <a:endParaRPr lang="en-US"/>
          </a:p>
        </p:txBody>
      </p:sp>
    </p:spTree>
    <p:extLst>
      <p:ext uri="{BB962C8B-B14F-4D97-AF65-F5344CB8AC3E}">
        <p14:creationId xmlns:p14="http://schemas.microsoft.com/office/powerpoint/2010/main" val="7394492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baseline="0" dirty="0" smtClean="0"/>
              <a:t>Just a quick slide on the processor – called </a:t>
            </a:r>
            <a:r>
              <a:rPr lang="en-GB" baseline="0" dirty="0" err="1" smtClean="0"/>
              <a:t>TriCore</a:t>
            </a:r>
            <a:r>
              <a:rPr lang="en-GB" baseline="0" dirty="0" smtClean="0"/>
              <a:t> and developed in Bristol. Processors are one of the more interesting and challenging blocks to design and verify – for reasons I’ll touch upon later.</a:t>
            </a:r>
          </a:p>
          <a:p>
            <a:r>
              <a:rPr lang="en-GB" baseline="0" dirty="0" smtClean="0"/>
              <a:t>Has been called ‘The ..  ’</a:t>
            </a:r>
          </a:p>
          <a:p>
            <a:r>
              <a:rPr lang="en-GB" baseline="0" dirty="0" smtClean="0"/>
              <a:t>Recently announced that 250 million have been sold. The poster was produced when 100 million had been sold in 2012 – so 100 million up to 2012 – another 150 million since.</a:t>
            </a:r>
          </a:p>
          <a:p>
            <a:r>
              <a:rPr lang="en-GB" baseline="0" dirty="0" smtClean="0"/>
              <a:t>Statistically in every second vehicle produced.</a:t>
            </a:r>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3</a:t>
            </a:fld>
            <a:endParaRPr lang="en-US"/>
          </a:p>
        </p:txBody>
      </p:sp>
    </p:spTree>
    <p:extLst>
      <p:ext uri="{BB962C8B-B14F-4D97-AF65-F5344CB8AC3E}">
        <p14:creationId xmlns:p14="http://schemas.microsoft.com/office/powerpoint/2010/main" val="32868344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Look</a:t>
            </a:r>
            <a:r>
              <a:rPr lang="en-GB" baseline="0" dirty="0" smtClean="0"/>
              <a:t> at verification – and it’s importance in the context of development of an automotive microcontroller.</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4</a:t>
            </a:fld>
            <a:endParaRPr lang="en-US"/>
          </a:p>
        </p:txBody>
      </p:sp>
    </p:spTree>
    <p:extLst>
      <p:ext uri="{BB962C8B-B14F-4D97-AF65-F5344CB8AC3E}">
        <p14:creationId xmlns:p14="http://schemas.microsoft.com/office/powerpoint/2010/main" val="115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Graph from the Wilson research report –</a:t>
            </a:r>
            <a:r>
              <a:rPr lang="en-GB" baseline="0" dirty="0" smtClean="0"/>
              <a:t> a report on trends in verification</a:t>
            </a:r>
            <a:r>
              <a:rPr lang="en-GB" dirty="0" smtClean="0"/>
              <a:t> compiled</a:t>
            </a:r>
            <a:r>
              <a:rPr lang="en-GB" baseline="0" dirty="0" smtClean="0"/>
              <a:t> every few years.</a:t>
            </a:r>
          </a:p>
          <a:p>
            <a:r>
              <a:rPr lang="en-GB" baseline="0" dirty="0" smtClean="0"/>
              <a:t>This is just saying across the industry the majority of project time is spent on verification – and increasing over time. </a:t>
            </a:r>
          </a:p>
          <a:p>
            <a:r>
              <a:rPr lang="en-GB" baseline="0" dirty="0" smtClean="0"/>
              <a:t>In fact would tend to be higher than average in automotive since bugs can be more critical than in applications such as set-top boxes or mobile phones. Perhaps more around the 70% mark.</a:t>
            </a:r>
          </a:p>
          <a:p>
            <a:r>
              <a:rPr lang="en-GB" baseline="0" dirty="0" smtClean="0"/>
              <a:t>When projects can cost 10’s and 100’s of millions this represents a lot of money.</a:t>
            </a:r>
          </a:p>
          <a:p>
            <a:r>
              <a:rPr lang="en-GB" baseline="0" dirty="0" smtClean="0"/>
              <a:t>So why spend so much effort and money on verification?</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5</a:t>
            </a:fld>
            <a:endParaRPr lang="en-US"/>
          </a:p>
        </p:txBody>
      </p:sp>
    </p:spTree>
    <p:extLst>
      <p:ext uri="{BB962C8B-B14F-4D97-AF65-F5344CB8AC3E}">
        <p14:creationId xmlns:p14="http://schemas.microsoft.com/office/powerpoint/2010/main" val="22215917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The</a:t>
            </a:r>
            <a:r>
              <a:rPr lang="en-GB" baseline="0" dirty="0" smtClean="0"/>
              <a:t> answer is the cost of not doing verification.</a:t>
            </a:r>
          </a:p>
          <a:p>
            <a:r>
              <a:rPr lang="en-GB" baseline="0" dirty="0" smtClean="0"/>
              <a:t>For example. </a:t>
            </a:r>
          </a:p>
          <a:p>
            <a:r>
              <a:rPr lang="en-GB" baseline="0" dirty="0" smtClean="0"/>
              <a:t>Before the recalls and compensation GM had made $4.1 billion that year – so the full year profits wiped out</a:t>
            </a:r>
          </a:p>
          <a:p>
            <a:r>
              <a:rPr lang="en-GB" baseline="0" dirty="0" smtClean="0"/>
              <a:t>The majority of the $3.2 billion dollars was on recalls rather than compensation($2.1 billion). This despite the faults being connected to deaths. </a:t>
            </a:r>
          </a:p>
          <a:p>
            <a:r>
              <a:rPr lang="en-GB" baseline="0" dirty="0" smtClean="0"/>
              <a:t>Faulty ignition switch – shut engine down and  prevented airbag deploying – in the event that engine shut down lead to crash the occupants weren’t protected</a:t>
            </a:r>
          </a:p>
          <a:p>
            <a:r>
              <a:rPr lang="en-GB" baseline="0" dirty="0" smtClean="0"/>
              <a:t>Until now this has been directly connected to 124 death and lead to the recall of over 29 million vehicles</a:t>
            </a:r>
          </a:p>
          <a:p>
            <a:r>
              <a:rPr lang="en-GB" baseline="0" dirty="0" smtClean="0"/>
              <a:t>Mechanical problem leading to a failure of the electronics (the engine management and deployment of airbag being electronic functions) – so a bug in the electronics could easily have had the same effect </a:t>
            </a:r>
          </a:p>
          <a:p>
            <a:r>
              <a:rPr lang="en-GB" baseline="0" dirty="0" smtClean="0"/>
              <a:t>A software failure could also have had a similar effect – but would have been much cheaper to put right in the 29 million affected cars, because patching software doesn’t require a physical replacement of parts – and in the future will be done wirelessly over the air so won’t even require physical access to the car.</a:t>
            </a:r>
          </a:p>
          <a:p>
            <a:r>
              <a:rPr lang="en-GB" baseline="0" dirty="0" smtClean="0"/>
              <a:t>In truth testing of safety critical software is taken very seriously – but failure doesn’t have the same financial impact as a hardware failure.</a:t>
            </a:r>
          </a:p>
          <a:p>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6</a:t>
            </a:fld>
            <a:endParaRPr lang="en-US"/>
          </a:p>
        </p:txBody>
      </p:sp>
    </p:spTree>
    <p:extLst>
      <p:ext uri="{BB962C8B-B14F-4D97-AF65-F5344CB8AC3E}">
        <p14:creationId xmlns:p14="http://schemas.microsoft.com/office/powerpoint/2010/main" val="26164460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 let’s look</a:t>
            </a:r>
            <a:r>
              <a:rPr lang="en-GB" baseline="0" dirty="0" smtClean="0"/>
              <a:t> at the cost of hardware bugs.</a:t>
            </a:r>
          </a:p>
          <a:p>
            <a:r>
              <a:rPr lang="en-GB" baseline="0" dirty="0" smtClean="0"/>
              <a:t>Here’s the classic curve showing the increasing cost of the same bug over time.</a:t>
            </a:r>
          </a:p>
          <a:p>
            <a:r>
              <a:rPr lang="en-GB" baseline="0" dirty="0" smtClean="0"/>
              <a:t>As we’ve seen a bug found in the field can cost £billions to put right.</a:t>
            </a:r>
          </a:p>
          <a:p>
            <a:r>
              <a:rPr lang="en-GB" baseline="0" dirty="0" smtClean="0"/>
              <a:t>Verification aims at finding bugs during RTL development – where fixes are typically in the £100’s or less. Although bugs found late in the RTL development phase can require works from several people for several days taking the cost into the £1000’s.</a:t>
            </a:r>
          </a:p>
          <a:p>
            <a:r>
              <a:rPr lang="en-GB" baseline="0" dirty="0" smtClean="0"/>
              <a:t>People talk of ‘shifting left’ i.e. finding bugs as early – and hence as cheaply - as possible. Already we’re typically finding many thousands of bugs across the development of a microcontroller.</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7</a:t>
            </a:fld>
            <a:endParaRPr lang="en-US"/>
          </a:p>
        </p:txBody>
      </p:sp>
    </p:spTree>
    <p:extLst>
      <p:ext uri="{BB962C8B-B14F-4D97-AF65-F5344CB8AC3E}">
        <p14:creationId xmlns:p14="http://schemas.microsoft.com/office/powerpoint/2010/main" val="40898406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So …</a:t>
            </a:r>
          </a:p>
          <a:p>
            <a:r>
              <a:rPr lang="en-GB" dirty="0" smtClean="0"/>
              <a:t>Economic</a:t>
            </a:r>
            <a:r>
              <a:rPr lang="en-GB" baseline="0" dirty="0" smtClean="0"/>
              <a:t> imperative … can significantly eat in to your profits – or even put you out of business</a:t>
            </a:r>
            <a:endParaRPr lang="en-GB" dirty="0" smtClean="0"/>
          </a:p>
          <a:p>
            <a:r>
              <a:rPr lang="en-GB" dirty="0" smtClean="0"/>
              <a:t>Correct</a:t>
            </a:r>
            <a:r>
              <a:rPr lang="en-GB" baseline="0" dirty="0" smtClean="0"/>
              <a:t> functioning is vital for safety – incorrect functioning can lead to serious harm or loss of life</a:t>
            </a:r>
            <a:endParaRPr lang="en-GB" dirty="0" smtClean="0"/>
          </a:p>
          <a:p>
            <a:r>
              <a:rPr lang="en-GB" dirty="0" smtClean="0"/>
              <a:t>With</a:t>
            </a:r>
            <a:r>
              <a:rPr lang="en-GB" baseline="0" dirty="0" smtClean="0"/>
              <a:t> increased amount of electronics in cars, safety of automotive electronic is becoming a huge subject in itself – and is being driven by the </a:t>
            </a:r>
            <a:r>
              <a:rPr lang="en-GB" dirty="0" smtClean="0"/>
              <a:t>ISO26262 standard</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8</a:t>
            </a:fld>
            <a:endParaRPr lang="en-US"/>
          </a:p>
        </p:txBody>
      </p:sp>
    </p:spTree>
    <p:extLst>
      <p:ext uri="{BB962C8B-B14F-4D97-AF65-F5344CB8AC3E}">
        <p14:creationId xmlns:p14="http://schemas.microsoft.com/office/powerpoint/2010/main" val="10994920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tart</a:t>
            </a:r>
            <a:r>
              <a:rPr lang="en-GB" baseline="0" dirty="0" smtClean="0"/>
              <a:t> to look a little more in depth at  verification</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29</a:t>
            </a:fld>
            <a:endParaRPr lang="en-US"/>
          </a:p>
        </p:txBody>
      </p:sp>
    </p:spTree>
    <p:extLst>
      <p:ext uri="{BB962C8B-B14F-4D97-AF65-F5344CB8AC3E}">
        <p14:creationId xmlns:p14="http://schemas.microsoft.com/office/powerpoint/2010/main" val="2001744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Bristol</a:t>
            </a:r>
            <a:r>
              <a:rPr lang="en-GB" baseline="0" dirty="0" smtClean="0"/>
              <a:t> responsible for the development – including verification – of the compute sub-system and ADAS sub-system. </a:t>
            </a:r>
          </a:p>
          <a:p>
            <a:r>
              <a:rPr lang="en-GB" baseline="0" dirty="0" smtClean="0"/>
              <a:t>These sub-systems contain 10’s or 100’s millions of gates.</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0</a:t>
            </a:fld>
            <a:endParaRPr lang="en-US"/>
          </a:p>
        </p:txBody>
      </p:sp>
    </p:spTree>
    <p:extLst>
      <p:ext uri="{BB962C8B-B14F-4D97-AF65-F5344CB8AC3E}">
        <p14:creationId xmlns:p14="http://schemas.microsoft.com/office/powerpoint/2010/main" val="2317391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a:t>
            </a:fld>
            <a:endParaRPr lang="en-US"/>
          </a:p>
        </p:txBody>
      </p:sp>
    </p:spTree>
    <p:extLst>
      <p:ext uri="{BB962C8B-B14F-4D97-AF65-F5344CB8AC3E}">
        <p14:creationId xmlns:p14="http://schemas.microsoft.com/office/powerpoint/2010/main" val="27973680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baseline="0" dirty="0" smtClean="0"/>
              <a:t>The main challenge is again complexity </a:t>
            </a:r>
          </a:p>
          <a:p>
            <a:endParaRPr lang="en-GB" baseline="0" dirty="0" smtClean="0"/>
          </a:p>
          <a:p>
            <a:r>
              <a:rPr lang="en-GB" baseline="0" dirty="0" smtClean="0"/>
              <a:t>Then SKIP</a:t>
            </a:r>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1</a:t>
            </a:fld>
            <a:endParaRPr lang="en-US"/>
          </a:p>
        </p:txBody>
      </p:sp>
    </p:spTree>
    <p:extLst>
      <p:ext uri="{BB962C8B-B14F-4D97-AF65-F5344CB8AC3E}">
        <p14:creationId xmlns:p14="http://schemas.microsoft.com/office/powerpoint/2010/main" val="14240239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And</a:t>
            </a:r>
            <a:r>
              <a:rPr lang="en-GB" baseline="0" dirty="0" smtClean="0"/>
              <a:t> the way to deal with complexity is to divide and conquer.</a:t>
            </a:r>
          </a:p>
          <a:p>
            <a:r>
              <a:rPr lang="en-GB" baseline="0" dirty="0" smtClean="0"/>
              <a:t>Where do you divide? For verification best to divide along standard interfaces – such as well-defined busses and interconnects – and simple interfaces. </a:t>
            </a:r>
          </a:p>
          <a:p>
            <a:r>
              <a:rPr lang="en-GB" baseline="0" dirty="0" smtClean="0"/>
              <a:t>The critical thing here is that these interfaces are well understood so can be modelled accurately in your verification environment – and this minimises the chance of bugs falling through the gaps.</a:t>
            </a:r>
          </a:p>
          <a:p>
            <a:r>
              <a:rPr lang="en-GB" baseline="0" dirty="0" smtClean="0"/>
              <a:t>Can end up with some quite large modules – such as a processor – which is why processors and similar modules are a special challenge for verification – they’re large modules which cannot reliably be divided into smaller verification entities.</a:t>
            </a:r>
          </a:p>
          <a:p>
            <a:r>
              <a:rPr lang="en-GB" baseline="0" dirty="0" smtClean="0"/>
              <a:t>Verification is split into two distinctive flavours – module-level and sub-system and system level.</a:t>
            </a:r>
          </a:p>
          <a:p>
            <a:endParaRPr lang="en-GB" baseline="0" dirty="0" smtClean="0"/>
          </a:p>
          <a:p>
            <a:r>
              <a:rPr lang="en-GB" baseline="0" dirty="0" smtClean="0"/>
              <a:t>But because you have divided at well understood interfaces you have the reduced the complexity that needs to be understood by an individual. They now either just have to understand the detailed behaviour of the modules or the ways the modules interact – but not both.</a:t>
            </a:r>
          </a:p>
          <a:p>
            <a:r>
              <a:rPr lang="en-GB" baseline="0" dirty="0" smtClean="0"/>
              <a:t>At module level you can now drive the interfaces directly – so you have good controllability and writing a reference model is a manageable task – so you have good observability.</a:t>
            </a:r>
          </a:p>
          <a:p>
            <a:r>
              <a:rPr lang="en-GB" baseline="0" dirty="0" smtClean="0"/>
              <a:t>At sub-system level, because you’re just looking at interactions, you can write relatively simple tests.</a:t>
            </a:r>
          </a:p>
          <a:p>
            <a:r>
              <a:rPr lang="en-GB" baseline="0" dirty="0" smtClean="0"/>
              <a:t>And of course everything has to be brought together as a complete microcontroller and the interactions between the sub-systems verified – and for us this is done at Singapore. The main challenge here is getting good cross-site alignment between the sub-systems and the systems to make sure everything is covered somewhere but duplication of effort is minimised.</a:t>
            </a:r>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2</a:t>
            </a:fld>
            <a:endParaRPr lang="en-US"/>
          </a:p>
        </p:txBody>
      </p:sp>
    </p:spTree>
    <p:extLst>
      <p:ext uri="{BB962C8B-B14F-4D97-AF65-F5344CB8AC3E}">
        <p14:creationId xmlns:p14="http://schemas.microsoft.com/office/powerpoint/2010/main" val="15417438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So</a:t>
            </a:r>
            <a:r>
              <a:rPr lang="en-GB" baseline="0" dirty="0" smtClean="0"/>
              <a:t> each module is verified stand-alone. This gives much better controllability since can directly drive the module inputs.</a:t>
            </a:r>
          </a:p>
          <a:p>
            <a:endParaRPr lang="en-GB" baseline="0" dirty="0" smtClean="0"/>
          </a:p>
          <a:p>
            <a:r>
              <a:rPr lang="en-GB" baseline="0" dirty="0" smtClean="0"/>
              <a:t>The target is to verify the module very thoroughly –  in particular it is ensured that all the RTL code has been exercised in a rigorous way; that all high level requirements that relate to the module are verified; that all the functionality described in the target specification is mapped on to functional coverage and all the FC hit; and that any implementation corner cases have been highlighted by the designers and again mapped onto FC which has been hit.</a:t>
            </a:r>
          </a:p>
          <a:p>
            <a:endParaRPr lang="en-GB" baseline="0" dirty="0" smtClean="0"/>
          </a:p>
          <a:p>
            <a:r>
              <a:rPr lang="en-GB" baseline="0" dirty="0" smtClean="0"/>
              <a:t>Given the complexity of even a single module it’s not possible to achieve these goals with hand-written tests so the automatic generation of test cases is needed. The most common method for doing this – and the method we use - is constrained-random generation – we use </a:t>
            </a:r>
            <a:r>
              <a:rPr lang="en-GB" baseline="0" dirty="0" err="1" smtClean="0"/>
              <a:t>Specman</a:t>
            </a:r>
            <a:r>
              <a:rPr lang="en-GB" baseline="0" dirty="0" smtClean="0"/>
              <a:t> e.</a:t>
            </a:r>
          </a:p>
          <a:p>
            <a:r>
              <a:rPr lang="en-GB" baseline="0" dirty="0" smtClean="0"/>
              <a:t>This makes it possible to simulate many thousands of scenarios covering millions of transactions each night. The scenarios that hit coverage of find a big are saved and run on every design release – which in practice means they are re-run most nights.</a:t>
            </a:r>
          </a:p>
          <a:p>
            <a:r>
              <a:rPr lang="en-GB" baseline="0" dirty="0" smtClean="0"/>
              <a:t>The full functionality of the design is checked for every transaction passed through it. The proper way to do this is to have transaction-level reference models. These check function only and are not timing accurate. You will need timing checks – that data passes through a design in a reasonable amount of time – and these are checked by assertions. The worst test benches attempt to combine these checks and model the exact timing of the data passing through the design. These are the worst because they are extremely inefficient – a lot of development time is spent getting the model to match the design behaviour and they are very time-consuming to maintain.</a:t>
            </a:r>
          </a:p>
          <a:p>
            <a:r>
              <a:rPr lang="en-GB" baseline="0" dirty="0" smtClean="0"/>
              <a:t>Even all this </a:t>
            </a:r>
            <a:r>
              <a:rPr lang="en-GB" baseline="0" dirty="0" err="1" smtClean="0"/>
              <a:t>simualtion</a:t>
            </a:r>
            <a:r>
              <a:rPr lang="en-GB" baseline="0" dirty="0" smtClean="0"/>
              <a:t> may not be enough and you may turn to formal </a:t>
            </a:r>
            <a:r>
              <a:rPr lang="en-GB" baseline="0" dirty="0" err="1" smtClean="0"/>
              <a:t>verificaition</a:t>
            </a:r>
            <a:r>
              <a:rPr lang="en-GB" baseline="0" dirty="0" smtClean="0"/>
              <a:t> for some of the verification – more later.</a:t>
            </a:r>
          </a:p>
          <a:p>
            <a:endParaRPr lang="en-GB" baseline="0" dirty="0" smtClean="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3</a:t>
            </a:fld>
            <a:endParaRPr lang="en-US"/>
          </a:p>
        </p:txBody>
      </p:sp>
    </p:spTree>
    <p:extLst>
      <p:ext uri="{BB962C8B-B14F-4D97-AF65-F5344CB8AC3E}">
        <p14:creationId xmlns:p14="http://schemas.microsoft.com/office/powerpoint/2010/main" val="41698211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baseline="0" dirty="0" smtClean="0"/>
              <a:t>Given the complexity of even a single module it’s not possible to achieve these goals with hand-written tests so the automatic generation of test cases is needed. The most common method for doing this – and the method we use - is constrained-random generation – we use </a:t>
            </a:r>
            <a:r>
              <a:rPr lang="en-GB" baseline="0" dirty="0" err="1" smtClean="0"/>
              <a:t>Specman</a:t>
            </a:r>
            <a:r>
              <a:rPr lang="en-GB" baseline="0" dirty="0" smtClean="0"/>
              <a:t> e.</a:t>
            </a:r>
          </a:p>
          <a:p>
            <a:r>
              <a:rPr lang="en-GB" baseline="0" dirty="0" smtClean="0"/>
              <a:t>This makes it possible to simulate many thousands of scenarios covering millions of transactions each night. The scenarios that hit coverage of find a big are saved and run on every design release – which in practice means they are re-run most nights.</a:t>
            </a:r>
          </a:p>
          <a:p>
            <a:r>
              <a:rPr lang="en-GB" baseline="0" dirty="0" smtClean="0"/>
              <a:t>The full functionality of the design is checked for every transaction passed through it. The proper way to do this is to have transaction-level reference models. These check function only and are not timing accurate. You will need timing checks – that data passes through a design in a reasonable amount of time – and these are checked by assertions. The worst test benches attempt to combine these checks and model the exact timing of the data passing through the design. These are the worst because they are extremely inefficient – a lot of development time is spent getting the model to match the design behaviour and they are very time-consuming to maintain.</a:t>
            </a:r>
          </a:p>
          <a:p>
            <a:r>
              <a:rPr lang="en-GB" baseline="0" dirty="0" smtClean="0"/>
              <a:t>Even all this </a:t>
            </a:r>
            <a:r>
              <a:rPr lang="en-GB" baseline="0" dirty="0" err="1" smtClean="0"/>
              <a:t>simualtion</a:t>
            </a:r>
            <a:r>
              <a:rPr lang="en-GB" baseline="0" dirty="0" smtClean="0"/>
              <a:t> may not be enough and you may turn to formal </a:t>
            </a:r>
            <a:r>
              <a:rPr lang="en-GB" baseline="0" dirty="0" err="1" smtClean="0"/>
              <a:t>verificaition</a:t>
            </a:r>
            <a:r>
              <a:rPr lang="en-GB" baseline="0" dirty="0" smtClean="0"/>
              <a:t> for some of the verification – more later.</a:t>
            </a:r>
          </a:p>
          <a:p>
            <a:endParaRPr lang="en-GB" baseline="0" dirty="0" smtClean="0"/>
          </a:p>
          <a:p>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4</a:t>
            </a:fld>
            <a:endParaRPr lang="en-US"/>
          </a:p>
        </p:txBody>
      </p:sp>
    </p:spTree>
    <p:extLst>
      <p:ext uri="{BB962C8B-B14F-4D97-AF65-F5344CB8AC3E}">
        <p14:creationId xmlns:p14="http://schemas.microsoft.com/office/powerpoint/2010/main" val="30478812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With all the modules</a:t>
            </a:r>
            <a:r>
              <a:rPr lang="en-GB" baseline="0" dirty="0" smtClean="0"/>
              <a:t> fully verified all that’s left to check on the sub-systems is that the modules interact correctly together across their standard or simple interfaces.</a:t>
            </a:r>
          </a:p>
          <a:p>
            <a:r>
              <a:rPr lang="en-GB" baseline="0" dirty="0" smtClean="0"/>
              <a:t>At the simplest level this means showing that all the modules are connected up correctly – to the interconnects and to each other.</a:t>
            </a:r>
          </a:p>
          <a:p>
            <a:r>
              <a:rPr lang="en-GB" baseline="0" dirty="0" smtClean="0"/>
              <a:t>But the division of the modules means that the modules are not totally self-contained – so they will interact across these standard and simple interfaces – and real life applications will use these interactions. </a:t>
            </a:r>
          </a:p>
          <a:p>
            <a:r>
              <a:rPr lang="en-GB" baseline="0" dirty="0" smtClean="0"/>
              <a:t>A minimum requirement is that all module I/O has been toggled at sub-system level –  but we need to also ensure this has been done in interesting ways.</a:t>
            </a:r>
          </a:p>
          <a:p>
            <a:endParaRPr lang="en-GB" baseline="0" dirty="0" smtClean="0"/>
          </a:p>
          <a:p>
            <a:r>
              <a:rPr lang="en-GB" baseline="0" dirty="0" smtClean="0"/>
              <a:t>Traditionally – and still – this level of testing is done with C or C++ test cases enhanced with some BFMs to drive external traffic. Application know-how will be used to write use-cases and benchmarks will be run.</a:t>
            </a:r>
          </a:p>
          <a:p>
            <a:endParaRPr lang="en-GB" baseline="0" dirty="0" smtClean="0"/>
          </a:p>
          <a:p>
            <a:r>
              <a:rPr lang="en-GB" baseline="0" dirty="0" smtClean="0"/>
              <a:t>But increasingly module level technologies and methods are being ported up to sub-system and system level verification.</a:t>
            </a:r>
          </a:p>
          <a:p>
            <a:r>
              <a:rPr lang="en-GB" baseline="0" dirty="0" smtClean="0"/>
              <a:t>So constrained-random techniques are being used – for instance calling a library of C routines in a random order.#</a:t>
            </a:r>
          </a:p>
          <a:p>
            <a:r>
              <a:rPr lang="en-GB" baseline="0" dirty="0" smtClean="0"/>
              <a:t>Checking is being extended by the use of reference models and in particular assertions.</a:t>
            </a:r>
          </a:p>
          <a:p>
            <a:r>
              <a:rPr lang="en-GB" baseline="0" dirty="0" smtClean="0"/>
              <a:t> And there is very targeted use of formal verification – for example to check the connectivity.</a:t>
            </a:r>
            <a:endParaRPr lang="en-GB" dirty="0" smtClean="0"/>
          </a:p>
          <a:p>
            <a:endParaRPr lang="en-GB" baseline="0" dirty="0" smtClean="0"/>
          </a:p>
          <a:p>
            <a:endParaRPr lang="en-GB" baseline="0" dirty="0" smtClean="0"/>
          </a:p>
          <a:p>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5</a:t>
            </a:fld>
            <a:endParaRPr lang="en-US"/>
          </a:p>
        </p:txBody>
      </p:sp>
    </p:spTree>
    <p:extLst>
      <p:ext uri="{BB962C8B-B14F-4D97-AF65-F5344CB8AC3E}">
        <p14:creationId xmlns:p14="http://schemas.microsoft.com/office/powerpoint/2010/main" val="34314395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Have</a:t>
            </a:r>
            <a:r>
              <a:rPr lang="en-GB" baseline="0" dirty="0" smtClean="0"/>
              <a:t> mentioned simulation and formal verification already, which are the two main technologies used by us. Look a little more in depth and describe how we use them.</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6</a:t>
            </a:fld>
            <a:endParaRPr lang="en-US"/>
          </a:p>
        </p:txBody>
      </p:sp>
    </p:spTree>
    <p:extLst>
      <p:ext uri="{BB962C8B-B14F-4D97-AF65-F5344CB8AC3E}">
        <p14:creationId xmlns:p14="http://schemas.microsoft.com/office/powerpoint/2010/main" val="7929281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GB" baseline="0" dirty="0" smtClean="0"/>
              <a:t>Recap of two main verification technologies – there are other such as emulation</a:t>
            </a:r>
          </a:p>
          <a:p>
            <a:pPr marL="0" marR="0" indent="0" algn="l" defTabSz="914400" rtl="0" eaLnBrk="1" fontAlgn="base" latinLnBrk="0" hangingPunct="1">
              <a:lnSpc>
                <a:spcPct val="100000"/>
              </a:lnSpc>
              <a:spcBef>
                <a:spcPct val="30000"/>
              </a:spcBef>
              <a:spcAft>
                <a:spcPct val="0"/>
              </a:spcAft>
              <a:buClrTx/>
              <a:buSzTx/>
              <a:buFontTx/>
              <a:buNone/>
              <a:tabLst/>
              <a:defRPr/>
            </a:pPr>
            <a:r>
              <a:rPr lang="en-GB" baseline="0" dirty="0" smtClean="0"/>
              <a:t>Test case automation – automatically generate test cases using constrained random or graph-based techniques</a:t>
            </a:r>
          </a:p>
          <a:p>
            <a:pPr marL="0" marR="0" indent="0" algn="l" defTabSz="914400" rtl="0" eaLnBrk="1" fontAlgn="base" latinLnBrk="0" hangingPunct="1">
              <a:lnSpc>
                <a:spcPct val="100000"/>
              </a:lnSpc>
              <a:spcBef>
                <a:spcPct val="30000"/>
              </a:spcBef>
              <a:spcAft>
                <a:spcPct val="0"/>
              </a:spcAft>
              <a:buClrTx/>
              <a:buSzTx/>
              <a:buFontTx/>
              <a:buNone/>
              <a:tabLst/>
              <a:defRPr/>
            </a:pPr>
            <a:r>
              <a:rPr lang="en-GB" baseline="0" dirty="0" smtClean="0"/>
              <a:t>Both simulation and formal property checking have coverage measures but they typically mean different things – exception is measuring the ability to detect injected faults – means same in both and so results can be combined between the two. (Injecting faults is done through mutation.)</a:t>
            </a:r>
            <a:endParaRPr lang="en-GB" dirty="0" smtClean="0"/>
          </a:p>
          <a:p>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7</a:t>
            </a:fld>
            <a:endParaRPr lang="en-US"/>
          </a:p>
        </p:txBody>
      </p:sp>
    </p:spTree>
    <p:extLst>
      <p:ext uri="{BB962C8B-B14F-4D97-AF65-F5344CB8AC3E}">
        <p14:creationId xmlns:p14="http://schemas.microsoft.com/office/powerpoint/2010/main" val="12693531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Agile – verify design incrementally</a:t>
            </a:r>
            <a:r>
              <a:rPr lang="en-GB" baseline="0" dirty="0" smtClean="0"/>
              <a:t> as it is developed.</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8</a:t>
            </a:fld>
            <a:endParaRPr lang="en-US"/>
          </a:p>
        </p:txBody>
      </p:sp>
    </p:spTree>
    <p:extLst>
      <p:ext uri="{BB962C8B-B14F-4D97-AF65-F5344CB8AC3E}">
        <p14:creationId xmlns:p14="http://schemas.microsoft.com/office/powerpoint/2010/main" val="16762064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baseline="0" dirty="0" smtClean="0"/>
              <a:t>For formal do not always need an expert – but sometimes you do</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39</a:t>
            </a:fld>
            <a:endParaRPr lang="en-US"/>
          </a:p>
        </p:txBody>
      </p:sp>
    </p:spTree>
    <p:extLst>
      <p:ext uri="{BB962C8B-B14F-4D97-AF65-F5344CB8AC3E}">
        <p14:creationId xmlns:p14="http://schemas.microsoft.com/office/powerpoint/2010/main" val="28662251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baseline="0" dirty="0" smtClean="0"/>
              <a:t>Across products – </a:t>
            </a:r>
            <a:r>
              <a:rPr lang="en-GB" baseline="0" dirty="0" err="1" smtClean="0"/>
              <a:t>mutiple</a:t>
            </a:r>
            <a:r>
              <a:rPr lang="en-GB" baseline="0" dirty="0" smtClean="0"/>
              <a:t> products inside each generation …</a:t>
            </a:r>
          </a:p>
          <a:p>
            <a:r>
              <a:rPr lang="en-GB" baseline="0" dirty="0" smtClean="0"/>
              <a:t>Ideally these products are built from same building blocks – the same modules. These modules will need to be configurable to match the requirements of the different products. Ideally verify each of these configurations in one go – not separately for each product.</a:t>
            </a:r>
          </a:p>
          <a:p>
            <a:r>
              <a:rPr lang="en-GB" baseline="0" dirty="0" smtClean="0"/>
              <a:t>Re-use across test benches is a big subject and there has been a lot of work put into developing and </a:t>
            </a:r>
            <a:r>
              <a:rPr lang="en-GB" baseline="0" dirty="0" err="1" smtClean="0"/>
              <a:t>disemmaniting</a:t>
            </a:r>
            <a:r>
              <a:rPr lang="en-GB" baseline="0" dirty="0" smtClean="0"/>
              <a:t> re-use methodologies such as UVM. This enables re-use across module level test benches e.g. for verification of common functionalities such as bus interfaces and re-use across test benches at different hierarchies such as re-</a:t>
            </a:r>
            <a:r>
              <a:rPr lang="en-GB" baseline="0" dirty="0" err="1" smtClean="0"/>
              <a:t>usign</a:t>
            </a:r>
            <a:r>
              <a:rPr lang="en-GB" baseline="0" dirty="0" smtClean="0"/>
              <a:t> assertions from module level at system or sub-system level.</a:t>
            </a:r>
          </a:p>
          <a:p>
            <a:r>
              <a:rPr lang="en-GB" dirty="0" smtClean="0"/>
              <a:t>Look at re-use across</a:t>
            </a:r>
            <a:r>
              <a:rPr lang="en-GB" baseline="0" dirty="0" smtClean="0"/>
              <a:t> technologies in a little more detail – most technical part of the lecture.</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41</a:t>
            </a:fld>
            <a:endParaRPr lang="en-US"/>
          </a:p>
        </p:txBody>
      </p:sp>
    </p:spTree>
    <p:extLst>
      <p:ext uri="{BB962C8B-B14F-4D97-AF65-F5344CB8AC3E}">
        <p14:creationId xmlns:p14="http://schemas.microsoft.com/office/powerpoint/2010/main" val="29332182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Moore’s law f</a:t>
            </a:r>
            <a:r>
              <a:rPr lang="en-GB" baseline="0" dirty="0" smtClean="0"/>
              <a:t>undamentally it says that the number of transistors can get on the same size of silicon doubles very two years or so.</a:t>
            </a:r>
          </a:p>
          <a:p>
            <a:r>
              <a:rPr lang="en-GB" baseline="0" dirty="0" smtClean="0"/>
              <a:t>Implications of this are that you can double the complexity and processing power of a microchip every two years or you can halve the size – and hence price – of a microchip every two years.</a:t>
            </a:r>
          </a:p>
          <a:p>
            <a:r>
              <a:rPr lang="en-GB" baseline="0" dirty="0" smtClean="0"/>
              <a:t>In reality we see both of these effects – with our high-end parts doubling in complexity and our low-end parts halving in price.</a:t>
            </a:r>
          </a:p>
          <a:p>
            <a:r>
              <a:rPr lang="en-GB" baseline="0" dirty="0" smtClean="0"/>
              <a:t>These dual effects have mean that semiconductors have become ubiquitous. Not only is it possible to do much more with them but they can be so cheap it’s easy to add a level of intelligence to almost anything. To the extent that almost everything you do – even walking down the road – can use a microchip.</a:t>
            </a:r>
          </a:p>
          <a:p>
            <a:endParaRPr lang="en-GB" baseline="0" dirty="0" smtClean="0"/>
          </a:p>
          <a:p>
            <a:r>
              <a:rPr lang="en-GB" baseline="0" dirty="0" smtClean="0"/>
              <a:t>The graph here shows that the processing power than can be out on a single chip – no bigger than your fingernail – has just surpassed the processing power of a  mouse brain – and is on target to achieve the processing power of all human beings in </a:t>
            </a:r>
            <a:r>
              <a:rPr lang="en-GB" baseline="0" dirty="0" err="1" smtClean="0"/>
              <a:t>thew</a:t>
            </a:r>
            <a:r>
              <a:rPr lang="en-GB" baseline="0" dirty="0" smtClean="0"/>
              <a:t> </a:t>
            </a:r>
            <a:r>
              <a:rPr lang="en-GB" baseline="0" dirty="0" err="1" smtClean="0"/>
              <a:t>rold</a:t>
            </a:r>
            <a:r>
              <a:rPr lang="en-GB" baseline="0" dirty="0" smtClean="0"/>
              <a:t> by 2065 – although there are some significant technological challenges that will need to be overcome along the way.</a:t>
            </a:r>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4</a:t>
            </a:fld>
            <a:endParaRPr lang="en-US"/>
          </a:p>
        </p:txBody>
      </p:sp>
    </p:spTree>
    <p:extLst>
      <p:ext uri="{BB962C8B-B14F-4D97-AF65-F5344CB8AC3E}">
        <p14:creationId xmlns:p14="http://schemas.microsoft.com/office/powerpoint/2010/main" val="9103986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We’ll base the discussion around a sample property.</a:t>
            </a:r>
          </a:p>
          <a:p>
            <a:endParaRPr lang="en-GB" dirty="0" smtClean="0"/>
          </a:p>
          <a:p>
            <a:r>
              <a:rPr lang="en-GB" dirty="0" smtClean="0"/>
              <a:t>Assertion will check test bench</a:t>
            </a:r>
            <a:r>
              <a:rPr lang="en-GB" baseline="0" dirty="0" smtClean="0"/>
              <a:t> behaviour but not constrain it.</a:t>
            </a:r>
          </a:p>
          <a:p>
            <a:endParaRPr lang="en-GB" baseline="0" dirty="0" smtClean="0"/>
          </a:p>
          <a:p>
            <a:r>
              <a:rPr lang="en-GB" baseline="0" dirty="0" smtClean="0"/>
              <a:t>10 years ago it wasn’t possible to re-use a property across formal and simulation because all the formal tools had their own proprietary languages which were not supported by simulators. Now it is possible but why would you want to do this …?</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42</a:t>
            </a:fld>
            <a:endParaRPr lang="en-US"/>
          </a:p>
        </p:txBody>
      </p:sp>
    </p:spTree>
    <p:extLst>
      <p:ext uri="{BB962C8B-B14F-4D97-AF65-F5344CB8AC3E}">
        <p14:creationId xmlns:p14="http://schemas.microsoft.com/office/powerpoint/2010/main" val="27783366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normAutofit/>
          </a:bodyPr>
          <a:lstStyle/>
          <a:p>
            <a:r>
              <a:rPr lang="de-DE" dirty="0" err="1" smtClean="0">
                <a:solidFill>
                  <a:schemeClr val="tx1"/>
                </a:solidFill>
              </a:rPr>
              <a:t>To</a:t>
            </a:r>
            <a:r>
              <a:rPr lang="de-DE" baseline="0" dirty="0" smtClean="0">
                <a:solidFill>
                  <a:schemeClr val="tx1"/>
                </a:solidFill>
              </a:rPr>
              <a:t> </a:t>
            </a:r>
            <a:r>
              <a:rPr lang="de-DE" baseline="0" dirty="0" err="1" smtClean="0">
                <a:solidFill>
                  <a:schemeClr val="tx1"/>
                </a:solidFill>
              </a:rPr>
              <a:t>explain</a:t>
            </a:r>
            <a:r>
              <a:rPr lang="de-DE" baseline="0" dirty="0" smtClean="0">
                <a:solidFill>
                  <a:schemeClr val="tx1"/>
                </a:solidFill>
              </a:rPr>
              <a:t> </a:t>
            </a:r>
            <a:r>
              <a:rPr lang="de-DE" baseline="0" dirty="0" err="1" smtClean="0">
                <a:solidFill>
                  <a:schemeClr val="tx1"/>
                </a:solidFill>
              </a:rPr>
              <a:t>this</a:t>
            </a:r>
            <a:r>
              <a:rPr lang="de-DE" baseline="0" dirty="0" smtClean="0">
                <a:solidFill>
                  <a:schemeClr val="tx1"/>
                </a:solidFill>
              </a:rPr>
              <a:t> </a:t>
            </a:r>
            <a:r>
              <a:rPr lang="de-DE" baseline="0" dirty="0" err="1" smtClean="0">
                <a:solidFill>
                  <a:schemeClr val="tx1"/>
                </a:solidFill>
              </a:rPr>
              <a:t>we‘ll</a:t>
            </a:r>
            <a:r>
              <a:rPr lang="de-DE" baseline="0" dirty="0" smtClean="0">
                <a:solidFill>
                  <a:schemeClr val="tx1"/>
                </a:solidFill>
              </a:rPr>
              <a:t> </a:t>
            </a:r>
            <a:r>
              <a:rPr lang="de-DE" baseline="0" dirty="0" err="1" smtClean="0">
                <a:solidFill>
                  <a:schemeClr val="tx1"/>
                </a:solidFill>
              </a:rPr>
              <a:t>look</a:t>
            </a:r>
            <a:r>
              <a:rPr lang="de-DE" baseline="0" dirty="0" smtClean="0">
                <a:solidFill>
                  <a:schemeClr val="tx1"/>
                </a:solidFill>
              </a:rPr>
              <a:t> at </a:t>
            </a:r>
            <a:r>
              <a:rPr lang="de-DE" baseline="0" dirty="0" err="1" smtClean="0">
                <a:solidFill>
                  <a:schemeClr val="tx1"/>
                </a:solidFill>
              </a:rPr>
              <a:t>false</a:t>
            </a:r>
            <a:r>
              <a:rPr lang="de-DE" baseline="0" dirty="0" smtClean="0">
                <a:solidFill>
                  <a:schemeClr val="tx1"/>
                </a:solidFill>
              </a:rPr>
              <a:t> </a:t>
            </a:r>
            <a:r>
              <a:rPr lang="de-DE" baseline="0" dirty="0" err="1" smtClean="0">
                <a:solidFill>
                  <a:schemeClr val="tx1"/>
                </a:solidFill>
              </a:rPr>
              <a:t>failures</a:t>
            </a:r>
            <a:r>
              <a:rPr lang="de-DE" baseline="0" dirty="0" smtClean="0">
                <a:solidFill>
                  <a:schemeClr val="tx1"/>
                </a:solidFill>
              </a:rPr>
              <a:t> </a:t>
            </a:r>
            <a:r>
              <a:rPr lang="de-DE" baseline="0" dirty="0" err="1" smtClean="0">
                <a:solidFill>
                  <a:schemeClr val="tx1"/>
                </a:solidFill>
              </a:rPr>
              <a:t>and</a:t>
            </a:r>
            <a:r>
              <a:rPr lang="de-DE" baseline="0" dirty="0" smtClean="0">
                <a:solidFill>
                  <a:schemeClr val="tx1"/>
                </a:solidFill>
              </a:rPr>
              <a:t> </a:t>
            </a:r>
            <a:r>
              <a:rPr lang="de-DE" baseline="0" dirty="0" err="1" smtClean="0">
                <a:solidFill>
                  <a:schemeClr val="tx1"/>
                </a:solidFill>
              </a:rPr>
              <a:t>false</a:t>
            </a:r>
            <a:r>
              <a:rPr lang="de-DE" baseline="0" dirty="0" smtClean="0">
                <a:solidFill>
                  <a:schemeClr val="tx1"/>
                </a:solidFill>
              </a:rPr>
              <a:t> </a:t>
            </a:r>
            <a:r>
              <a:rPr lang="de-DE" baseline="0" dirty="0" err="1" smtClean="0">
                <a:solidFill>
                  <a:schemeClr val="tx1"/>
                </a:solidFill>
              </a:rPr>
              <a:t>passes</a:t>
            </a:r>
            <a:r>
              <a:rPr lang="de-DE" baseline="0" dirty="0" smtClean="0">
                <a:solidFill>
                  <a:schemeClr val="tx1"/>
                </a:solidFill>
              </a:rPr>
              <a:t>.</a:t>
            </a:r>
          </a:p>
          <a:p>
            <a:r>
              <a:rPr lang="de-DE" baseline="0" dirty="0" smtClean="0">
                <a:solidFill>
                  <a:schemeClr val="tx1"/>
                </a:solidFill>
              </a:rPr>
              <a:t>Start </a:t>
            </a:r>
            <a:r>
              <a:rPr lang="de-DE" baseline="0" dirty="0" err="1" smtClean="0">
                <a:solidFill>
                  <a:schemeClr val="tx1"/>
                </a:solidFill>
              </a:rPr>
              <a:t>by</a:t>
            </a:r>
            <a:r>
              <a:rPr lang="de-DE" baseline="0" dirty="0" smtClean="0">
                <a:solidFill>
                  <a:schemeClr val="tx1"/>
                </a:solidFill>
              </a:rPr>
              <a:t> </a:t>
            </a:r>
            <a:r>
              <a:rPr lang="de-DE" baseline="0" dirty="0" err="1" smtClean="0">
                <a:solidFill>
                  <a:schemeClr val="tx1"/>
                </a:solidFill>
              </a:rPr>
              <a:t>looking</a:t>
            </a:r>
            <a:r>
              <a:rPr lang="de-DE" baseline="0" dirty="0" smtClean="0">
                <a:solidFill>
                  <a:schemeClr val="tx1"/>
                </a:solidFill>
              </a:rPr>
              <a:t> at </a:t>
            </a:r>
            <a:r>
              <a:rPr lang="de-DE" baseline="0" dirty="0" err="1" smtClean="0">
                <a:solidFill>
                  <a:schemeClr val="tx1"/>
                </a:solidFill>
              </a:rPr>
              <a:t>false</a:t>
            </a:r>
            <a:r>
              <a:rPr lang="de-DE" baseline="0" dirty="0" smtClean="0">
                <a:solidFill>
                  <a:schemeClr val="tx1"/>
                </a:solidFill>
              </a:rPr>
              <a:t> </a:t>
            </a:r>
            <a:r>
              <a:rPr lang="de-DE" baseline="0" dirty="0" err="1" smtClean="0">
                <a:solidFill>
                  <a:schemeClr val="tx1"/>
                </a:solidFill>
              </a:rPr>
              <a:t>failures</a:t>
            </a:r>
            <a:r>
              <a:rPr lang="de-DE" baseline="0" dirty="0" smtClean="0">
                <a:solidFill>
                  <a:schemeClr val="tx1"/>
                </a:solidFill>
              </a:rPr>
              <a:t>.</a:t>
            </a:r>
          </a:p>
          <a:p>
            <a:r>
              <a:rPr lang="de-DE" baseline="0" dirty="0" smtClean="0">
                <a:solidFill>
                  <a:schemeClr val="tx1"/>
                </a:solidFill>
              </a:rPr>
              <a:t>These </a:t>
            </a:r>
            <a:r>
              <a:rPr lang="de-DE" baseline="0" dirty="0" err="1" smtClean="0">
                <a:solidFill>
                  <a:schemeClr val="tx1"/>
                </a:solidFill>
              </a:rPr>
              <a:t>are</a:t>
            </a:r>
            <a:r>
              <a:rPr lang="de-DE" baseline="0" dirty="0" smtClean="0">
                <a:solidFill>
                  <a:schemeClr val="tx1"/>
                </a:solidFill>
              </a:rPr>
              <a:t> </a:t>
            </a:r>
            <a:r>
              <a:rPr lang="de-DE" baseline="0" dirty="0" err="1" smtClean="0">
                <a:solidFill>
                  <a:schemeClr val="tx1"/>
                </a:solidFill>
              </a:rPr>
              <a:t>caused</a:t>
            </a:r>
            <a:r>
              <a:rPr lang="de-DE" baseline="0" dirty="0" smtClean="0">
                <a:solidFill>
                  <a:schemeClr val="tx1"/>
                </a:solidFill>
              </a:rPr>
              <a:t> </a:t>
            </a:r>
            <a:r>
              <a:rPr lang="de-DE" baseline="0" dirty="0" err="1" smtClean="0">
                <a:solidFill>
                  <a:schemeClr val="tx1"/>
                </a:solidFill>
              </a:rPr>
              <a:t>by</a:t>
            </a:r>
            <a:r>
              <a:rPr lang="de-DE" baseline="0" dirty="0" smtClean="0">
                <a:solidFill>
                  <a:schemeClr val="tx1"/>
                </a:solidFill>
              </a:rPr>
              <a:t> a formal </a:t>
            </a:r>
            <a:r>
              <a:rPr lang="de-DE" baseline="0" dirty="0" err="1" smtClean="0">
                <a:solidFill>
                  <a:schemeClr val="tx1"/>
                </a:solidFill>
              </a:rPr>
              <a:t>tool</a:t>
            </a:r>
            <a:r>
              <a:rPr lang="de-DE" baseline="0" dirty="0" smtClean="0">
                <a:solidFill>
                  <a:schemeClr val="tx1"/>
                </a:solidFill>
              </a:rPr>
              <a:t> </a:t>
            </a:r>
            <a:r>
              <a:rPr lang="de-DE" baseline="0" dirty="0" err="1" smtClean="0">
                <a:solidFill>
                  <a:schemeClr val="tx1"/>
                </a:solidFill>
              </a:rPr>
              <a:t>driving</a:t>
            </a:r>
            <a:r>
              <a:rPr lang="de-DE" baseline="0" dirty="0" smtClean="0">
                <a:solidFill>
                  <a:schemeClr val="tx1"/>
                </a:solidFill>
              </a:rPr>
              <a:t> illegal </a:t>
            </a:r>
            <a:r>
              <a:rPr lang="de-DE" baseline="0" dirty="0" err="1" smtClean="0">
                <a:solidFill>
                  <a:schemeClr val="tx1"/>
                </a:solidFill>
              </a:rPr>
              <a:t>inputs</a:t>
            </a:r>
            <a:r>
              <a:rPr lang="de-DE" baseline="0" dirty="0" smtClean="0">
                <a:solidFill>
                  <a:schemeClr val="tx1"/>
                </a:solidFill>
              </a:rPr>
              <a:t> – </a:t>
            </a:r>
            <a:r>
              <a:rPr lang="de-DE" baseline="0" dirty="0" err="1" smtClean="0">
                <a:solidFill>
                  <a:schemeClr val="tx1"/>
                </a:solidFill>
              </a:rPr>
              <a:t>making</a:t>
            </a:r>
            <a:r>
              <a:rPr lang="de-DE" baseline="0" dirty="0" smtClean="0">
                <a:solidFill>
                  <a:schemeClr val="tx1"/>
                </a:solidFill>
              </a:rPr>
              <a:t> </a:t>
            </a:r>
            <a:r>
              <a:rPr lang="de-DE" baseline="0" dirty="0" err="1" smtClean="0">
                <a:solidFill>
                  <a:schemeClr val="tx1"/>
                </a:solidFill>
              </a:rPr>
              <a:t>the</a:t>
            </a:r>
            <a:r>
              <a:rPr lang="de-DE" baseline="0" dirty="0" smtClean="0">
                <a:solidFill>
                  <a:schemeClr val="tx1"/>
                </a:solidFill>
              </a:rPr>
              <a:t> DUV </a:t>
            </a:r>
            <a:r>
              <a:rPr lang="de-DE" baseline="0" dirty="0" err="1" smtClean="0">
                <a:solidFill>
                  <a:schemeClr val="tx1"/>
                </a:solidFill>
              </a:rPr>
              <a:t>behave</a:t>
            </a:r>
            <a:r>
              <a:rPr lang="de-DE" baseline="0" dirty="0" smtClean="0">
                <a:solidFill>
                  <a:schemeClr val="tx1"/>
                </a:solidFill>
              </a:rPr>
              <a:t> in a </a:t>
            </a:r>
            <a:r>
              <a:rPr lang="de-DE" baseline="0" dirty="0" err="1" smtClean="0">
                <a:solidFill>
                  <a:schemeClr val="tx1"/>
                </a:solidFill>
              </a:rPr>
              <a:t>bad</a:t>
            </a:r>
            <a:r>
              <a:rPr lang="de-DE" baseline="0" dirty="0" smtClean="0">
                <a:solidFill>
                  <a:schemeClr val="tx1"/>
                </a:solidFill>
              </a:rPr>
              <a:t> but </a:t>
            </a:r>
            <a:r>
              <a:rPr lang="de-DE" baseline="0" dirty="0" err="1" smtClean="0">
                <a:solidFill>
                  <a:schemeClr val="tx1"/>
                </a:solidFill>
              </a:rPr>
              <a:t>unrealistic</a:t>
            </a:r>
            <a:r>
              <a:rPr lang="de-DE" baseline="0" dirty="0" smtClean="0">
                <a:solidFill>
                  <a:schemeClr val="tx1"/>
                </a:solidFill>
              </a:rPr>
              <a:t> </a:t>
            </a:r>
            <a:r>
              <a:rPr lang="de-DE" baseline="0" dirty="0" err="1" smtClean="0">
                <a:solidFill>
                  <a:schemeClr val="tx1"/>
                </a:solidFill>
              </a:rPr>
              <a:t>way</a:t>
            </a:r>
            <a:r>
              <a:rPr lang="de-DE" baseline="0" dirty="0" smtClean="0">
                <a:solidFill>
                  <a:schemeClr val="tx1"/>
                </a:solidFill>
              </a:rPr>
              <a:t>. This </a:t>
            </a:r>
            <a:r>
              <a:rPr lang="de-DE" baseline="0" dirty="0" err="1" smtClean="0">
                <a:solidFill>
                  <a:schemeClr val="tx1"/>
                </a:solidFill>
              </a:rPr>
              <a:t>bad</a:t>
            </a:r>
            <a:r>
              <a:rPr lang="de-DE" baseline="0" dirty="0" smtClean="0">
                <a:solidFill>
                  <a:schemeClr val="tx1"/>
                </a:solidFill>
              </a:rPr>
              <a:t> </a:t>
            </a:r>
            <a:r>
              <a:rPr lang="de-DE" baseline="0" dirty="0" err="1" smtClean="0">
                <a:solidFill>
                  <a:schemeClr val="tx1"/>
                </a:solidFill>
              </a:rPr>
              <a:t>behaviour</a:t>
            </a:r>
            <a:r>
              <a:rPr lang="de-DE" baseline="0" dirty="0" smtClean="0">
                <a:solidFill>
                  <a:schemeClr val="tx1"/>
                </a:solidFill>
              </a:rPr>
              <a:t> </a:t>
            </a:r>
            <a:r>
              <a:rPr lang="de-DE" baseline="0" dirty="0" err="1" smtClean="0">
                <a:solidFill>
                  <a:schemeClr val="tx1"/>
                </a:solidFill>
              </a:rPr>
              <a:t>would</a:t>
            </a:r>
            <a:r>
              <a:rPr lang="de-DE" baseline="0" dirty="0" smtClean="0">
                <a:solidFill>
                  <a:schemeClr val="tx1"/>
                </a:solidFill>
              </a:rPr>
              <a:t> </a:t>
            </a:r>
            <a:r>
              <a:rPr lang="de-DE" baseline="0" dirty="0" err="1" smtClean="0">
                <a:solidFill>
                  <a:schemeClr val="tx1"/>
                </a:solidFill>
              </a:rPr>
              <a:t>never</a:t>
            </a:r>
            <a:r>
              <a:rPr lang="de-DE" baseline="0" dirty="0" smtClean="0">
                <a:solidFill>
                  <a:schemeClr val="tx1"/>
                </a:solidFill>
              </a:rPr>
              <a:t> </a:t>
            </a:r>
            <a:r>
              <a:rPr lang="de-DE" baseline="0" dirty="0" err="1" smtClean="0">
                <a:solidFill>
                  <a:schemeClr val="tx1"/>
                </a:solidFill>
              </a:rPr>
              <a:t>be</a:t>
            </a:r>
            <a:r>
              <a:rPr lang="de-DE" baseline="0" dirty="0" smtClean="0">
                <a:solidFill>
                  <a:schemeClr val="tx1"/>
                </a:solidFill>
              </a:rPr>
              <a:t> </a:t>
            </a:r>
            <a:r>
              <a:rPr lang="de-DE" baseline="0" dirty="0" err="1" smtClean="0">
                <a:solidFill>
                  <a:schemeClr val="tx1"/>
                </a:solidFill>
              </a:rPr>
              <a:t>seen</a:t>
            </a:r>
            <a:r>
              <a:rPr lang="de-DE" baseline="0" dirty="0" smtClean="0">
                <a:solidFill>
                  <a:schemeClr val="tx1"/>
                </a:solidFill>
              </a:rPr>
              <a:t> in a </a:t>
            </a:r>
            <a:r>
              <a:rPr lang="de-DE" baseline="0" dirty="0" err="1" smtClean="0">
                <a:solidFill>
                  <a:schemeClr val="tx1"/>
                </a:solidFill>
              </a:rPr>
              <a:t>system</a:t>
            </a:r>
            <a:r>
              <a:rPr lang="de-DE" baseline="0" dirty="0" smtClean="0">
                <a:solidFill>
                  <a:schemeClr val="tx1"/>
                </a:solidFill>
              </a:rPr>
              <a:t>.</a:t>
            </a:r>
          </a:p>
          <a:p>
            <a:r>
              <a:rPr lang="de-DE" baseline="0" dirty="0" smtClean="0">
                <a:solidFill>
                  <a:schemeClr val="tx1"/>
                </a:solidFill>
              </a:rPr>
              <a:t>Fasle </a:t>
            </a:r>
            <a:r>
              <a:rPr lang="de-DE" baseline="0" dirty="0" err="1" smtClean="0">
                <a:solidFill>
                  <a:schemeClr val="tx1"/>
                </a:solidFill>
              </a:rPr>
              <a:t>failures</a:t>
            </a:r>
            <a:r>
              <a:rPr lang="de-DE" baseline="0" dirty="0" smtClean="0">
                <a:solidFill>
                  <a:schemeClr val="tx1"/>
                </a:solidFill>
              </a:rPr>
              <a:t> </a:t>
            </a:r>
            <a:r>
              <a:rPr lang="de-DE" baseline="0" dirty="0" err="1" smtClean="0">
                <a:solidFill>
                  <a:schemeClr val="tx1"/>
                </a:solidFill>
              </a:rPr>
              <a:t>are</a:t>
            </a:r>
            <a:r>
              <a:rPr lang="de-DE" baseline="0" dirty="0" smtClean="0">
                <a:solidFill>
                  <a:schemeClr val="tx1"/>
                </a:solidFill>
              </a:rPr>
              <a:t> easy-</a:t>
            </a:r>
            <a:r>
              <a:rPr lang="de-DE" baseline="0" dirty="0" err="1" smtClean="0">
                <a:solidFill>
                  <a:schemeClr val="tx1"/>
                </a:solidFill>
              </a:rPr>
              <a:t>ish</a:t>
            </a:r>
            <a:r>
              <a:rPr lang="de-DE" baseline="0" dirty="0" smtClean="0">
                <a:solidFill>
                  <a:schemeClr val="tx1"/>
                </a:solidFill>
              </a:rPr>
              <a:t> </a:t>
            </a:r>
            <a:r>
              <a:rPr lang="de-DE" baseline="0" dirty="0" err="1" smtClean="0">
                <a:solidFill>
                  <a:schemeClr val="tx1"/>
                </a:solidFill>
              </a:rPr>
              <a:t>to</a:t>
            </a:r>
            <a:r>
              <a:rPr lang="de-DE" baseline="0" dirty="0" smtClean="0">
                <a:solidFill>
                  <a:schemeClr val="tx1"/>
                </a:solidFill>
              </a:rPr>
              <a:t> </a:t>
            </a:r>
            <a:r>
              <a:rPr lang="de-DE" baseline="0" dirty="0" err="1" smtClean="0">
                <a:solidFill>
                  <a:schemeClr val="tx1"/>
                </a:solidFill>
              </a:rPr>
              <a:t>detect</a:t>
            </a:r>
            <a:r>
              <a:rPr lang="de-DE" baseline="0" dirty="0" smtClean="0">
                <a:solidFill>
                  <a:schemeClr val="tx1"/>
                </a:solidFill>
              </a:rPr>
              <a:t> </a:t>
            </a:r>
            <a:r>
              <a:rPr lang="de-DE" baseline="0" dirty="0" err="1" smtClean="0">
                <a:solidFill>
                  <a:schemeClr val="tx1"/>
                </a:solidFill>
              </a:rPr>
              <a:t>and</a:t>
            </a:r>
            <a:r>
              <a:rPr lang="de-DE" baseline="0" dirty="0" smtClean="0">
                <a:solidFill>
                  <a:schemeClr val="tx1"/>
                </a:solidFill>
              </a:rPr>
              <a:t> easy-</a:t>
            </a:r>
            <a:r>
              <a:rPr lang="de-DE" baseline="0" dirty="0" err="1" smtClean="0">
                <a:solidFill>
                  <a:schemeClr val="tx1"/>
                </a:solidFill>
              </a:rPr>
              <a:t>ish</a:t>
            </a:r>
            <a:r>
              <a:rPr lang="de-DE" baseline="0" dirty="0" smtClean="0">
                <a:solidFill>
                  <a:schemeClr val="tx1"/>
                </a:solidFill>
              </a:rPr>
              <a:t> (in </a:t>
            </a:r>
            <a:r>
              <a:rPr lang="de-DE" baseline="0" dirty="0" err="1" smtClean="0">
                <a:solidFill>
                  <a:schemeClr val="tx1"/>
                </a:solidFill>
              </a:rPr>
              <a:t>this</a:t>
            </a:r>
            <a:r>
              <a:rPr lang="de-DE" baseline="0" dirty="0" smtClean="0">
                <a:solidFill>
                  <a:schemeClr val="tx1"/>
                </a:solidFill>
              </a:rPr>
              <a:t> </a:t>
            </a:r>
            <a:r>
              <a:rPr lang="de-DE" baseline="0" dirty="0" err="1" smtClean="0">
                <a:solidFill>
                  <a:schemeClr val="tx1"/>
                </a:solidFill>
              </a:rPr>
              <a:t>case</a:t>
            </a:r>
            <a:r>
              <a:rPr lang="de-DE" baseline="0" dirty="0" smtClean="0">
                <a:solidFill>
                  <a:schemeClr val="tx1"/>
                </a:solidFill>
              </a:rPr>
              <a:t> </a:t>
            </a:r>
            <a:r>
              <a:rPr lang="de-DE" baseline="0" dirty="0" err="1" smtClean="0">
                <a:solidFill>
                  <a:schemeClr val="tx1"/>
                </a:solidFill>
              </a:rPr>
              <a:t>anyway</a:t>
            </a:r>
            <a:r>
              <a:rPr lang="de-DE" baseline="0" dirty="0" smtClean="0">
                <a:solidFill>
                  <a:schemeClr val="tx1"/>
                </a:solidFill>
              </a:rPr>
              <a:t>) </a:t>
            </a:r>
            <a:r>
              <a:rPr lang="de-DE" baseline="0" dirty="0" err="1" smtClean="0">
                <a:solidFill>
                  <a:schemeClr val="tx1"/>
                </a:solidFill>
              </a:rPr>
              <a:t>to</a:t>
            </a:r>
            <a:r>
              <a:rPr lang="de-DE" baseline="0" dirty="0" smtClean="0">
                <a:solidFill>
                  <a:schemeClr val="tx1"/>
                </a:solidFill>
              </a:rPr>
              <a:t> </a:t>
            </a:r>
            <a:r>
              <a:rPr lang="de-DE" baseline="0" dirty="0" err="1" smtClean="0">
                <a:solidFill>
                  <a:schemeClr val="tx1"/>
                </a:solidFill>
              </a:rPr>
              <a:t>put</a:t>
            </a:r>
            <a:r>
              <a:rPr lang="de-DE" baseline="0" dirty="0" smtClean="0">
                <a:solidFill>
                  <a:schemeClr val="tx1"/>
                </a:solidFill>
              </a:rPr>
              <a:t> </a:t>
            </a:r>
            <a:r>
              <a:rPr lang="de-DE" baseline="0" dirty="0" err="1" smtClean="0">
                <a:solidFill>
                  <a:schemeClr val="tx1"/>
                </a:solidFill>
              </a:rPr>
              <a:t>right</a:t>
            </a:r>
            <a:r>
              <a:rPr lang="de-DE" baseline="0" dirty="0" smtClean="0">
                <a:solidFill>
                  <a:schemeClr val="tx1"/>
                </a:solidFill>
              </a:rPr>
              <a:t>.</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43</a:t>
            </a:fld>
            <a:endParaRPr lang="en-US"/>
          </a:p>
        </p:txBody>
      </p:sp>
    </p:spTree>
    <p:extLst>
      <p:ext uri="{BB962C8B-B14F-4D97-AF65-F5344CB8AC3E}">
        <p14:creationId xmlns:p14="http://schemas.microsoft.com/office/powerpoint/2010/main" val="28148762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False passes</a:t>
            </a:r>
            <a:r>
              <a:rPr lang="en-GB" baseline="0" dirty="0" smtClean="0"/>
              <a:t> on the overhand can be much more difficult to detect and lead to bugs being missed – which as we’ve seen can be very expensive.</a:t>
            </a:r>
          </a:p>
          <a:p>
            <a:r>
              <a:rPr lang="en-GB" baseline="0" dirty="0" smtClean="0"/>
              <a:t>Over-constraint – certainly follows the protocol but not fully exercising the DUV within the protocol.</a:t>
            </a:r>
          </a:p>
          <a:p>
            <a:endParaRPr lang="en-GB" baseline="0" dirty="0" smtClean="0"/>
          </a:p>
          <a:p>
            <a:r>
              <a:rPr lang="en-GB" baseline="0" dirty="0" smtClean="0"/>
              <a:t>Incorrectly coded restraints causing false passes most common reason for missing bugs – rather than incorrectly coded properties.</a:t>
            </a:r>
          </a:p>
          <a:p>
            <a:endParaRPr lang="en-GB" baseline="0" dirty="0" smtClean="0"/>
          </a:p>
          <a:p>
            <a:r>
              <a:rPr lang="en-GB" baseline="0" dirty="0" smtClean="0"/>
              <a:t>In formal property checking don’t normally miss bugs due to incorrectly coded properties – these would normally fail. But do miss bugs due to incorrectly coded constraints.</a:t>
            </a:r>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44</a:t>
            </a:fld>
            <a:endParaRPr lang="en-US"/>
          </a:p>
        </p:txBody>
      </p:sp>
    </p:spTree>
    <p:extLst>
      <p:ext uri="{BB962C8B-B14F-4D97-AF65-F5344CB8AC3E}">
        <p14:creationId xmlns:p14="http://schemas.microsoft.com/office/powerpoint/2010/main" val="8540730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Detected</a:t>
            </a:r>
            <a:r>
              <a:rPr lang="en-GB" baseline="0" dirty="0" smtClean="0"/>
              <a:t> false fails by debugging counter-example - p</a:t>
            </a:r>
            <a:r>
              <a:rPr lang="en-GB" dirty="0" smtClean="0"/>
              <a:t>assing</a:t>
            </a:r>
            <a:r>
              <a:rPr lang="en-GB" baseline="0" dirty="0" smtClean="0"/>
              <a:t> property has no counter example – it just says PASS. So how to detect a false pass?</a:t>
            </a:r>
          </a:p>
          <a:p>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45</a:t>
            </a:fld>
            <a:endParaRPr lang="en-US"/>
          </a:p>
        </p:txBody>
      </p:sp>
    </p:spTree>
    <p:extLst>
      <p:ext uri="{BB962C8B-B14F-4D97-AF65-F5344CB8AC3E}">
        <p14:creationId xmlns:p14="http://schemas.microsoft.com/office/powerpoint/2010/main" val="14815116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46</a:t>
            </a:fld>
            <a:endParaRPr lang="en-US"/>
          </a:p>
        </p:txBody>
      </p:sp>
    </p:spTree>
    <p:extLst>
      <p:ext uri="{BB962C8B-B14F-4D97-AF65-F5344CB8AC3E}">
        <p14:creationId xmlns:p14="http://schemas.microsoft.com/office/powerpoint/2010/main" val="16480359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8" name="Notes Placeholder 2"/>
          <p:cNvSpPr>
            <a:spLocks noGrp="1"/>
          </p:cNvSpPr>
          <p:nvPr>
            <p:ph type="body" idx="3"/>
          </p:nvPr>
        </p:nvSpPr>
        <p:spPr>
          <a:xfrm>
            <a:off x="453306" y="5868498"/>
            <a:ext cx="6191968" cy="3672000"/>
          </a:xfrm>
        </p:spPr>
        <p:txBody>
          <a:bodyPr>
            <a:normAutofit/>
          </a:bodyPr>
          <a:lstStyle/>
          <a:p>
            <a:endParaRPr lang="de-DE">
              <a:solidFill>
                <a:schemeClr val="tx1"/>
              </a:solidFill>
            </a:endParaRPr>
          </a:p>
        </p:txBody>
      </p:sp>
      <p:sp>
        <p:nvSpPr>
          <p:cNvPr id="9" name="Header Placeholder 3"/>
          <p:cNvSpPr>
            <a:spLocks noGrp="1"/>
          </p:cNvSpPr>
          <p:nvPr>
            <p:ph type="hdr" sz="quarter"/>
          </p:nvPr>
        </p:nvSpPr>
        <p:spPr>
          <a:xfrm>
            <a:off x="454025" y="295163"/>
            <a:ext cx="4422857" cy="419422"/>
          </a:xfrm>
        </p:spPr>
        <p:txBody>
          <a:bodyPr/>
          <a:lstStyle/>
          <a:p>
            <a:endParaRPr lang="en-US" dirty="0"/>
          </a:p>
        </p:txBody>
      </p:sp>
      <p:sp>
        <p:nvSpPr>
          <p:cNvPr id="10" name="Footer Placeholder 4"/>
          <p:cNvSpPr>
            <a:spLocks noGrp="1"/>
          </p:cNvSpPr>
          <p:nvPr>
            <p:ph type="ftr" sz="quarter" idx="4"/>
          </p:nvPr>
        </p:nvSpPr>
        <p:spPr>
          <a:xfrm>
            <a:off x="1317625" y="9940925"/>
            <a:ext cx="4824411" cy="144933"/>
          </a:xfrm>
        </p:spPr>
        <p:txBody>
          <a:bodyPr/>
          <a:lstStyle/>
          <a:p>
            <a:r>
              <a:rPr lang="en-US" smtClean="0"/>
              <a:t>Copyright © Infineon Technologies AG 2015. All rights reserved.</a:t>
            </a:r>
            <a:endParaRPr lang="en-US" dirty="0"/>
          </a:p>
        </p:txBody>
      </p:sp>
      <p:sp>
        <p:nvSpPr>
          <p:cNvPr id="11" name="Date Placeholder 5"/>
          <p:cNvSpPr>
            <a:spLocks noGrp="1"/>
          </p:cNvSpPr>
          <p:nvPr>
            <p:ph type="dt" idx="1"/>
          </p:nvPr>
        </p:nvSpPr>
        <p:spPr>
          <a:xfrm>
            <a:off x="453306" y="9940925"/>
            <a:ext cx="864320" cy="144933"/>
          </a:xfrm>
        </p:spPr>
        <p:txBody>
          <a:bodyPr/>
          <a:lstStyle/>
          <a:p>
            <a:r>
              <a:rPr lang="en-US" smtClean="0"/>
              <a:t>set date</a:t>
            </a:r>
            <a:endParaRPr lang="en-US"/>
          </a:p>
        </p:txBody>
      </p:sp>
      <p:sp>
        <p:nvSpPr>
          <p:cNvPr id="12" name="Slide Number Placeholder 6"/>
          <p:cNvSpPr>
            <a:spLocks noGrp="1"/>
          </p:cNvSpPr>
          <p:nvPr>
            <p:ph type="sldNum" sz="quarter" idx="5"/>
          </p:nvPr>
        </p:nvSpPr>
        <p:spPr>
          <a:xfrm>
            <a:off x="6142037" y="9940925"/>
            <a:ext cx="503237" cy="144933"/>
          </a:xfrm>
        </p:spPr>
        <p:txBody>
          <a:bodyPr/>
          <a:lstStyle/>
          <a:p>
            <a:fld id="{1A5E1CB4-6977-43BF-ACA9-CC28B9D6A559}" type="slidenum">
              <a:rPr lang="en-US" smtClean="0"/>
              <a:pPr/>
              <a:t>50</a:t>
            </a:fld>
            <a:endParaRPr lang="en-US"/>
          </a:p>
        </p:txBody>
      </p:sp>
    </p:spTree>
    <p:extLst>
      <p:ext uri="{BB962C8B-B14F-4D97-AF65-F5344CB8AC3E}">
        <p14:creationId xmlns:p14="http://schemas.microsoft.com/office/powerpoint/2010/main" val="34536026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baseline="0" dirty="0" smtClean="0"/>
              <a:t>SKIP</a:t>
            </a:r>
          </a:p>
          <a:p>
            <a:endParaRPr lang="en-GB" baseline="0" dirty="0" smtClean="0"/>
          </a:p>
          <a:p>
            <a:r>
              <a:rPr lang="en-GB" baseline="0" dirty="0" smtClean="0"/>
              <a:t>Decided to verify at multiple levels of hierarchy – now  need to plan verification carefully to make sure that everything is covered but duplication of effort is minimised.</a:t>
            </a:r>
          </a:p>
          <a:p>
            <a:r>
              <a:rPr lang="en-GB" baseline="0" dirty="0" smtClean="0"/>
              <a:t>Verification Planning, Tracking and Sign-off is again a large subject in its own right – covered here very briefly.</a:t>
            </a:r>
          </a:p>
          <a:p>
            <a:r>
              <a:rPr lang="en-GB" baseline="0" dirty="0" smtClean="0"/>
              <a:t>Have to identify all your verification goals upfront – some examples given here. Can be high level requirements, documented lower level features and properties aimed at achieving requirements, implementation requirements like all interfaces must be connected properly, implementation corner cases determined by discussion with designers and generally applied metrics.</a:t>
            </a:r>
          </a:p>
          <a:p>
            <a:r>
              <a:rPr lang="en-GB" baseline="0" dirty="0" smtClean="0"/>
              <a:t>Taking the Bristol sub-systems as a whole will have 1000s of verification goals – some of which will incorporate 1000s of related coverage points</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51</a:t>
            </a:fld>
            <a:endParaRPr lang="en-US"/>
          </a:p>
        </p:txBody>
      </p:sp>
    </p:spTree>
    <p:extLst>
      <p:ext uri="{BB962C8B-B14F-4D97-AF65-F5344CB8AC3E}">
        <p14:creationId xmlns:p14="http://schemas.microsoft.com/office/powerpoint/2010/main" val="2643050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So what’s it like to work in</a:t>
            </a:r>
            <a:r>
              <a:rPr lang="en-GB" baseline="0" dirty="0" smtClean="0"/>
              <a:t> the semiconductor industry – what skill do you need.</a:t>
            </a:r>
          </a:p>
          <a:p>
            <a:r>
              <a:rPr lang="en-GB" baseline="0" dirty="0" smtClean="0"/>
              <a:t>Perhaps the defining characteristic is the need to deal with this doubling of complexity every two years.</a:t>
            </a:r>
          </a:p>
          <a:p>
            <a:r>
              <a:rPr lang="en-GB" baseline="0" dirty="0" smtClean="0"/>
              <a:t>According to Moore’s Law there’s been 100x to 200x increase in complexity of  microchips over the last 15 years – which is how long I’ve been working in the semiconductor industry. For sure the teams developing those chips are certainly not 100 times as large – in fact they’re probably around the same size as they were 15 years ago. This means we must work much more efficiently – and the main drivers for this are innovation in the way we do things, and the ability to assimilate the improvements being made by others.</a:t>
            </a:r>
          </a:p>
          <a:p>
            <a:r>
              <a:rPr lang="en-GB" baseline="0" dirty="0" smtClean="0"/>
              <a:t>Along with the increased complexity comes new problems – so you need strong problem solving skills – and really I spend a significant amount of my  day to day to work solving problems – which gives a great sense of satisfaction.</a:t>
            </a:r>
          </a:p>
          <a:p>
            <a:r>
              <a:rPr lang="en-GB" dirty="0" smtClean="0"/>
              <a:t>Something</a:t>
            </a:r>
            <a:r>
              <a:rPr lang="en-GB" baseline="0" dirty="0" smtClean="0"/>
              <a:t> that has increased massively over the last 15 years is the amount of automation in my job. The EDA tools we use are far more powerful and a lot of our flow is heavily scripted. The languages we develop test benches in are object and aspect orientated. We are also generating a huge amount of data to analyse and are increasing using databases. So the technical skills needed are probably very similar to those you are learning.</a:t>
            </a:r>
          </a:p>
          <a:p>
            <a:r>
              <a:rPr lang="en-GB" baseline="0" dirty="0" smtClean="0"/>
              <a:t>Finally, whilst we’ll improving what we do from generation to generation we certainly don’t want to start again from scratch. So re-use and maintainability are critical. So our scripts and test benches have to be carefully structured. </a:t>
            </a:r>
          </a:p>
          <a:p>
            <a:r>
              <a:rPr lang="en-GB" baseline="0" dirty="0" smtClean="0"/>
              <a:t>In short the skills you need to work in the semiconductor industry are exactly the skills that you, as talented computer scientist, have.</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5</a:t>
            </a:fld>
            <a:endParaRPr lang="en-US"/>
          </a:p>
        </p:txBody>
      </p:sp>
    </p:spTree>
    <p:extLst>
      <p:ext uri="{BB962C8B-B14F-4D97-AF65-F5344CB8AC3E}">
        <p14:creationId xmlns:p14="http://schemas.microsoft.com/office/powerpoint/2010/main" val="4211730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lstStyle/>
          <a:p>
            <a:r>
              <a:rPr lang="en-GB" dirty="0" smtClean="0"/>
              <a:t>So if you wanted to work in the semiconductor industry</a:t>
            </a:r>
            <a:r>
              <a:rPr lang="en-GB" baseline="0" dirty="0" smtClean="0"/>
              <a:t> could you do it in Bristol? The answer is emphatically ‘yes’.</a:t>
            </a:r>
          </a:p>
          <a:p>
            <a:r>
              <a:rPr lang="en-GB" dirty="0" smtClean="0"/>
              <a:t>A</a:t>
            </a:r>
            <a:r>
              <a:rPr lang="en-GB" baseline="0" dirty="0" smtClean="0"/>
              <a:t> lot of semiconductor development in and around Bristol – to the extent it is known as Silicon Gorge after the Avon Gorge. </a:t>
            </a:r>
          </a:p>
          <a:p>
            <a:r>
              <a:rPr lang="en-GB" baseline="0" dirty="0" smtClean="0"/>
              <a:t>For a start there a lot of large multinationals in Bristol  - companies like Infineon, Huawei, Broadcom and Qualcomm, locate offices in Bristol because it has people with the skill set they require.</a:t>
            </a:r>
          </a:p>
          <a:p>
            <a:r>
              <a:rPr lang="en-GB" baseline="0" dirty="0" smtClean="0"/>
              <a:t>There are world leading UK based companies such as Imagination Technologies and smaller companies such as XMOS that started up in Bristol and are trying to make an impact in the world market.</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6</a:t>
            </a:fld>
            <a:endParaRPr lang="en-US"/>
          </a:p>
        </p:txBody>
      </p:sp>
    </p:spTree>
    <p:extLst>
      <p:ext uri="{BB962C8B-B14F-4D97-AF65-F5344CB8AC3E}">
        <p14:creationId xmlns:p14="http://schemas.microsoft.com/office/powerpoint/2010/main" val="10429594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Let me talk a little</a:t>
            </a:r>
            <a:r>
              <a:rPr lang="en-GB" baseline="0" dirty="0" smtClean="0"/>
              <a:t> about Infineon.</a:t>
            </a:r>
            <a:endParaRPr lang="en-GB" dirty="0"/>
          </a:p>
        </p:txBody>
      </p:sp>
      <p:sp>
        <p:nvSpPr>
          <p:cNvPr id="4" name="Header Placeholder 3"/>
          <p:cNvSpPr>
            <a:spLocks noGrp="1"/>
          </p:cNvSpPr>
          <p:nvPr>
            <p:ph type="hdr" sz="quarter" idx="10"/>
          </p:nvPr>
        </p:nvSpPr>
        <p:spPr/>
        <p:txBody>
          <a:bodyPr/>
          <a:lstStyle/>
          <a:p>
            <a:endParaRPr lang="en-US" dirty="0">
              <a:solidFill>
                <a:srgbClr val="00214A"/>
              </a:solidFill>
            </a:endParaRPr>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7</a:t>
            </a:fld>
            <a:endParaRPr lang="en-US"/>
          </a:p>
        </p:txBody>
      </p:sp>
    </p:spTree>
    <p:extLst>
      <p:ext uri="{BB962C8B-B14F-4D97-AF65-F5344CB8AC3E}">
        <p14:creationId xmlns:p14="http://schemas.microsoft.com/office/powerpoint/2010/main" val="11021733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1012825"/>
            <a:ext cx="6191250" cy="4643438"/>
          </a:xfrm>
        </p:spPr>
      </p:sp>
      <p:sp>
        <p:nvSpPr>
          <p:cNvPr id="3" name="Notes Placeholder 2"/>
          <p:cNvSpPr>
            <a:spLocks noGrp="1"/>
          </p:cNvSpPr>
          <p:nvPr>
            <p:ph type="body" idx="1"/>
          </p:nvPr>
        </p:nvSpPr>
        <p:spPr/>
        <p:txBody>
          <a:bodyPr>
            <a:normAutofit/>
          </a:bodyPr>
          <a:lstStyle/>
          <a:p>
            <a:r>
              <a:rPr lang="de-DE" dirty="0" smtClean="0">
                <a:solidFill>
                  <a:schemeClr val="tx1"/>
                </a:solidFill>
              </a:rPr>
              <a:t>These </a:t>
            </a:r>
            <a:r>
              <a:rPr lang="de-DE" dirty="0" err="1" smtClean="0">
                <a:solidFill>
                  <a:schemeClr val="tx1"/>
                </a:solidFill>
              </a:rPr>
              <a:t>are</a:t>
            </a:r>
            <a:r>
              <a:rPr lang="de-DE" baseline="0" dirty="0" smtClean="0">
                <a:solidFill>
                  <a:schemeClr val="tx1"/>
                </a:solidFill>
              </a:rPr>
              <a:t> </a:t>
            </a:r>
            <a:r>
              <a:rPr lang="de-DE" baseline="0" dirty="0" err="1" smtClean="0">
                <a:solidFill>
                  <a:schemeClr val="tx1"/>
                </a:solidFill>
              </a:rPr>
              <a:t>some</a:t>
            </a:r>
            <a:r>
              <a:rPr lang="de-DE" baseline="0" dirty="0" smtClean="0">
                <a:solidFill>
                  <a:schemeClr val="tx1"/>
                </a:solidFill>
              </a:rPr>
              <a:t> </a:t>
            </a:r>
            <a:r>
              <a:rPr lang="de-DE" baseline="0" dirty="0" err="1" smtClean="0">
                <a:solidFill>
                  <a:schemeClr val="tx1"/>
                </a:solidFill>
              </a:rPr>
              <a:t>standard</a:t>
            </a:r>
            <a:r>
              <a:rPr lang="de-DE" baseline="0" dirty="0" smtClean="0">
                <a:solidFill>
                  <a:schemeClr val="tx1"/>
                </a:solidFill>
              </a:rPr>
              <a:t> </a:t>
            </a:r>
            <a:r>
              <a:rPr lang="de-DE" baseline="0" dirty="0" err="1" smtClean="0">
                <a:solidFill>
                  <a:schemeClr val="tx1"/>
                </a:solidFill>
              </a:rPr>
              <a:t>foils</a:t>
            </a:r>
            <a:r>
              <a:rPr lang="de-DE" baseline="0" dirty="0" smtClean="0">
                <a:solidFill>
                  <a:schemeClr val="tx1"/>
                </a:solidFill>
              </a:rPr>
              <a:t>. This </a:t>
            </a:r>
            <a:r>
              <a:rPr lang="de-DE" baseline="0" dirty="0" err="1" smtClean="0">
                <a:solidFill>
                  <a:schemeClr val="tx1"/>
                </a:solidFill>
              </a:rPr>
              <a:t>one</a:t>
            </a:r>
            <a:r>
              <a:rPr lang="de-DE" baseline="0" dirty="0" smtClean="0">
                <a:solidFill>
                  <a:schemeClr val="tx1"/>
                </a:solidFill>
              </a:rPr>
              <a:t> </a:t>
            </a:r>
            <a:r>
              <a:rPr lang="de-DE" baseline="0" dirty="0" err="1" smtClean="0">
                <a:solidFill>
                  <a:schemeClr val="tx1"/>
                </a:solidFill>
              </a:rPr>
              <a:t>is</a:t>
            </a:r>
            <a:r>
              <a:rPr lang="de-DE" baseline="0" dirty="0" smtClean="0">
                <a:solidFill>
                  <a:schemeClr val="tx1"/>
                </a:solidFill>
              </a:rPr>
              <a:t> </a:t>
            </a:r>
            <a:r>
              <a:rPr lang="de-DE" baseline="0" dirty="0" err="1" smtClean="0">
                <a:solidFill>
                  <a:schemeClr val="tx1"/>
                </a:solidFill>
              </a:rPr>
              <a:t>saying</a:t>
            </a:r>
            <a:r>
              <a:rPr lang="de-DE" baseline="0" dirty="0" smtClean="0">
                <a:solidFill>
                  <a:schemeClr val="tx1"/>
                </a:solidFill>
              </a:rPr>
              <a:t> </a:t>
            </a:r>
            <a:r>
              <a:rPr lang="de-DE" baseline="0" dirty="0" err="1" smtClean="0">
                <a:solidFill>
                  <a:schemeClr val="tx1"/>
                </a:solidFill>
              </a:rPr>
              <a:t>that</a:t>
            </a:r>
            <a:r>
              <a:rPr lang="de-DE" baseline="0" dirty="0" smtClean="0">
                <a:solidFill>
                  <a:schemeClr val="tx1"/>
                </a:solidFill>
              </a:rPr>
              <a:t> Infineon </a:t>
            </a:r>
            <a:r>
              <a:rPr lang="de-DE" baseline="0" dirty="0" err="1" smtClean="0">
                <a:solidFill>
                  <a:schemeClr val="tx1"/>
                </a:solidFill>
              </a:rPr>
              <a:t>isn‘t</a:t>
            </a:r>
            <a:r>
              <a:rPr lang="de-DE" baseline="0" dirty="0" smtClean="0">
                <a:solidFill>
                  <a:schemeClr val="tx1"/>
                </a:solidFill>
              </a:rPr>
              <a:t> just </a:t>
            </a:r>
            <a:r>
              <a:rPr lang="de-DE" baseline="0" dirty="0" err="1" smtClean="0">
                <a:solidFill>
                  <a:schemeClr val="tx1"/>
                </a:solidFill>
              </a:rPr>
              <a:t>about</a:t>
            </a:r>
            <a:r>
              <a:rPr lang="de-DE" baseline="0" dirty="0" smtClean="0">
                <a:solidFill>
                  <a:schemeClr val="tx1"/>
                </a:solidFill>
              </a:rPr>
              <a:t> </a:t>
            </a:r>
            <a:r>
              <a:rPr lang="de-DE" baseline="0" dirty="0" err="1" smtClean="0">
                <a:solidFill>
                  <a:schemeClr val="tx1"/>
                </a:solidFill>
              </a:rPr>
              <a:t>making</a:t>
            </a:r>
            <a:r>
              <a:rPr lang="de-DE" baseline="0" dirty="0" smtClean="0">
                <a:solidFill>
                  <a:schemeClr val="tx1"/>
                </a:solidFill>
              </a:rPr>
              <a:t> </a:t>
            </a:r>
            <a:r>
              <a:rPr lang="de-DE" baseline="0" dirty="0" err="1" smtClean="0">
                <a:solidFill>
                  <a:schemeClr val="tx1"/>
                </a:solidFill>
              </a:rPr>
              <a:t>money</a:t>
            </a:r>
            <a:r>
              <a:rPr lang="de-DE" baseline="0" dirty="0" smtClean="0">
                <a:solidFill>
                  <a:schemeClr val="tx1"/>
                </a:solidFill>
              </a:rPr>
              <a:t> – </a:t>
            </a:r>
            <a:r>
              <a:rPr lang="de-DE" baseline="0" dirty="0" err="1" smtClean="0">
                <a:solidFill>
                  <a:schemeClr val="tx1"/>
                </a:solidFill>
              </a:rPr>
              <a:t>it</a:t>
            </a:r>
            <a:r>
              <a:rPr lang="de-DE" baseline="0" dirty="0" smtClean="0">
                <a:solidFill>
                  <a:schemeClr val="tx1"/>
                </a:solidFill>
              </a:rPr>
              <a:t> </a:t>
            </a:r>
            <a:r>
              <a:rPr lang="de-DE" baseline="0" dirty="0" err="1" smtClean="0">
                <a:solidFill>
                  <a:schemeClr val="tx1"/>
                </a:solidFill>
              </a:rPr>
              <a:t>focusses</a:t>
            </a:r>
            <a:r>
              <a:rPr lang="de-DE" baseline="0" dirty="0" smtClean="0">
                <a:solidFill>
                  <a:schemeClr val="tx1"/>
                </a:solidFill>
              </a:rPr>
              <a:t> on </a:t>
            </a:r>
            <a:r>
              <a:rPr lang="de-DE" baseline="0" dirty="0" err="1" smtClean="0">
                <a:solidFill>
                  <a:schemeClr val="tx1"/>
                </a:solidFill>
              </a:rPr>
              <a:t>technologies</a:t>
            </a:r>
            <a:r>
              <a:rPr lang="de-DE" baseline="0" dirty="0" smtClean="0">
                <a:solidFill>
                  <a:schemeClr val="tx1"/>
                </a:solidFill>
              </a:rPr>
              <a:t> </a:t>
            </a:r>
            <a:r>
              <a:rPr lang="de-DE" baseline="0" dirty="0" err="1" smtClean="0">
                <a:solidFill>
                  <a:schemeClr val="tx1"/>
                </a:solidFill>
              </a:rPr>
              <a:t>that</a:t>
            </a:r>
            <a:r>
              <a:rPr lang="de-DE" baseline="0" dirty="0" smtClean="0">
                <a:solidFill>
                  <a:schemeClr val="tx1"/>
                </a:solidFill>
              </a:rPr>
              <a:t> </a:t>
            </a:r>
            <a:r>
              <a:rPr lang="de-DE" baseline="0" dirty="0" err="1" smtClean="0">
                <a:solidFill>
                  <a:schemeClr val="tx1"/>
                </a:solidFill>
              </a:rPr>
              <a:t>contribute</a:t>
            </a:r>
            <a:r>
              <a:rPr lang="de-DE" baseline="0" dirty="0" smtClean="0">
                <a:solidFill>
                  <a:schemeClr val="tx1"/>
                </a:solidFill>
              </a:rPr>
              <a:t> </a:t>
            </a:r>
            <a:r>
              <a:rPr lang="de-DE" baseline="0" dirty="0" err="1" smtClean="0">
                <a:solidFill>
                  <a:schemeClr val="tx1"/>
                </a:solidFill>
              </a:rPr>
              <a:t>to</a:t>
            </a:r>
            <a:r>
              <a:rPr lang="de-DE" baseline="0" dirty="0" smtClean="0">
                <a:solidFill>
                  <a:schemeClr val="tx1"/>
                </a:solidFill>
              </a:rPr>
              <a:t> </a:t>
            </a:r>
            <a:r>
              <a:rPr lang="de-DE" baseline="0" dirty="0" err="1" smtClean="0">
                <a:solidFill>
                  <a:schemeClr val="tx1"/>
                </a:solidFill>
              </a:rPr>
              <a:t>society</a:t>
            </a:r>
            <a:r>
              <a:rPr lang="de-DE" baseline="0" dirty="0" smtClean="0">
                <a:solidFill>
                  <a:schemeClr val="tx1"/>
                </a:solidFill>
              </a:rPr>
              <a:t> – </a:t>
            </a:r>
            <a:r>
              <a:rPr lang="de-DE" baseline="0" dirty="0" err="1" smtClean="0">
                <a:solidFill>
                  <a:schemeClr val="tx1"/>
                </a:solidFill>
              </a:rPr>
              <a:t>making</a:t>
            </a:r>
            <a:r>
              <a:rPr lang="de-DE" baseline="0" dirty="0" smtClean="0">
                <a:solidFill>
                  <a:schemeClr val="tx1"/>
                </a:solidFill>
              </a:rPr>
              <a:t> </a:t>
            </a:r>
            <a:r>
              <a:rPr lang="de-DE" baseline="0" dirty="0" err="1" smtClean="0">
                <a:solidFill>
                  <a:schemeClr val="tx1"/>
                </a:solidFill>
              </a:rPr>
              <a:t>people‘s</a:t>
            </a:r>
            <a:r>
              <a:rPr lang="de-DE" baseline="0" dirty="0" smtClean="0">
                <a:solidFill>
                  <a:schemeClr val="tx1"/>
                </a:solidFill>
              </a:rPr>
              <a:t> </a:t>
            </a:r>
            <a:r>
              <a:rPr lang="de-DE" baseline="0" dirty="0" err="1" smtClean="0">
                <a:solidFill>
                  <a:schemeClr val="tx1"/>
                </a:solidFill>
              </a:rPr>
              <a:t>lives</a:t>
            </a:r>
            <a:r>
              <a:rPr lang="de-DE" baseline="0" dirty="0" smtClean="0">
                <a:solidFill>
                  <a:schemeClr val="tx1"/>
                </a:solidFill>
              </a:rPr>
              <a:t> </a:t>
            </a:r>
            <a:r>
              <a:rPr lang="de-DE" baseline="0" dirty="0" err="1" smtClean="0">
                <a:solidFill>
                  <a:schemeClr val="tx1"/>
                </a:solidFill>
              </a:rPr>
              <a:t>easier</a:t>
            </a:r>
            <a:r>
              <a:rPr lang="de-DE" baseline="0" dirty="0" smtClean="0">
                <a:solidFill>
                  <a:schemeClr val="tx1"/>
                </a:solidFill>
              </a:rPr>
              <a:t>, </a:t>
            </a:r>
            <a:r>
              <a:rPr lang="de-DE" baseline="0" dirty="0" err="1" smtClean="0">
                <a:solidFill>
                  <a:schemeClr val="tx1"/>
                </a:solidFill>
              </a:rPr>
              <a:t>safer</a:t>
            </a:r>
            <a:r>
              <a:rPr lang="de-DE" baseline="0" dirty="0" smtClean="0">
                <a:solidFill>
                  <a:schemeClr val="tx1"/>
                </a:solidFill>
              </a:rPr>
              <a:t> </a:t>
            </a:r>
            <a:r>
              <a:rPr lang="de-DE" baseline="0" dirty="0" err="1" smtClean="0">
                <a:solidFill>
                  <a:schemeClr val="tx1"/>
                </a:solidFill>
              </a:rPr>
              <a:t>and</a:t>
            </a:r>
            <a:r>
              <a:rPr lang="de-DE" baseline="0" dirty="0" smtClean="0">
                <a:solidFill>
                  <a:schemeClr val="tx1"/>
                </a:solidFill>
              </a:rPr>
              <a:t> </a:t>
            </a:r>
            <a:r>
              <a:rPr lang="de-DE" baseline="0" dirty="0" err="1" smtClean="0">
                <a:solidFill>
                  <a:schemeClr val="tx1"/>
                </a:solidFill>
              </a:rPr>
              <a:t>greener</a:t>
            </a:r>
            <a:endParaRPr lang="de-DE" dirty="0">
              <a:solidFill>
                <a:schemeClr val="tx1"/>
              </a:solidFill>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Copyright © Infineon Technologies AG 2015. All rights reserved.</a:t>
            </a:r>
            <a:endParaRPr lang="en-US" dirty="0"/>
          </a:p>
        </p:txBody>
      </p:sp>
      <p:sp>
        <p:nvSpPr>
          <p:cNvPr id="6" name="Date Placeholder 5"/>
          <p:cNvSpPr>
            <a:spLocks noGrp="1"/>
          </p:cNvSpPr>
          <p:nvPr>
            <p:ph type="dt" idx="12"/>
          </p:nvPr>
        </p:nvSpPr>
        <p:spPr/>
        <p:txBody>
          <a:bodyPr/>
          <a:lstStyle/>
          <a:p>
            <a:r>
              <a:rPr lang="en-US" smtClean="0"/>
              <a:t>set date</a:t>
            </a:r>
            <a:endParaRPr lang="en-US"/>
          </a:p>
        </p:txBody>
      </p:sp>
      <p:sp>
        <p:nvSpPr>
          <p:cNvPr id="7" name="Slide Number Placeholder 6"/>
          <p:cNvSpPr>
            <a:spLocks noGrp="1"/>
          </p:cNvSpPr>
          <p:nvPr>
            <p:ph type="sldNum" sz="quarter" idx="13"/>
          </p:nvPr>
        </p:nvSpPr>
        <p:spPr/>
        <p:txBody>
          <a:bodyPr/>
          <a:lstStyle/>
          <a:p>
            <a:fld id="{1A5E1CB4-6977-43BF-ACA9-CC28B9D6A559}"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5613" y="1012825"/>
            <a:ext cx="6188075" cy="4641850"/>
          </a:xfrm>
        </p:spPr>
      </p:sp>
      <p:sp>
        <p:nvSpPr>
          <p:cNvPr id="11" name="Notizenplatzhalter 2"/>
          <p:cNvSpPr>
            <a:spLocks noGrp="1"/>
          </p:cNvSpPr>
          <p:nvPr>
            <p:ph type="body" idx="3"/>
          </p:nvPr>
        </p:nvSpPr>
        <p:spPr>
          <a:xfrm>
            <a:off x="453306" y="5868498"/>
            <a:ext cx="6191968" cy="3672000"/>
          </a:xfrm>
        </p:spPr>
        <p:txBody>
          <a:bodyPr/>
          <a:lstStyle/>
          <a:p>
            <a:r>
              <a:rPr lang="en-US" dirty="0" smtClean="0">
                <a:solidFill>
                  <a:schemeClr val="tx1"/>
                </a:solidFill>
              </a:rPr>
              <a:t>But</a:t>
            </a:r>
            <a:r>
              <a:rPr lang="en-US" baseline="0" dirty="0" smtClean="0">
                <a:solidFill>
                  <a:schemeClr val="tx1"/>
                </a:solidFill>
              </a:rPr>
              <a:t> Infineon is also a commercially successful company – maintaining top positons in its major product categories.</a:t>
            </a:r>
          </a:p>
          <a:p>
            <a:endParaRPr lang="en-US" baseline="0" dirty="0" smtClean="0">
              <a:solidFill>
                <a:schemeClr val="tx1"/>
              </a:solidFill>
            </a:endParaRPr>
          </a:p>
          <a:p>
            <a:r>
              <a:rPr lang="en-US" baseline="0" dirty="0" smtClean="0">
                <a:solidFill>
                  <a:schemeClr val="tx1"/>
                </a:solidFill>
              </a:rPr>
              <a:t>The most interesting from a Bristol point of view is automotive – where Infineon are – for the moment - second to the </a:t>
            </a:r>
            <a:r>
              <a:rPr lang="en-US" baseline="0" dirty="0" err="1" smtClean="0">
                <a:solidFill>
                  <a:schemeClr val="tx1"/>
                </a:solidFill>
              </a:rPr>
              <a:t>Japenese</a:t>
            </a:r>
            <a:r>
              <a:rPr lang="en-US" baseline="0" dirty="0" smtClean="0">
                <a:solidFill>
                  <a:schemeClr val="tx1"/>
                </a:solidFill>
              </a:rPr>
              <a:t> company </a:t>
            </a:r>
            <a:r>
              <a:rPr lang="en-US" baseline="0" dirty="0" err="1" smtClean="0">
                <a:solidFill>
                  <a:schemeClr val="tx1"/>
                </a:solidFill>
              </a:rPr>
              <a:t>Renesas</a:t>
            </a:r>
            <a:r>
              <a:rPr lang="en-US" baseline="0" dirty="0" smtClean="0">
                <a:solidFill>
                  <a:schemeClr val="tx1"/>
                </a:solidFill>
              </a:rPr>
              <a:t>. The Bristol Design Centre is part of the automotive group which is a good place to be. Last year the largest growth in semiconductors worldwide was in automotive semiconductors – and we’ll look briefly at the drivers for that growth later.</a:t>
            </a:r>
            <a:endParaRPr lang="en-US" dirty="0">
              <a:solidFill>
                <a:schemeClr val="tx1"/>
              </a:solidFill>
            </a:endParaRPr>
          </a:p>
        </p:txBody>
      </p:sp>
      <p:sp>
        <p:nvSpPr>
          <p:cNvPr id="12" name="Kopfzeilenplatzhalter 3"/>
          <p:cNvSpPr>
            <a:spLocks noGrp="1"/>
          </p:cNvSpPr>
          <p:nvPr>
            <p:ph type="hdr" sz="quarter"/>
          </p:nvPr>
        </p:nvSpPr>
        <p:spPr>
          <a:xfrm>
            <a:off x="454030" y="295163"/>
            <a:ext cx="4422857" cy="419422"/>
          </a:xfrm>
        </p:spPr>
        <p:txBody>
          <a:bodyPr/>
          <a:lstStyle/>
          <a:p>
            <a:r>
              <a:rPr lang="en-US" smtClean="0"/>
              <a:t>Company Presentation</a:t>
            </a:r>
            <a:endParaRPr lang="en-US" dirty="0"/>
          </a:p>
        </p:txBody>
      </p:sp>
      <p:sp>
        <p:nvSpPr>
          <p:cNvPr id="13" name="Fußzeilenplatzhalter 4"/>
          <p:cNvSpPr>
            <a:spLocks noGrp="1"/>
          </p:cNvSpPr>
          <p:nvPr>
            <p:ph type="ftr" sz="quarter" idx="4"/>
          </p:nvPr>
        </p:nvSpPr>
        <p:spPr>
          <a:xfrm>
            <a:off x="1317625" y="9940930"/>
            <a:ext cx="4824411" cy="144933"/>
          </a:xfrm>
        </p:spPr>
        <p:txBody>
          <a:bodyPr/>
          <a:lstStyle/>
          <a:p>
            <a:r>
              <a:rPr lang="en-US" smtClean="0"/>
              <a:t>Copyright © Infineon Technologies AG 2015. All rights reserved.</a:t>
            </a:r>
            <a:endParaRPr lang="en-US" dirty="0"/>
          </a:p>
        </p:txBody>
      </p:sp>
      <p:sp>
        <p:nvSpPr>
          <p:cNvPr id="14" name="Datumsplatzhalter 5"/>
          <p:cNvSpPr>
            <a:spLocks noGrp="1"/>
          </p:cNvSpPr>
          <p:nvPr>
            <p:ph type="dt" idx="1"/>
          </p:nvPr>
        </p:nvSpPr>
        <p:spPr>
          <a:xfrm>
            <a:off x="453307" y="9940930"/>
            <a:ext cx="1224084" cy="144933"/>
          </a:xfrm>
        </p:spPr>
        <p:txBody>
          <a:bodyPr/>
          <a:lstStyle/>
          <a:p>
            <a:r>
              <a:rPr lang="de-DE" smtClean="0"/>
              <a:t>July 2015</a:t>
            </a:r>
            <a:endParaRPr lang="en-US"/>
          </a:p>
        </p:txBody>
      </p:sp>
      <p:sp>
        <p:nvSpPr>
          <p:cNvPr id="15" name="Foliennummernplatzhalter 6"/>
          <p:cNvSpPr>
            <a:spLocks noGrp="1"/>
          </p:cNvSpPr>
          <p:nvPr>
            <p:ph type="sldNum" sz="quarter" idx="5"/>
          </p:nvPr>
        </p:nvSpPr>
        <p:spPr>
          <a:xfrm>
            <a:off x="6142037" y="9940930"/>
            <a:ext cx="503237" cy="144933"/>
          </a:xfrm>
        </p:spPr>
        <p:txBody>
          <a:bodyPr/>
          <a:lstStyle/>
          <a:p>
            <a:fld id="{F93D440C-42AC-48A3-BEAF-CCC423AF6677}" type="slidenum">
              <a:rPr lang="en-US" smtClean="0"/>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FX_Title Slide">
    <p:bg>
      <p:bgPr>
        <a:blipFill dpi="0" rotWithShape="1">
          <a:blip r:embed="rId2" cstate="print">
            <a:lum/>
          </a:blip>
          <a:srcRect/>
          <a:stretch>
            <a:fillRect l="80000" t="85000" r="5200" b="6200"/>
          </a:stretch>
        </a:blipFill>
        <a:effectLst/>
      </p:bgPr>
    </p:bg>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9143998" cy="6857998"/>
          </a:xfrm>
          <a:prstGeom prst="rect">
            <a:avLst/>
          </a:prstGeom>
        </p:spPr>
      </p:pic>
      <p:sp>
        <p:nvSpPr>
          <p:cNvPr id="9" name="Title 1"/>
          <p:cNvSpPr>
            <a:spLocks noGrp="1"/>
          </p:cNvSpPr>
          <p:nvPr>
            <p:ph type="ctrTitle" hasCustomPrompt="1"/>
          </p:nvPr>
        </p:nvSpPr>
        <p:spPr>
          <a:xfrm>
            <a:off x="250825" y="1268413"/>
            <a:ext cx="7128390" cy="1440000"/>
          </a:xfrm>
        </p:spPr>
        <p:txBody>
          <a:bodyPr vert="horz" lIns="0" tIns="0" rIns="0" bIns="10800" rtlCol="0" anchor="b" anchorCtr="0">
            <a:noAutofit/>
          </a:bodyPr>
          <a:lstStyle>
            <a:lvl1pPr algn="l" rtl="0" eaLnBrk="1" fontAlgn="base" hangingPunct="1">
              <a:spcBef>
                <a:spcPct val="0"/>
              </a:spcBef>
              <a:spcAft>
                <a:spcPct val="0"/>
              </a:spcAft>
              <a:buClr>
                <a:schemeClr val="tx1"/>
              </a:buClr>
              <a:buFontTx/>
              <a:buNone/>
              <a:defRPr lang="en-GB" sz="4800" b="0" noProof="0" dirty="0" smtClean="0">
                <a:solidFill>
                  <a:schemeClr val="tx1"/>
                </a:solidFill>
                <a:latin typeface="Verdana" pitchFamily="34" charset="0"/>
                <a:ea typeface="+mj-ea"/>
                <a:cs typeface="+mj-cs"/>
              </a:defRPr>
            </a:lvl1pPr>
          </a:lstStyle>
          <a:p>
            <a:r>
              <a:rPr lang="en-GB" noProof="0" dirty="0" smtClean="0"/>
              <a:t>Please type in Title</a:t>
            </a:r>
            <a:endParaRPr lang="en-GB" dirty="0"/>
          </a:p>
        </p:txBody>
      </p:sp>
      <p:sp>
        <p:nvSpPr>
          <p:cNvPr id="10" name="Subtitle 2"/>
          <p:cNvSpPr>
            <a:spLocks noGrp="1"/>
          </p:cNvSpPr>
          <p:nvPr>
            <p:ph type="subTitle" idx="1" hasCustomPrompt="1"/>
          </p:nvPr>
        </p:nvSpPr>
        <p:spPr>
          <a:xfrm>
            <a:off x="252000" y="2780927"/>
            <a:ext cx="7128390" cy="936000"/>
          </a:xfrm>
          <a:prstGeom prst="rect">
            <a:avLst/>
          </a:prstGeom>
        </p:spPr>
        <p:txBody>
          <a:bodyPr vert="horz" wrap="square" lIns="0" tIns="0" rIns="0" bIns="0" rtlCol="0" anchor="t" anchorCtr="0">
            <a:noAutofit/>
          </a:bodyPr>
          <a:lstStyle>
            <a:lvl1pPr marL="0" indent="0" algn="l">
              <a:spcAft>
                <a:spcPts val="0"/>
              </a:spcAft>
              <a:buNone/>
              <a:defRPr lang="en-GB" sz="2800" baseline="0" noProof="0" dirty="0" smtClean="0">
                <a:solidFill>
                  <a:schemeClr val="tx1"/>
                </a:solidFill>
                <a:latin typeface="Verdana"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GB" noProof="0" dirty="0" smtClean="0"/>
              <a:t>Author (Department)</a:t>
            </a:r>
            <a:br>
              <a:rPr lang="en-GB" noProof="0" dirty="0" smtClean="0"/>
            </a:br>
            <a:r>
              <a:rPr lang="en-GB" noProof="0" dirty="0" smtClean="0"/>
              <a:t>Date</a:t>
            </a:r>
          </a:p>
        </p:txBody>
      </p:sp>
    </p:spTree>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FX_Title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7" name="Content Placeholder 6"/>
          <p:cNvSpPr>
            <a:spLocks noGrp="1"/>
          </p:cNvSpPr>
          <p:nvPr>
            <p:ph sz="quarter" idx="13" hasCustomPrompt="1"/>
          </p:nvPr>
        </p:nvSpPr>
        <p:spPr>
          <a:xfrm>
            <a:off x="250826" y="1268413"/>
            <a:ext cx="2808288" cy="5113337"/>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9" name="Content Placeholder 8"/>
          <p:cNvSpPr>
            <a:spLocks noGrp="1"/>
          </p:cNvSpPr>
          <p:nvPr>
            <p:ph sz="quarter" idx="14" hasCustomPrompt="1"/>
          </p:nvPr>
        </p:nvSpPr>
        <p:spPr>
          <a:xfrm>
            <a:off x="3203576" y="1268413"/>
            <a:ext cx="2736850" cy="5113337"/>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1" name="Content Placeholder 10"/>
          <p:cNvSpPr>
            <a:spLocks noGrp="1"/>
          </p:cNvSpPr>
          <p:nvPr>
            <p:ph sz="quarter" idx="15" hasCustomPrompt="1"/>
          </p:nvPr>
        </p:nvSpPr>
        <p:spPr>
          <a:xfrm>
            <a:off x="6084888" y="1268413"/>
            <a:ext cx="2808312" cy="5113337"/>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3"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14"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5"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FX_Row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7" name="Content Placeholder 6"/>
          <p:cNvSpPr>
            <a:spLocks noGrp="1"/>
          </p:cNvSpPr>
          <p:nvPr>
            <p:ph sz="quarter" idx="13" hasCustomPrompt="1"/>
          </p:nvPr>
        </p:nvSpPr>
        <p:spPr>
          <a:xfrm>
            <a:off x="250825" y="1268413"/>
            <a:ext cx="8640960" cy="1368425"/>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p:txBody>
      </p:sp>
      <p:sp>
        <p:nvSpPr>
          <p:cNvPr id="9" name="Content Placeholder 8"/>
          <p:cNvSpPr>
            <a:spLocks noGrp="1"/>
          </p:cNvSpPr>
          <p:nvPr>
            <p:ph sz="quarter" idx="14" hasCustomPrompt="1"/>
          </p:nvPr>
        </p:nvSpPr>
        <p:spPr>
          <a:xfrm>
            <a:off x="250825" y="2781299"/>
            <a:ext cx="2952750" cy="360045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1" name="Content Placeholder 10"/>
          <p:cNvSpPr>
            <a:spLocks noGrp="1"/>
          </p:cNvSpPr>
          <p:nvPr>
            <p:ph sz="quarter" idx="15" hasCustomPrompt="1"/>
          </p:nvPr>
        </p:nvSpPr>
        <p:spPr>
          <a:xfrm>
            <a:off x="3348038" y="2781299"/>
            <a:ext cx="2592387" cy="360045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3" name="Content Placeholder 12"/>
          <p:cNvSpPr>
            <a:spLocks noGrp="1"/>
          </p:cNvSpPr>
          <p:nvPr>
            <p:ph sz="quarter" idx="16" hasCustomPrompt="1"/>
          </p:nvPr>
        </p:nvSpPr>
        <p:spPr>
          <a:xfrm>
            <a:off x="6084888" y="2781299"/>
            <a:ext cx="2808287" cy="360045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4"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15"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6"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FX_Four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7" name="Content Placeholder 6"/>
          <p:cNvSpPr>
            <a:spLocks noGrp="1"/>
          </p:cNvSpPr>
          <p:nvPr>
            <p:ph sz="quarter" idx="13" hasCustomPrompt="1"/>
          </p:nvPr>
        </p:nvSpPr>
        <p:spPr>
          <a:xfrm>
            <a:off x="250825" y="1268413"/>
            <a:ext cx="2088232" cy="5113337"/>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9" name="Content Placeholder 8"/>
          <p:cNvSpPr>
            <a:spLocks noGrp="1"/>
          </p:cNvSpPr>
          <p:nvPr>
            <p:ph sz="quarter" idx="14" hasCustomPrompt="1"/>
          </p:nvPr>
        </p:nvSpPr>
        <p:spPr>
          <a:xfrm>
            <a:off x="2484438" y="1268413"/>
            <a:ext cx="2016125" cy="5113337"/>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1" name="Content Placeholder 10"/>
          <p:cNvSpPr>
            <a:spLocks noGrp="1"/>
          </p:cNvSpPr>
          <p:nvPr>
            <p:ph sz="quarter" idx="15" hasCustomPrompt="1"/>
          </p:nvPr>
        </p:nvSpPr>
        <p:spPr>
          <a:xfrm>
            <a:off x="4643438" y="1268413"/>
            <a:ext cx="2016125" cy="5113337"/>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3" name="Content Placeholder 12"/>
          <p:cNvSpPr>
            <a:spLocks noGrp="1"/>
          </p:cNvSpPr>
          <p:nvPr>
            <p:ph sz="quarter" idx="16" hasCustomPrompt="1"/>
          </p:nvPr>
        </p:nvSpPr>
        <p:spPr>
          <a:xfrm>
            <a:off x="6804025" y="1268413"/>
            <a:ext cx="2088232" cy="5113337"/>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4"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15"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6"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FX_Row and 4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7" name="Content Placeholder 6"/>
          <p:cNvSpPr>
            <a:spLocks noGrp="1"/>
          </p:cNvSpPr>
          <p:nvPr>
            <p:ph sz="quarter" idx="13" hasCustomPrompt="1"/>
          </p:nvPr>
        </p:nvSpPr>
        <p:spPr>
          <a:xfrm>
            <a:off x="250825" y="1268413"/>
            <a:ext cx="8640960" cy="1368425"/>
          </a:xfrm>
          <a:prstGeom prst="rect">
            <a:avLst/>
          </a:prstGeom>
        </p:spPr>
        <p:txBody>
          <a:bodyPr/>
          <a:lstStyle>
            <a:lvl4pPr>
              <a:buNone/>
              <a:defRPr/>
            </a:lvl4pPr>
          </a:lstStyle>
          <a:p>
            <a:pPr lvl="0"/>
            <a:r>
              <a:rPr lang="en-GB" noProof="0" dirty="0" smtClean="0"/>
              <a:t>Click to edit text</a:t>
            </a:r>
          </a:p>
          <a:p>
            <a:pPr lvl="1"/>
            <a:r>
              <a:rPr lang="en-GB" noProof="0" dirty="0" smtClean="0"/>
              <a:t>Second level</a:t>
            </a:r>
          </a:p>
          <a:p>
            <a:pPr lvl="2"/>
            <a:r>
              <a:rPr lang="en-GB" noProof="0" dirty="0" smtClean="0"/>
              <a:t>Third level</a:t>
            </a:r>
          </a:p>
        </p:txBody>
      </p:sp>
      <p:sp>
        <p:nvSpPr>
          <p:cNvPr id="9" name="Content Placeholder 8"/>
          <p:cNvSpPr>
            <a:spLocks noGrp="1"/>
          </p:cNvSpPr>
          <p:nvPr>
            <p:ph sz="quarter" idx="14" hasCustomPrompt="1"/>
          </p:nvPr>
        </p:nvSpPr>
        <p:spPr>
          <a:xfrm>
            <a:off x="250825" y="2781299"/>
            <a:ext cx="2088232" cy="360045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1" name="Content Placeholder 10"/>
          <p:cNvSpPr>
            <a:spLocks noGrp="1"/>
          </p:cNvSpPr>
          <p:nvPr>
            <p:ph sz="quarter" idx="15" hasCustomPrompt="1"/>
          </p:nvPr>
        </p:nvSpPr>
        <p:spPr>
          <a:xfrm>
            <a:off x="2484438" y="2781299"/>
            <a:ext cx="2016125" cy="360045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3" name="Content Placeholder 12"/>
          <p:cNvSpPr>
            <a:spLocks noGrp="1"/>
          </p:cNvSpPr>
          <p:nvPr>
            <p:ph sz="quarter" idx="16" hasCustomPrompt="1"/>
          </p:nvPr>
        </p:nvSpPr>
        <p:spPr>
          <a:xfrm>
            <a:off x="4643438" y="2781299"/>
            <a:ext cx="2016125" cy="360045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5" name="Content Placeholder 14"/>
          <p:cNvSpPr>
            <a:spLocks noGrp="1"/>
          </p:cNvSpPr>
          <p:nvPr>
            <p:ph sz="quarter" idx="17" hasCustomPrompt="1"/>
          </p:nvPr>
        </p:nvSpPr>
        <p:spPr>
          <a:xfrm>
            <a:off x="6804025" y="2781299"/>
            <a:ext cx="2088232" cy="360045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6"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17"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8"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FX_Empty">
    <p:spTree>
      <p:nvGrpSpPr>
        <p:cNvPr id="1" name=""/>
        <p:cNvGrpSpPr/>
        <p:nvPr/>
      </p:nvGrpSpPr>
      <p:grpSpPr>
        <a:xfrm>
          <a:off x="0" y="0"/>
          <a:ext cx="0" cy="0"/>
          <a:chOff x="0" y="0"/>
          <a:chExt cx="0" cy="0"/>
        </a:xfrm>
      </p:grpSpPr>
      <p:sp>
        <p:nvSpPr>
          <p:cNvPr id="7"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8"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9"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IFX_Final">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FX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8"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11"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2"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FX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7" name="Content Placeholder 6"/>
          <p:cNvSpPr>
            <a:spLocks noGrp="1"/>
          </p:cNvSpPr>
          <p:nvPr>
            <p:ph sz="quarter" idx="13" hasCustomPrompt="1"/>
          </p:nvPr>
        </p:nvSpPr>
        <p:spPr>
          <a:xfrm>
            <a:off x="250824" y="1268413"/>
            <a:ext cx="8641655" cy="5113337"/>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0"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13"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4"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FX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19" name="Text Placeholder 10"/>
          <p:cNvSpPr>
            <a:spLocks noGrp="1"/>
          </p:cNvSpPr>
          <p:nvPr>
            <p:ph type="body" idx="17" hasCustomPrompt="1"/>
          </p:nvPr>
        </p:nvSpPr>
        <p:spPr>
          <a:xfrm>
            <a:off x="971500" y="1268412"/>
            <a:ext cx="7921676" cy="576072"/>
          </a:xfrm>
          <a:prstGeom prst="rect">
            <a:avLst/>
          </a:prstGeom>
          <a:noFill/>
        </p:spPr>
        <p:txBody>
          <a:bodyPr wrap="square" lIns="0" anchor="ctr">
            <a:noAutofit/>
          </a:bodyPr>
          <a:lstStyle>
            <a:lvl1pPr marL="0" indent="0" fontAlgn="auto">
              <a:buNone/>
              <a:defRPr/>
            </a:lvl1pPr>
            <a:lvl2pPr fontAlgn="auto">
              <a:defRPr/>
            </a:lvl2pPr>
            <a:lvl3pPr fontAlgn="auto">
              <a:defRPr/>
            </a:lvl3pPr>
            <a:lvl4pPr fontAlgn="auto">
              <a:defRPr/>
            </a:lvl4pPr>
            <a:lvl5pPr fontAlgn="auto">
              <a:defRPr/>
            </a:lvl5pPr>
          </a:lstStyle>
          <a:p>
            <a:pPr lvl="0"/>
            <a:r>
              <a:rPr lang="en-GB" dirty="0" smtClean="0"/>
              <a:t>Click to edit text</a:t>
            </a:r>
          </a:p>
        </p:txBody>
      </p:sp>
      <p:sp>
        <p:nvSpPr>
          <p:cNvPr id="20" name="Text Placeholder 11"/>
          <p:cNvSpPr>
            <a:spLocks noGrp="1"/>
          </p:cNvSpPr>
          <p:nvPr>
            <p:ph type="body" sz="quarter" idx="18" hasCustomPrompt="1"/>
          </p:nvPr>
        </p:nvSpPr>
        <p:spPr>
          <a:xfrm>
            <a:off x="971501" y="1916493"/>
            <a:ext cx="7921676" cy="576072"/>
          </a:xfrm>
          <a:prstGeom prst="rect">
            <a:avLst/>
          </a:prstGeom>
          <a:noFill/>
        </p:spPr>
        <p:txBody>
          <a:bodyPr wrap="square" lIns="0" anchor="ctr">
            <a:noAutofit/>
          </a:bodyPr>
          <a:lstStyle>
            <a:lvl1pPr marL="0" indent="0" fontAlgn="auto">
              <a:buNone/>
              <a:defRPr/>
            </a:lvl1pPr>
            <a:lvl2pPr fontAlgn="auto">
              <a:defRPr/>
            </a:lvl2pPr>
            <a:lvl3pPr fontAlgn="auto">
              <a:defRPr/>
            </a:lvl3pPr>
            <a:lvl4pPr fontAlgn="auto">
              <a:defRPr/>
            </a:lvl4pPr>
            <a:lvl5pPr fontAlgn="auto">
              <a:defRPr/>
            </a:lvl5pPr>
          </a:lstStyle>
          <a:p>
            <a:pPr lvl="0"/>
            <a:r>
              <a:rPr lang="en-GB" noProof="0" dirty="0" smtClean="0"/>
              <a:t>Click to edit text</a:t>
            </a:r>
          </a:p>
        </p:txBody>
      </p:sp>
      <p:sp>
        <p:nvSpPr>
          <p:cNvPr id="21" name="Text Placeholder 12"/>
          <p:cNvSpPr>
            <a:spLocks noGrp="1"/>
          </p:cNvSpPr>
          <p:nvPr>
            <p:ph type="body" sz="quarter" idx="19" hasCustomPrompt="1"/>
          </p:nvPr>
        </p:nvSpPr>
        <p:spPr>
          <a:xfrm>
            <a:off x="971501" y="2564574"/>
            <a:ext cx="7921676" cy="576072"/>
          </a:xfrm>
          <a:prstGeom prst="rect">
            <a:avLst/>
          </a:prstGeom>
          <a:noFill/>
        </p:spPr>
        <p:txBody>
          <a:bodyPr wrap="square" lIns="0" anchor="ctr">
            <a:noAutofit/>
          </a:bodyPr>
          <a:lstStyle>
            <a:lvl1pPr marL="0" indent="0" fontAlgn="auto">
              <a:buNone/>
              <a:defRPr/>
            </a:lvl1pPr>
            <a:lvl2pPr fontAlgn="auto">
              <a:defRPr/>
            </a:lvl2pPr>
            <a:lvl3pPr fontAlgn="auto">
              <a:defRPr/>
            </a:lvl3pPr>
            <a:lvl4pPr fontAlgn="auto">
              <a:defRPr/>
            </a:lvl4pPr>
            <a:lvl5pPr fontAlgn="auto">
              <a:defRPr/>
            </a:lvl5pPr>
          </a:lstStyle>
          <a:p>
            <a:pPr lvl="0"/>
            <a:r>
              <a:rPr lang="en-GB" noProof="0" dirty="0" smtClean="0"/>
              <a:t>Click to edit text</a:t>
            </a:r>
          </a:p>
        </p:txBody>
      </p:sp>
      <p:sp>
        <p:nvSpPr>
          <p:cNvPr id="22" name="Text Placeholder 13"/>
          <p:cNvSpPr>
            <a:spLocks noGrp="1"/>
          </p:cNvSpPr>
          <p:nvPr>
            <p:ph type="body" sz="quarter" idx="20" hasCustomPrompt="1"/>
          </p:nvPr>
        </p:nvSpPr>
        <p:spPr>
          <a:xfrm>
            <a:off x="971501" y="3212655"/>
            <a:ext cx="7921676" cy="576072"/>
          </a:xfrm>
          <a:prstGeom prst="rect">
            <a:avLst/>
          </a:prstGeom>
          <a:noFill/>
        </p:spPr>
        <p:txBody>
          <a:bodyPr wrap="square" lIns="0" anchor="ctr">
            <a:noAutofit/>
          </a:bodyPr>
          <a:lstStyle>
            <a:lvl1pPr marL="0" indent="0" fontAlgn="auto">
              <a:buNone/>
              <a:defRPr/>
            </a:lvl1pPr>
            <a:lvl2pPr fontAlgn="auto">
              <a:defRPr/>
            </a:lvl2pPr>
            <a:lvl3pPr fontAlgn="auto">
              <a:defRPr/>
            </a:lvl3pPr>
            <a:lvl4pPr fontAlgn="auto">
              <a:defRPr/>
            </a:lvl4pPr>
            <a:lvl5pPr fontAlgn="auto">
              <a:defRPr/>
            </a:lvl5pPr>
          </a:lstStyle>
          <a:p>
            <a:pPr lvl="0"/>
            <a:r>
              <a:rPr lang="en-GB" noProof="0" dirty="0" smtClean="0"/>
              <a:t>Click to edit text</a:t>
            </a:r>
          </a:p>
        </p:txBody>
      </p:sp>
      <p:sp>
        <p:nvSpPr>
          <p:cNvPr id="23" name="Text Placeholder 14"/>
          <p:cNvSpPr>
            <a:spLocks noGrp="1"/>
          </p:cNvSpPr>
          <p:nvPr>
            <p:ph type="body" sz="quarter" idx="21" hasCustomPrompt="1"/>
          </p:nvPr>
        </p:nvSpPr>
        <p:spPr>
          <a:xfrm>
            <a:off x="971501" y="3860736"/>
            <a:ext cx="7921676" cy="576072"/>
          </a:xfrm>
          <a:prstGeom prst="rect">
            <a:avLst/>
          </a:prstGeom>
          <a:noFill/>
        </p:spPr>
        <p:txBody>
          <a:bodyPr wrap="square" lIns="0" anchor="ctr">
            <a:noAutofit/>
          </a:bodyPr>
          <a:lstStyle>
            <a:lvl1pPr marL="0" indent="0" fontAlgn="auto">
              <a:buNone/>
              <a:defRPr/>
            </a:lvl1pPr>
            <a:lvl2pPr fontAlgn="auto">
              <a:defRPr/>
            </a:lvl2pPr>
            <a:lvl3pPr fontAlgn="auto">
              <a:defRPr/>
            </a:lvl3pPr>
            <a:lvl4pPr fontAlgn="auto">
              <a:defRPr/>
            </a:lvl4pPr>
            <a:lvl5pPr fontAlgn="auto">
              <a:defRPr/>
            </a:lvl5pPr>
          </a:lstStyle>
          <a:p>
            <a:pPr lvl="0"/>
            <a:r>
              <a:rPr lang="en-GB" noProof="0" dirty="0" smtClean="0"/>
              <a:t>Click to edit text</a:t>
            </a:r>
          </a:p>
        </p:txBody>
      </p:sp>
      <p:sp>
        <p:nvSpPr>
          <p:cNvPr id="24" name="Text Placeholder 15"/>
          <p:cNvSpPr>
            <a:spLocks noGrp="1"/>
          </p:cNvSpPr>
          <p:nvPr>
            <p:ph type="body" sz="quarter" idx="22" hasCustomPrompt="1"/>
          </p:nvPr>
        </p:nvSpPr>
        <p:spPr>
          <a:xfrm>
            <a:off x="971501" y="4508817"/>
            <a:ext cx="7921676" cy="576072"/>
          </a:xfrm>
          <a:prstGeom prst="rect">
            <a:avLst/>
          </a:prstGeom>
          <a:noFill/>
        </p:spPr>
        <p:txBody>
          <a:bodyPr wrap="square" lIns="0" anchor="ctr">
            <a:noAutofit/>
          </a:bodyPr>
          <a:lstStyle>
            <a:lvl1pPr marL="0" indent="0" fontAlgn="auto">
              <a:buNone/>
              <a:defRPr/>
            </a:lvl1pPr>
            <a:lvl2pPr fontAlgn="auto">
              <a:defRPr/>
            </a:lvl2pPr>
            <a:lvl3pPr fontAlgn="auto">
              <a:defRPr/>
            </a:lvl3pPr>
            <a:lvl4pPr fontAlgn="auto">
              <a:defRPr/>
            </a:lvl4pPr>
            <a:lvl5pPr fontAlgn="auto">
              <a:defRPr/>
            </a:lvl5pPr>
          </a:lstStyle>
          <a:p>
            <a:pPr lvl="0"/>
            <a:r>
              <a:rPr lang="en-GB" noProof="0" dirty="0" smtClean="0"/>
              <a:t>Click to edit text</a:t>
            </a:r>
          </a:p>
        </p:txBody>
      </p:sp>
      <p:sp>
        <p:nvSpPr>
          <p:cNvPr id="28" name="Text Placeholder 16"/>
          <p:cNvSpPr>
            <a:spLocks noGrp="1"/>
          </p:cNvSpPr>
          <p:nvPr>
            <p:ph type="body" sz="quarter" idx="23" hasCustomPrompt="1"/>
          </p:nvPr>
        </p:nvSpPr>
        <p:spPr>
          <a:xfrm>
            <a:off x="971501" y="5156898"/>
            <a:ext cx="7921676" cy="576072"/>
          </a:xfrm>
          <a:prstGeom prst="rect">
            <a:avLst/>
          </a:prstGeom>
          <a:noFill/>
        </p:spPr>
        <p:txBody>
          <a:bodyPr wrap="square" lIns="0" anchor="ctr">
            <a:noAutofit/>
          </a:bodyPr>
          <a:lstStyle>
            <a:lvl1pPr marL="0" indent="0" fontAlgn="auto">
              <a:buNone/>
              <a:defRPr/>
            </a:lvl1pPr>
            <a:lvl2pPr fontAlgn="auto">
              <a:defRPr/>
            </a:lvl2pPr>
            <a:lvl3pPr fontAlgn="auto">
              <a:defRPr/>
            </a:lvl3pPr>
            <a:lvl4pPr fontAlgn="auto">
              <a:defRPr/>
            </a:lvl4pPr>
            <a:lvl5pPr fontAlgn="auto">
              <a:defRPr/>
            </a:lvl5pPr>
          </a:lstStyle>
          <a:p>
            <a:pPr lvl="0"/>
            <a:r>
              <a:rPr lang="en-GB" noProof="0" dirty="0" smtClean="0"/>
              <a:t>Click to edit text</a:t>
            </a:r>
          </a:p>
        </p:txBody>
      </p:sp>
      <p:sp>
        <p:nvSpPr>
          <p:cNvPr id="29" name="Text Placeholder 17"/>
          <p:cNvSpPr>
            <a:spLocks noGrp="1"/>
          </p:cNvSpPr>
          <p:nvPr>
            <p:ph type="body" sz="quarter" idx="24" hasCustomPrompt="1"/>
          </p:nvPr>
        </p:nvSpPr>
        <p:spPr>
          <a:xfrm>
            <a:off x="971501" y="5804979"/>
            <a:ext cx="7921676" cy="576072"/>
          </a:xfrm>
          <a:prstGeom prst="rect">
            <a:avLst/>
          </a:prstGeom>
          <a:noFill/>
        </p:spPr>
        <p:txBody>
          <a:bodyPr wrap="square" lIns="0" anchor="ctr">
            <a:noAutofit/>
          </a:bodyPr>
          <a:lstStyle>
            <a:lvl1pPr marL="0" indent="0" fontAlgn="auto">
              <a:buNone/>
              <a:defRPr/>
            </a:lvl1pPr>
            <a:lvl2pPr fontAlgn="auto">
              <a:defRPr/>
            </a:lvl2pPr>
            <a:lvl3pPr fontAlgn="auto">
              <a:defRPr/>
            </a:lvl3pPr>
            <a:lvl4pPr fontAlgn="auto">
              <a:defRPr/>
            </a:lvl4pPr>
            <a:lvl5pPr fontAlgn="auto">
              <a:defRPr/>
            </a:lvl5pPr>
          </a:lstStyle>
          <a:p>
            <a:pPr lvl="0"/>
            <a:r>
              <a:rPr lang="en-GB" noProof="0" dirty="0" smtClean="0"/>
              <a:t>Click to edit text</a:t>
            </a:r>
          </a:p>
        </p:txBody>
      </p:sp>
      <p:sp>
        <p:nvSpPr>
          <p:cNvPr id="30" name="Text Placeholder 10"/>
          <p:cNvSpPr>
            <a:spLocks noGrp="1"/>
          </p:cNvSpPr>
          <p:nvPr>
            <p:ph type="body" idx="28" hasCustomPrompt="1"/>
          </p:nvPr>
        </p:nvSpPr>
        <p:spPr>
          <a:xfrm>
            <a:off x="250825" y="1268412"/>
            <a:ext cx="576000" cy="576072"/>
          </a:xfrm>
          <a:prstGeom prst="ellipse">
            <a:avLst/>
          </a:prstGeom>
          <a:solidFill>
            <a:schemeClr val="accent4"/>
          </a:solidFill>
        </p:spPr>
        <p:txBody>
          <a:bodyPr wrap="square" lIns="0" anchor="ctr">
            <a:noAutofit/>
          </a:bodyPr>
          <a:lstStyle>
            <a:lvl1pPr marL="0" indent="0" algn="ctr" fontAlgn="auto">
              <a:buNone/>
              <a:defRPr>
                <a:solidFill>
                  <a:schemeClr val="bg1"/>
                </a:solidFill>
              </a:defRPr>
            </a:lvl1pPr>
            <a:lvl2pPr fontAlgn="auto">
              <a:defRPr/>
            </a:lvl2pPr>
            <a:lvl3pPr fontAlgn="auto">
              <a:defRPr/>
            </a:lvl3pPr>
            <a:lvl4pPr fontAlgn="auto">
              <a:defRPr/>
            </a:lvl4pPr>
            <a:lvl5pPr fontAlgn="auto">
              <a:defRPr/>
            </a:lvl5pPr>
          </a:lstStyle>
          <a:p>
            <a:pPr lvl="0"/>
            <a:r>
              <a:rPr lang="en-GB" dirty="0" err="1" smtClean="0"/>
              <a:t>Nr</a:t>
            </a:r>
            <a:r>
              <a:rPr lang="en-GB" dirty="0" smtClean="0"/>
              <a:t>.</a:t>
            </a:r>
          </a:p>
        </p:txBody>
      </p:sp>
      <p:sp>
        <p:nvSpPr>
          <p:cNvPr id="31" name="Text Placeholder 10"/>
          <p:cNvSpPr>
            <a:spLocks noGrp="1"/>
          </p:cNvSpPr>
          <p:nvPr>
            <p:ph type="body" idx="29" hasCustomPrompt="1"/>
          </p:nvPr>
        </p:nvSpPr>
        <p:spPr>
          <a:xfrm>
            <a:off x="250825" y="1916593"/>
            <a:ext cx="576000" cy="576072"/>
          </a:xfrm>
          <a:prstGeom prst="ellipse">
            <a:avLst/>
          </a:prstGeom>
          <a:solidFill>
            <a:schemeClr val="accent4"/>
          </a:solidFill>
        </p:spPr>
        <p:txBody>
          <a:bodyPr wrap="square" lIns="0" anchor="ctr">
            <a:noAutofit/>
          </a:bodyPr>
          <a:lstStyle>
            <a:lvl1pPr marL="0" indent="0" algn="ctr" fontAlgn="auto">
              <a:buNone/>
              <a:defRPr>
                <a:solidFill>
                  <a:schemeClr val="bg1"/>
                </a:solidFill>
              </a:defRPr>
            </a:lvl1pPr>
            <a:lvl2pPr fontAlgn="auto">
              <a:defRPr/>
            </a:lvl2pPr>
            <a:lvl3pPr fontAlgn="auto">
              <a:defRPr/>
            </a:lvl3pPr>
            <a:lvl4pPr fontAlgn="auto">
              <a:defRPr/>
            </a:lvl4pPr>
            <a:lvl5pPr fontAlgn="auto">
              <a:defRPr/>
            </a:lvl5pPr>
          </a:lstStyle>
          <a:p>
            <a:pPr lvl="0"/>
            <a:r>
              <a:rPr lang="en-GB" dirty="0" err="1" smtClean="0"/>
              <a:t>Nr</a:t>
            </a:r>
            <a:r>
              <a:rPr lang="en-GB" dirty="0" smtClean="0"/>
              <a:t>.</a:t>
            </a:r>
          </a:p>
        </p:txBody>
      </p:sp>
      <p:sp>
        <p:nvSpPr>
          <p:cNvPr id="32" name="Text Placeholder 10"/>
          <p:cNvSpPr>
            <a:spLocks noGrp="1"/>
          </p:cNvSpPr>
          <p:nvPr>
            <p:ph type="body" idx="30" hasCustomPrompt="1"/>
          </p:nvPr>
        </p:nvSpPr>
        <p:spPr>
          <a:xfrm>
            <a:off x="250825" y="2564774"/>
            <a:ext cx="576000" cy="576072"/>
          </a:xfrm>
          <a:prstGeom prst="ellipse">
            <a:avLst/>
          </a:prstGeom>
          <a:solidFill>
            <a:schemeClr val="accent4"/>
          </a:solidFill>
        </p:spPr>
        <p:txBody>
          <a:bodyPr wrap="square" lIns="0" anchor="ctr">
            <a:noAutofit/>
          </a:bodyPr>
          <a:lstStyle>
            <a:lvl1pPr marL="0" indent="0" algn="ctr" fontAlgn="auto">
              <a:buNone/>
              <a:defRPr>
                <a:solidFill>
                  <a:schemeClr val="bg1"/>
                </a:solidFill>
              </a:defRPr>
            </a:lvl1pPr>
            <a:lvl2pPr fontAlgn="auto">
              <a:defRPr/>
            </a:lvl2pPr>
            <a:lvl3pPr fontAlgn="auto">
              <a:defRPr/>
            </a:lvl3pPr>
            <a:lvl4pPr fontAlgn="auto">
              <a:defRPr/>
            </a:lvl4pPr>
            <a:lvl5pPr fontAlgn="auto">
              <a:defRPr/>
            </a:lvl5pPr>
          </a:lstStyle>
          <a:p>
            <a:pPr lvl="0"/>
            <a:r>
              <a:rPr lang="en-GB" dirty="0" err="1" smtClean="0"/>
              <a:t>Nr</a:t>
            </a:r>
            <a:r>
              <a:rPr lang="en-GB" dirty="0" smtClean="0"/>
              <a:t>.</a:t>
            </a:r>
          </a:p>
        </p:txBody>
      </p:sp>
      <p:sp>
        <p:nvSpPr>
          <p:cNvPr id="33" name="Text Placeholder 10"/>
          <p:cNvSpPr>
            <a:spLocks noGrp="1"/>
          </p:cNvSpPr>
          <p:nvPr>
            <p:ph type="body" idx="31" hasCustomPrompt="1"/>
          </p:nvPr>
        </p:nvSpPr>
        <p:spPr>
          <a:xfrm>
            <a:off x="250825" y="3212955"/>
            <a:ext cx="576000" cy="576072"/>
          </a:xfrm>
          <a:prstGeom prst="ellipse">
            <a:avLst/>
          </a:prstGeom>
          <a:solidFill>
            <a:schemeClr val="accent4"/>
          </a:solidFill>
        </p:spPr>
        <p:txBody>
          <a:bodyPr wrap="square" lIns="0" anchor="ctr">
            <a:noAutofit/>
          </a:bodyPr>
          <a:lstStyle>
            <a:lvl1pPr marL="0" indent="0" algn="ctr" fontAlgn="auto">
              <a:buNone/>
              <a:defRPr>
                <a:solidFill>
                  <a:schemeClr val="bg1"/>
                </a:solidFill>
              </a:defRPr>
            </a:lvl1pPr>
            <a:lvl2pPr fontAlgn="auto">
              <a:defRPr/>
            </a:lvl2pPr>
            <a:lvl3pPr fontAlgn="auto">
              <a:defRPr/>
            </a:lvl3pPr>
            <a:lvl4pPr fontAlgn="auto">
              <a:defRPr/>
            </a:lvl4pPr>
            <a:lvl5pPr fontAlgn="auto">
              <a:defRPr/>
            </a:lvl5pPr>
          </a:lstStyle>
          <a:p>
            <a:pPr lvl="0"/>
            <a:r>
              <a:rPr lang="en-GB" dirty="0" err="1" smtClean="0"/>
              <a:t>Nr</a:t>
            </a:r>
            <a:r>
              <a:rPr lang="en-GB" dirty="0" smtClean="0"/>
              <a:t>.</a:t>
            </a:r>
          </a:p>
        </p:txBody>
      </p:sp>
      <p:sp>
        <p:nvSpPr>
          <p:cNvPr id="34" name="Text Placeholder 10"/>
          <p:cNvSpPr>
            <a:spLocks noGrp="1"/>
          </p:cNvSpPr>
          <p:nvPr>
            <p:ph type="body" idx="32" hasCustomPrompt="1"/>
          </p:nvPr>
        </p:nvSpPr>
        <p:spPr>
          <a:xfrm>
            <a:off x="250825" y="3861136"/>
            <a:ext cx="576000" cy="576072"/>
          </a:xfrm>
          <a:prstGeom prst="ellipse">
            <a:avLst/>
          </a:prstGeom>
          <a:solidFill>
            <a:schemeClr val="accent4"/>
          </a:solidFill>
        </p:spPr>
        <p:txBody>
          <a:bodyPr wrap="square" lIns="0" anchor="ctr">
            <a:noAutofit/>
          </a:bodyPr>
          <a:lstStyle>
            <a:lvl1pPr marL="0" indent="0" algn="ctr" fontAlgn="auto">
              <a:buNone/>
              <a:defRPr>
                <a:solidFill>
                  <a:schemeClr val="bg1"/>
                </a:solidFill>
              </a:defRPr>
            </a:lvl1pPr>
            <a:lvl2pPr fontAlgn="auto">
              <a:defRPr/>
            </a:lvl2pPr>
            <a:lvl3pPr fontAlgn="auto">
              <a:defRPr/>
            </a:lvl3pPr>
            <a:lvl4pPr fontAlgn="auto">
              <a:defRPr/>
            </a:lvl4pPr>
            <a:lvl5pPr fontAlgn="auto">
              <a:defRPr/>
            </a:lvl5pPr>
          </a:lstStyle>
          <a:p>
            <a:pPr lvl="0"/>
            <a:r>
              <a:rPr lang="en-GB" dirty="0" err="1" smtClean="0"/>
              <a:t>Nr</a:t>
            </a:r>
            <a:r>
              <a:rPr lang="en-GB" dirty="0" smtClean="0"/>
              <a:t>.</a:t>
            </a:r>
          </a:p>
        </p:txBody>
      </p:sp>
      <p:sp>
        <p:nvSpPr>
          <p:cNvPr id="35" name="Text Placeholder 10"/>
          <p:cNvSpPr>
            <a:spLocks noGrp="1"/>
          </p:cNvSpPr>
          <p:nvPr>
            <p:ph type="body" idx="33" hasCustomPrompt="1"/>
          </p:nvPr>
        </p:nvSpPr>
        <p:spPr>
          <a:xfrm>
            <a:off x="250825" y="4509317"/>
            <a:ext cx="576000" cy="576072"/>
          </a:xfrm>
          <a:prstGeom prst="ellipse">
            <a:avLst/>
          </a:prstGeom>
          <a:solidFill>
            <a:schemeClr val="accent4"/>
          </a:solidFill>
        </p:spPr>
        <p:txBody>
          <a:bodyPr wrap="square" lIns="0" anchor="ctr">
            <a:noAutofit/>
          </a:bodyPr>
          <a:lstStyle>
            <a:lvl1pPr marL="0" indent="0" algn="ctr" fontAlgn="auto">
              <a:buNone/>
              <a:defRPr>
                <a:solidFill>
                  <a:schemeClr val="bg1"/>
                </a:solidFill>
              </a:defRPr>
            </a:lvl1pPr>
            <a:lvl2pPr fontAlgn="auto">
              <a:defRPr/>
            </a:lvl2pPr>
            <a:lvl3pPr fontAlgn="auto">
              <a:defRPr/>
            </a:lvl3pPr>
            <a:lvl4pPr fontAlgn="auto">
              <a:defRPr/>
            </a:lvl4pPr>
            <a:lvl5pPr fontAlgn="auto">
              <a:defRPr/>
            </a:lvl5pPr>
          </a:lstStyle>
          <a:p>
            <a:pPr lvl="0"/>
            <a:r>
              <a:rPr lang="en-GB" dirty="0" err="1" smtClean="0"/>
              <a:t>Nr</a:t>
            </a:r>
            <a:r>
              <a:rPr lang="en-GB" dirty="0" smtClean="0"/>
              <a:t>.</a:t>
            </a:r>
          </a:p>
        </p:txBody>
      </p:sp>
      <p:sp>
        <p:nvSpPr>
          <p:cNvPr id="36" name="Text Placeholder 10"/>
          <p:cNvSpPr>
            <a:spLocks noGrp="1"/>
          </p:cNvSpPr>
          <p:nvPr>
            <p:ph type="body" idx="34" hasCustomPrompt="1"/>
          </p:nvPr>
        </p:nvSpPr>
        <p:spPr>
          <a:xfrm>
            <a:off x="250825" y="5157498"/>
            <a:ext cx="576000" cy="576072"/>
          </a:xfrm>
          <a:prstGeom prst="ellipse">
            <a:avLst/>
          </a:prstGeom>
          <a:solidFill>
            <a:schemeClr val="accent4"/>
          </a:solidFill>
        </p:spPr>
        <p:txBody>
          <a:bodyPr wrap="square" lIns="0" anchor="ctr">
            <a:noAutofit/>
          </a:bodyPr>
          <a:lstStyle>
            <a:lvl1pPr marL="0" indent="0" algn="ctr" fontAlgn="auto">
              <a:buNone/>
              <a:defRPr>
                <a:solidFill>
                  <a:schemeClr val="bg1"/>
                </a:solidFill>
              </a:defRPr>
            </a:lvl1pPr>
            <a:lvl2pPr fontAlgn="auto">
              <a:defRPr/>
            </a:lvl2pPr>
            <a:lvl3pPr fontAlgn="auto">
              <a:defRPr/>
            </a:lvl3pPr>
            <a:lvl4pPr fontAlgn="auto">
              <a:defRPr/>
            </a:lvl4pPr>
            <a:lvl5pPr fontAlgn="auto">
              <a:defRPr/>
            </a:lvl5pPr>
          </a:lstStyle>
          <a:p>
            <a:pPr lvl="0"/>
            <a:r>
              <a:rPr lang="en-GB" dirty="0" err="1" smtClean="0"/>
              <a:t>Nr</a:t>
            </a:r>
            <a:r>
              <a:rPr lang="en-GB" dirty="0" smtClean="0"/>
              <a:t>.</a:t>
            </a:r>
          </a:p>
        </p:txBody>
      </p:sp>
      <p:sp>
        <p:nvSpPr>
          <p:cNvPr id="37" name="Text Placeholder 10"/>
          <p:cNvSpPr>
            <a:spLocks noGrp="1"/>
          </p:cNvSpPr>
          <p:nvPr>
            <p:ph type="body" idx="35" hasCustomPrompt="1"/>
          </p:nvPr>
        </p:nvSpPr>
        <p:spPr>
          <a:xfrm>
            <a:off x="250825" y="5805678"/>
            <a:ext cx="576000" cy="576072"/>
          </a:xfrm>
          <a:prstGeom prst="ellipse">
            <a:avLst/>
          </a:prstGeom>
          <a:solidFill>
            <a:schemeClr val="accent4"/>
          </a:solidFill>
        </p:spPr>
        <p:txBody>
          <a:bodyPr wrap="square" lIns="0" anchor="ctr">
            <a:noAutofit/>
          </a:bodyPr>
          <a:lstStyle>
            <a:lvl1pPr marL="0" indent="0" algn="ctr" fontAlgn="auto">
              <a:buNone/>
              <a:defRPr>
                <a:solidFill>
                  <a:schemeClr val="bg1"/>
                </a:solidFill>
              </a:defRPr>
            </a:lvl1pPr>
            <a:lvl2pPr fontAlgn="auto">
              <a:defRPr/>
            </a:lvl2pPr>
            <a:lvl3pPr fontAlgn="auto">
              <a:defRPr/>
            </a:lvl3pPr>
            <a:lvl4pPr fontAlgn="auto">
              <a:defRPr/>
            </a:lvl4pPr>
            <a:lvl5pPr fontAlgn="auto">
              <a:defRPr/>
            </a:lvl5pPr>
          </a:lstStyle>
          <a:p>
            <a:pPr lvl="0"/>
            <a:r>
              <a:rPr lang="en-GB" dirty="0" err="1" smtClean="0"/>
              <a:t>Nr</a:t>
            </a:r>
            <a:r>
              <a:rPr lang="en-GB" dirty="0" smtClean="0"/>
              <a:t>.</a:t>
            </a:r>
          </a:p>
        </p:txBody>
      </p:sp>
      <p:sp>
        <p:nvSpPr>
          <p:cNvPr id="3" name="Datumsplatzhalter 2"/>
          <p:cNvSpPr>
            <a:spLocks noGrp="1"/>
          </p:cNvSpPr>
          <p:nvPr>
            <p:ph type="dt" sz="half" idx="36"/>
          </p:nvPr>
        </p:nvSpPr>
        <p:spPr/>
        <p:txBody>
          <a:bodyPr/>
          <a:lstStyle/>
          <a:p>
            <a:r>
              <a:rPr lang="en-GB" dirty="0" smtClean="0"/>
              <a:t>set date</a:t>
            </a:r>
            <a:endParaRPr lang="en-GB" dirty="0"/>
          </a:p>
        </p:txBody>
      </p:sp>
      <p:sp>
        <p:nvSpPr>
          <p:cNvPr id="4" name="Fußzeilenplatzhalter 3"/>
          <p:cNvSpPr>
            <a:spLocks noGrp="1"/>
          </p:cNvSpPr>
          <p:nvPr>
            <p:ph type="ftr" sz="quarter" idx="37"/>
          </p:nvPr>
        </p:nvSpPr>
        <p:spPr/>
        <p:txBody>
          <a:bodyPr/>
          <a:lstStyle/>
          <a:p>
            <a:r>
              <a:rPr lang="en-GB" dirty="0" smtClean="0"/>
              <a:t>Copyright © Infineon Technologies AG 2015. All rights reserved.</a:t>
            </a:r>
            <a:endParaRPr lang="en-GB" dirty="0"/>
          </a:p>
        </p:txBody>
      </p:sp>
      <p:sp>
        <p:nvSpPr>
          <p:cNvPr id="5" name="Foliennummernplatzhalter 4"/>
          <p:cNvSpPr>
            <a:spLocks noGrp="1"/>
          </p:cNvSpPr>
          <p:nvPr>
            <p:ph type="sldNum" sz="quarter" idx="38"/>
          </p:nvPr>
        </p:nvSpPr>
        <p:spPr/>
        <p:txBody>
          <a:bodyPr/>
          <a:lstStyle/>
          <a:p>
            <a:r>
              <a:rPr lang="en-GB" dirty="0" smtClean="0"/>
              <a:t> </a:t>
            </a:r>
            <a:fld id="{DC8B3668-E1AB-4560-B66B-CD4643A23BF9}" type="slidenum">
              <a:rPr lang="en-GB" smtClean="0"/>
              <a:pPr/>
              <a:t>‹#›</a:t>
            </a:fld>
            <a:endParaRPr lang="en-GB" dirty="0"/>
          </a:p>
        </p:txBody>
      </p:sp>
    </p:spTree>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FX_Title and 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7" name="Content Placeholder 6"/>
          <p:cNvSpPr>
            <a:spLocks noGrp="1"/>
          </p:cNvSpPr>
          <p:nvPr>
            <p:ph sz="quarter" idx="13" hasCustomPrompt="1"/>
          </p:nvPr>
        </p:nvSpPr>
        <p:spPr>
          <a:xfrm>
            <a:off x="250825" y="1268413"/>
            <a:ext cx="4248472" cy="5113337"/>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9" name="Content Placeholder 8"/>
          <p:cNvSpPr>
            <a:spLocks noGrp="1"/>
          </p:cNvSpPr>
          <p:nvPr>
            <p:ph sz="quarter" idx="14" hasCustomPrompt="1"/>
          </p:nvPr>
        </p:nvSpPr>
        <p:spPr>
          <a:xfrm>
            <a:off x="4643438" y="1268413"/>
            <a:ext cx="4249042" cy="5113337"/>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1"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12"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3"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FX_Section">
    <p:bg>
      <p:bgRef idx="1001">
        <a:schemeClr val="bg1"/>
      </p:bgRef>
    </p:bg>
    <p:spTree>
      <p:nvGrpSpPr>
        <p:cNvPr id="1" name=""/>
        <p:cNvGrpSpPr/>
        <p:nvPr/>
      </p:nvGrpSpPr>
      <p:grpSpPr>
        <a:xfrm>
          <a:off x="0" y="0"/>
          <a:ext cx="0" cy="0"/>
          <a:chOff x="0" y="0"/>
          <a:chExt cx="0" cy="0"/>
        </a:xfrm>
      </p:grpSpPr>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9143998" cy="6857999"/>
          </a:xfrm>
          <a:prstGeom prst="rect">
            <a:avLst/>
          </a:prstGeom>
        </p:spPr>
      </p:pic>
      <p:sp>
        <p:nvSpPr>
          <p:cNvPr id="11" name="Text Placeholder 6"/>
          <p:cNvSpPr>
            <a:spLocks noGrp="1"/>
          </p:cNvSpPr>
          <p:nvPr>
            <p:ph type="body" sz="quarter" idx="13" hasCustomPrompt="1"/>
          </p:nvPr>
        </p:nvSpPr>
        <p:spPr>
          <a:xfrm>
            <a:off x="251519" y="1268413"/>
            <a:ext cx="7128769" cy="2447925"/>
          </a:xfrm>
          <a:prstGeom prst="rect">
            <a:avLst/>
          </a:prstGeom>
        </p:spPr>
        <p:txBody>
          <a:bodyPr anchor="b">
            <a:normAutofit/>
          </a:bodyPr>
          <a:lstStyle>
            <a:lvl1pPr>
              <a:buNone/>
              <a:defRPr sz="4800"/>
            </a:lvl1pPr>
          </a:lstStyle>
          <a:p>
            <a:pPr lvl="0"/>
            <a:r>
              <a:rPr lang="en-GB" dirty="0" smtClean="0"/>
              <a:t>Click to enter Section</a:t>
            </a:r>
            <a:endParaRPr lang="en-GB" dirty="0"/>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FX_Title and 4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7" name="Content Placeholder 6"/>
          <p:cNvSpPr>
            <a:spLocks noGrp="1"/>
          </p:cNvSpPr>
          <p:nvPr>
            <p:ph sz="quarter" idx="13" hasCustomPrompt="1"/>
          </p:nvPr>
        </p:nvSpPr>
        <p:spPr>
          <a:xfrm>
            <a:off x="250825" y="1268412"/>
            <a:ext cx="4248472" cy="231663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9" name="Content Placeholder 8"/>
          <p:cNvSpPr>
            <a:spLocks noGrp="1"/>
          </p:cNvSpPr>
          <p:nvPr>
            <p:ph sz="quarter" idx="14" hasCustomPrompt="1"/>
          </p:nvPr>
        </p:nvSpPr>
        <p:spPr>
          <a:xfrm>
            <a:off x="4643438" y="1268413"/>
            <a:ext cx="4249042" cy="2316630"/>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1" name="Content Placeholder 10"/>
          <p:cNvSpPr>
            <a:spLocks noGrp="1"/>
          </p:cNvSpPr>
          <p:nvPr>
            <p:ph sz="quarter" idx="15" hasCustomPrompt="1"/>
          </p:nvPr>
        </p:nvSpPr>
        <p:spPr>
          <a:xfrm>
            <a:off x="250825" y="3860799"/>
            <a:ext cx="4248472" cy="252095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3" name="Content Placeholder 12"/>
          <p:cNvSpPr>
            <a:spLocks noGrp="1"/>
          </p:cNvSpPr>
          <p:nvPr>
            <p:ph sz="quarter" idx="16" hasCustomPrompt="1"/>
          </p:nvPr>
        </p:nvSpPr>
        <p:spPr>
          <a:xfrm>
            <a:off x="4643438" y="3860800"/>
            <a:ext cx="4249042" cy="2520950"/>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4"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15"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6"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FX_Row and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7" name="Content Placeholder 6"/>
          <p:cNvSpPr>
            <a:spLocks noGrp="1"/>
          </p:cNvSpPr>
          <p:nvPr>
            <p:ph sz="quarter" idx="13" hasCustomPrompt="1"/>
          </p:nvPr>
        </p:nvSpPr>
        <p:spPr>
          <a:xfrm>
            <a:off x="250824" y="1268412"/>
            <a:ext cx="8641655" cy="231663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9" name="Content Placeholder 8"/>
          <p:cNvSpPr>
            <a:spLocks noGrp="1"/>
          </p:cNvSpPr>
          <p:nvPr>
            <p:ph sz="quarter" idx="14" hasCustomPrompt="1"/>
          </p:nvPr>
        </p:nvSpPr>
        <p:spPr>
          <a:xfrm>
            <a:off x="250825" y="3860799"/>
            <a:ext cx="4248472" cy="2520951"/>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1" name="Content Placeholder 10"/>
          <p:cNvSpPr>
            <a:spLocks noGrp="1"/>
          </p:cNvSpPr>
          <p:nvPr>
            <p:ph sz="quarter" idx="15" hasCustomPrompt="1"/>
          </p:nvPr>
        </p:nvSpPr>
        <p:spPr>
          <a:xfrm>
            <a:off x="4643437" y="3860800"/>
            <a:ext cx="4249041" cy="2520950"/>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3"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14"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5"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FX_Row, Two Columns, R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520" y="188720"/>
            <a:ext cx="7223760" cy="720000"/>
          </a:xfrm>
          <a:prstGeom prst="rect">
            <a:avLst/>
          </a:prstGeom>
        </p:spPr>
        <p:txBody>
          <a:bodyPr/>
          <a:lstStyle/>
          <a:p>
            <a:r>
              <a:rPr lang="en-GB" dirty="0" smtClean="0"/>
              <a:t>Click to edit title</a:t>
            </a:r>
            <a:endParaRPr lang="en-GB" dirty="0"/>
          </a:p>
        </p:txBody>
      </p:sp>
      <p:sp>
        <p:nvSpPr>
          <p:cNvPr id="7" name="Content Placeholder 6"/>
          <p:cNvSpPr>
            <a:spLocks noGrp="1"/>
          </p:cNvSpPr>
          <p:nvPr>
            <p:ph sz="quarter" idx="13" hasCustomPrompt="1"/>
          </p:nvPr>
        </p:nvSpPr>
        <p:spPr>
          <a:xfrm>
            <a:off x="250825" y="1268414"/>
            <a:ext cx="8640960" cy="1232666"/>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p:txBody>
      </p:sp>
      <p:sp>
        <p:nvSpPr>
          <p:cNvPr id="9" name="Content Placeholder 8"/>
          <p:cNvSpPr>
            <a:spLocks noGrp="1"/>
          </p:cNvSpPr>
          <p:nvPr>
            <p:ph sz="quarter" idx="14" hasCustomPrompt="1"/>
          </p:nvPr>
        </p:nvSpPr>
        <p:spPr>
          <a:xfrm>
            <a:off x="250825" y="2780930"/>
            <a:ext cx="4248472" cy="1945820"/>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1" name="Content Placeholder 10"/>
          <p:cNvSpPr>
            <a:spLocks noGrp="1"/>
          </p:cNvSpPr>
          <p:nvPr>
            <p:ph sz="quarter" idx="15" hasCustomPrompt="1"/>
          </p:nvPr>
        </p:nvSpPr>
        <p:spPr>
          <a:xfrm>
            <a:off x="4643438" y="2780930"/>
            <a:ext cx="4248472" cy="1945820"/>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3" name="Content Placeholder 12"/>
          <p:cNvSpPr>
            <a:spLocks noGrp="1"/>
          </p:cNvSpPr>
          <p:nvPr>
            <p:ph sz="quarter" idx="16" hasCustomPrompt="1"/>
          </p:nvPr>
        </p:nvSpPr>
        <p:spPr>
          <a:xfrm>
            <a:off x="250825" y="5085185"/>
            <a:ext cx="8640960" cy="1296566"/>
          </a:xfrm>
          <a:prstGeom prst="rect">
            <a:avLst/>
          </a:prstGeom>
        </p:spPr>
        <p:txBody>
          <a:bodyPr/>
          <a:lstStyle/>
          <a:p>
            <a:pPr lvl="0"/>
            <a:r>
              <a:rPr lang="en-GB" noProof="0" dirty="0" smtClean="0"/>
              <a:t>Click to edit text</a:t>
            </a:r>
          </a:p>
          <a:p>
            <a:pPr lvl="1"/>
            <a:r>
              <a:rPr lang="en-GB" noProof="0" dirty="0" smtClean="0"/>
              <a:t>Second level</a:t>
            </a:r>
          </a:p>
          <a:p>
            <a:pPr lvl="2"/>
            <a:r>
              <a:rPr lang="en-GB" noProof="0" dirty="0" smtClean="0"/>
              <a:t>Third level</a:t>
            </a:r>
          </a:p>
        </p:txBody>
      </p:sp>
      <p:sp>
        <p:nvSpPr>
          <p:cNvPr id="14"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15"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6"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Tree>
  </p:cSld>
  <p:clrMapOvr>
    <a:masterClrMapping/>
  </p:clrMapOvr>
  <p:hf hdr="0"/>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17" Type="http://schemas.openxmlformats.org/officeDocument/2006/relationships/image" Target="../media/image1.png"/><Relationship Id="rId18"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pic>
        <p:nvPicPr>
          <p:cNvPr id="10" name="Grafik 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0" y="6551308"/>
            <a:ext cx="9143959" cy="304799"/>
          </a:xfrm>
          <a:prstGeom prst="rect">
            <a:avLst/>
          </a:prstGeom>
        </p:spPr>
      </p:pic>
      <p:pic>
        <p:nvPicPr>
          <p:cNvPr id="11" name="Grafik 1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0" y="1400"/>
            <a:ext cx="9144000" cy="908304"/>
          </a:xfrm>
          <a:prstGeom prst="rect">
            <a:avLst/>
          </a:prstGeom>
        </p:spPr>
      </p:pic>
      <p:sp>
        <p:nvSpPr>
          <p:cNvPr id="12" name="Title Placeholder 8"/>
          <p:cNvSpPr>
            <a:spLocks noGrp="1"/>
          </p:cNvSpPr>
          <p:nvPr>
            <p:ph type="title"/>
          </p:nvPr>
        </p:nvSpPr>
        <p:spPr>
          <a:xfrm>
            <a:off x="251520" y="188720"/>
            <a:ext cx="7223760" cy="720000"/>
          </a:xfrm>
          <a:prstGeom prst="rect">
            <a:avLst/>
          </a:prstGeom>
        </p:spPr>
        <p:txBody>
          <a:bodyPr vert="horz" lIns="0" tIns="0" rIns="0" bIns="10800" rtlCol="0" anchor="b" anchorCtr="0">
            <a:noAutofit/>
          </a:bodyPr>
          <a:lstStyle/>
          <a:p>
            <a:r>
              <a:rPr lang="en-GB" noProof="0" dirty="0" smtClean="0"/>
              <a:t>Click to edit title</a:t>
            </a:r>
            <a:endParaRPr lang="en-GB" noProof="0" dirty="0"/>
          </a:p>
        </p:txBody>
      </p:sp>
      <p:sp>
        <p:nvSpPr>
          <p:cNvPr id="14" name="Datumsplatzhalter 2"/>
          <p:cNvSpPr>
            <a:spLocks noGrp="1"/>
          </p:cNvSpPr>
          <p:nvPr>
            <p:ph type="dt" sz="half" idx="2"/>
          </p:nvPr>
        </p:nvSpPr>
        <p:spPr>
          <a:xfrm>
            <a:off x="250824" y="6553200"/>
            <a:ext cx="288036" cy="304800"/>
          </a:xfrm>
          <a:prstGeom prst="rect">
            <a:avLst/>
          </a:prstGeom>
        </p:spPr>
        <p:txBody>
          <a:bodyPr vert="horz" wrap="none" lIns="0" tIns="0" rIns="0" bIns="0" rtlCol="0" anchor="ctr" anchorCtr="0">
            <a:noAutofit/>
          </a:bodyPr>
          <a:lstStyle>
            <a:lvl1pPr algn="l" fontAlgn="t">
              <a:buClr>
                <a:schemeClr val="accent4"/>
              </a:buClr>
              <a:defRPr sz="800" b="0">
                <a:solidFill>
                  <a:schemeClr val="accent2"/>
                </a:solidFill>
                <a:latin typeface="Verdana"/>
              </a:defRPr>
            </a:lvl1pPr>
          </a:lstStyle>
          <a:p>
            <a:r>
              <a:rPr lang="en-GB" dirty="0" smtClean="0"/>
              <a:t>set date</a:t>
            </a:r>
            <a:endParaRPr lang="en-GB" dirty="0"/>
          </a:p>
        </p:txBody>
      </p:sp>
      <p:sp>
        <p:nvSpPr>
          <p:cNvPr id="16" name="Fußzeilenplatzhalter 3"/>
          <p:cNvSpPr>
            <a:spLocks noGrp="1"/>
          </p:cNvSpPr>
          <p:nvPr>
            <p:ph type="ftr" sz="quarter" idx="3"/>
          </p:nvPr>
        </p:nvSpPr>
        <p:spPr>
          <a:xfrm>
            <a:off x="4283964" y="6553200"/>
            <a:ext cx="576072" cy="304800"/>
          </a:xfrm>
          <a:prstGeom prst="rect">
            <a:avLst/>
          </a:prstGeom>
        </p:spPr>
        <p:txBody>
          <a:bodyPr vert="horz" wrap="none" lIns="0" tIns="0" rIns="0" bIns="0" rtlCol="0" anchor="ctr" anchorCtr="0">
            <a:noAutofit/>
          </a:bodyPr>
          <a:lstStyle>
            <a:lvl1pPr algn="ctr" fontAlgn="t">
              <a:buClr>
                <a:schemeClr val="accent4"/>
              </a:buClr>
              <a:defRPr sz="800" b="0">
                <a:solidFill>
                  <a:schemeClr val="accent2"/>
                </a:solidFill>
                <a:latin typeface="Verdana"/>
              </a:defRPr>
            </a:lvl1pPr>
          </a:lstStyle>
          <a:p>
            <a:r>
              <a:rPr lang="en-GB" dirty="0" smtClean="0"/>
              <a:t>Copyright © Infineon Technologies AG 2015. All rights reserved.</a:t>
            </a:r>
            <a:endParaRPr lang="en-GB" dirty="0"/>
          </a:p>
        </p:txBody>
      </p:sp>
      <p:sp>
        <p:nvSpPr>
          <p:cNvPr id="21" name="Foliennummernplatzhalter 1"/>
          <p:cNvSpPr>
            <a:spLocks noGrp="1"/>
          </p:cNvSpPr>
          <p:nvPr>
            <p:ph type="sldNum" sz="quarter" idx="4"/>
          </p:nvPr>
        </p:nvSpPr>
        <p:spPr>
          <a:xfrm>
            <a:off x="8316520" y="6551308"/>
            <a:ext cx="288036" cy="306692"/>
          </a:xfrm>
          <a:prstGeom prst="rect">
            <a:avLst/>
          </a:prstGeom>
        </p:spPr>
        <p:txBody>
          <a:bodyPr vert="horz" wrap="none" lIns="0" tIns="0" rIns="0" bIns="0" rtlCol="0" anchor="ctr" anchorCtr="0">
            <a:noAutofit/>
          </a:bodyPr>
          <a:lstStyle>
            <a:lvl1pPr algn="r" fontAlgn="t">
              <a:buClr>
                <a:schemeClr val="accent4"/>
              </a:buClr>
              <a:defRPr sz="1600" b="0">
                <a:solidFill>
                  <a:schemeClr val="bg1"/>
                </a:solidFill>
                <a:latin typeface="Verdana"/>
              </a:defRPr>
            </a:lvl1pPr>
          </a:lstStyle>
          <a:p>
            <a:r>
              <a:rPr lang="en-GB" dirty="0" smtClean="0"/>
              <a:t> </a:t>
            </a:r>
            <a:fld id="{DC8B3668-E1AB-4560-B66B-CD4643A23BF9}" type="slidenum">
              <a:rPr lang="en-GB" smtClean="0"/>
              <a:pPr/>
              <a:t>‹#›</a:t>
            </a:fld>
            <a:endParaRPr lang="en-GB" dirty="0"/>
          </a:p>
        </p:txBody>
      </p:sp>
      <p:sp>
        <p:nvSpPr>
          <p:cNvPr id="23" name="Text Placeholder 14"/>
          <p:cNvSpPr>
            <a:spLocks noGrp="1"/>
          </p:cNvSpPr>
          <p:nvPr>
            <p:ph type="body" idx="1"/>
          </p:nvPr>
        </p:nvSpPr>
        <p:spPr>
          <a:xfrm>
            <a:off x="250824" y="1268413"/>
            <a:ext cx="8640763" cy="5113337"/>
          </a:xfrm>
          <a:prstGeom prst="rect">
            <a:avLst/>
          </a:prstGeom>
        </p:spPr>
        <p:txBody>
          <a:bodyPr vert="horz" lIns="0" tIns="0" rIns="0" bIns="0" rtlCol="0">
            <a:normAutofit/>
          </a:bodyPr>
          <a:lstStyle/>
          <a:p>
            <a:pPr lvl="0"/>
            <a:r>
              <a:rPr lang="en-GB" noProof="0" dirty="0" smtClean="0"/>
              <a:t>Click to edi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Tree>
  </p:cSld>
  <p:clrMap bg1="lt1" tx1="dk1" bg2="lt2" tx2="dk2" accent1="accent1" accent2="accent2" accent3="accent3" accent4="accent4" accent5="accent5" accent6="accent6" hlink="hlink" folHlink="folHlink"/>
  <p:sldLayoutIdLst>
    <p:sldLayoutId id="2147483716" r:id="rId1"/>
    <p:sldLayoutId id="2147483729" r:id="rId2"/>
    <p:sldLayoutId id="2147483730" r:id="rId3"/>
    <p:sldLayoutId id="2147483741" r:id="rId4"/>
    <p:sldLayoutId id="2147483731" r:id="rId5"/>
    <p:sldLayoutId id="2147483742"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Lst>
  <p:hf hdr="0"/>
  <p:txStyles>
    <p:titleStyle>
      <a:lvl1pPr algn="l" rtl="0" eaLnBrk="1" fontAlgn="base" hangingPunct="1">
        <a:spcBef>
          <a:spcPct val="0"/>
        </a:spcBef>
        <a:spcAft>
          <a:spcPct val="0"/>
        </a:spcAft>
        <a:buClr>
          <a:schemeClr val="tx1"/>
        </a:buClr>
        <a:buFontTx/>
        <a:buNone/>
        <a:defRPr sz="2400" b="0">
          <a:solidFill>
            <a:schemeClr val="tx1"/>
          </a:solidFill>
          <a:latin typeface="+mj-lt"/>
          <a:ea typeface="+mj-ea"/>
          <a:cs typeface="+mj-cs"/>
        </a:defRPr>
      </a:lvl1pPr>
      <a:lvl2pPr algn="l" rtl="0" eaLnBrk="1" fontAlgn="base" hangingPunct="1">
        <a:spcBef>
          <a:spcPct val="0"/>
        </a:spcBef>
        <a:spcAft>
          <a:spcPct val="0"/>
        </a:spcAft>
        <a:defRPr sz="2600" b="1">
          <a:solidFill>
            <a:schemeClr val="tx2"/>
          </a:solidFill>
          <a:latin typeface="Arial" charset="0"/>
        </a:defRPr>
      </a:lvl2pPr>
      <a:lvl3pPr algn="l" rtl="0" eaLnBrk="1" fontAlgn="base" hangingPunct="1">
        <a:spcBef>
          <a:spcPct val="0"/>
        </a:spcBef>
        <a:spcAft>
          <a:spcPct val="0"/>
        </a:spcAft>
        <a:defRPr sz="2600" b="1">
          <a:solidFill>
            <a:schemeClr val="tx2"/>
          </a:solidFill>
          <a:latin typeface="Arial" charset="0"/>
        </a:defRPr>
      </a:lvl3pPr>
      <a:lvl4pPr algn="l" rtl="0" eaLnBrk="1" fontAlgn="base" hangingPunct="1">
        <a:spcBef>
          <a:spcPct val="0"/>
        </a:spcBef>
        <a:spcAft>
          <a:spcPct val="0"/>
        </a:spcAft>
        <a:defRPr sz="2600" b="1">
          <a:solidFill>
            <a:schemeClr val="tx2"/>
          </a:solidFill>
          <a:latin typeface="Arial" charset="0"/>
        </a:defRPr>
      </a:lvl4pPr>
      <a:lvl5pPr algn="l" rtl="0" eaLnBrk="1" fontAlgn="base" hangingPunct="1">
        <a:spcBef>
          <a:spcPct val="0"/>
        </a:spcBef>
        <a:spcAft>
          <a:spcPct val="0"/>
        </a:spcAft>
        <a:defRPr sz="2600" b="1">
          <a:solidFill>
            <a:schemeClr val="tx2"/>
          </a:solidFill>
          <a:latin typeface="Arial" charset="0"/>
        </a:defRPr>
      </a:lvl5pPr>
      <a:lvl6pPr marL="457200" algn="l" rtl="0" eaLnBrk="1" fontAlgn="base" hangingPunct="1">
        <a:spcBef>
          <a:spcPct val="0"/>
        </a:spcBef>
        <a:spcAft>
          <a:spcPct val="0"/>
        </a:spcAft>
        <a:defRPr sz="2600" b="1">
          <a:solidFill>
            <a:schemeClr val="tx2"/>
          </a:solidFill>
          <a:latin typeface="Arial" charset="0"/>
        </a:defRPr>
      </a:lvl6pPr>
      <a:lvl7pPr marL="914400" algn="l" rtl="0" eaLnBrk="1" fontAlgn="base" hangingPunct="1">
        <a:spcBef>
          <a:spcPct val="0"/>
        </a:spcBef>
        <a:spcAft>
          <a:spcPct val="0"/>
        </a:spcAft>
        <a:defRPr sz="2600" b="1">
          <a:solidFill>
            <a:schemeClr val="tx2"/>
          </a:solidFill>
          <a:latin typeface="Arial" charset="0"/>
        </a:defRPr>
      </a:lvl7pPr>
      <a:lvl8pPr marL="1371600" algn="l" rtl="0" eaLnBrk="1" fontAlgn="base" hangingPunct="1">
        <a:spcBef>
          <a:spcPct val="0"/>
        </a:spcBef>
        <a:spcAft>
          <a:spcPct val="0"/>
        </a:spcAft>
        <a:defRPr sz="2600" b="1">
          <a:solidFill>
            <a:schemeClr val="tx2"/>
          </a:solidFill>
          <a:latin typeface="Arial" charset="0"/>
        </a:defRPr>
      </a:lvl8pPr>
      <a:lvl9pPr marL="1828800" algn="l" rtl="0" eaLnBrk="1" fontAlgn="base" hangingPunct="1">
        <a:spcBef>
          <a:spcPct val="0"/>
        </a:spcBef>
        <a:spcAft>
          <a:spcPct val="0"/>
        </a:spcAft>
        <a:defRPr sz="2600" b="1">
          <a:solidFill>
            <a:schemeClr val="tx2"/>
          </a:solidFill>
          <a:latin typeface="Arial" charset="0"/>
        </a:defRPr>
      </a:lvl9pPr>
    </p:titleStyle>
    <p:body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4" Type="http://schemas.openxmlformats.org/officeDocument/2006/relationships/image" Target="../media/image11.jpeg"/><Relationship Id="rId5" Type="http://schemas.openxmlformats.org/officeDocument/2006/relationships/chart" Target="../charts/chart4.xml"/><Relationship Id="rId6" Type="http://schemas.openxmlformats.org/officeDocument/2006/relationships/image" Target="../media/image12.jpeg"/><Relationship Id="rId7" Type="http://schemas.openxmlformats.org/officeDocument/2006/relationships/image" Target="../media/image13.jpeg"/><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image" Target="../media/image14.jpeg"/><Relationship Id="rId5" Type="http://schemas.openxmlformats.org/officeDocument/2006/relationships/image" Target="../media/image15.jpeg"/><Relationship Id="rId6" Type="http://schemas.openxmlformats.org/officeDocument/2006/relationships/image" Target="../media/image16.jpeg"/><Relationship Id="rId7" Type="http://schemas.openxmlformats.org/officeDocument/2006/relationships/image" Target="../media/image17.jpeg"/><Relationship Id="rId1" Type="http://schemas.openxmlformats.org/officeDocument/2006/relationships/tags" Target="../tags/tag3.xml"/><Relationship Id="rId2"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2.xml"/><Relationship Id="rId1" Type="http://schemas.openxmlformats.org/officeDocument/2006/relationships/tags" Target="../tags/tag4.xml"/><Relationship Id="rId2" Type="http://schemas.openxmlformats.org/officeDocument/2006/relationships/tags" Target="../tags/tag5.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hyperlink" Target="https://www.youtube.com/watch?v=0tmCLZOM8kw" TargetMode="External"/><Relationship Id="rId4" Type="http://schemas.openxmlformats.org/officeDocument/2006/relationships/image" Target="../media/image20.jpg"/><Relationship Id="rId5" Type="http://schemas.openxmlformats.org/officeDocument/2006/relationships/image" Target="../media/image21.png"/><Relationship Id="rId1" Type="http://schemas.openxmlformats.org/officeDocument/2006/relationships/slideLayout" Target="../slideLayouts/slideLayout3.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9.xml"/><Relationship Id="rId3" Type="http://schemas.openxmlformats.org/officeDocument/2006/relationships/image" Target="../media/image22.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0.xml"/><Relationship Id="rId3" Type="http://schemas.openxmlformats.org/officeDocument/2006/relationships/image" Target="../media/image22.jp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1.xml"/><Relationship Id="rId3" Type="http://schemas.openxmlformats.org/officeDocument/2006/relationships/image" Target="../media/image22.jp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2.xml"/><Relationship Id="rId3" Type="http://schemas.openxmlformats.org/officeDocument/2006/relationships/image" Target="../media/image23.tmp"/></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2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9.xml"/><Relationship Id="rId3" Type="http://schemas.openxmlformats.org/officeDocument/2006/relationships/image" Target="../media/image2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3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xml"/><Relationship Id="rId3" Type="http://schemas.openxmlformats.org/officeDocument/2006/relationships/image" Target="../media/image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3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0.xml"/></Relationships>
</file>

<file path=ppt/slides/_rels/slide43.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3.xml"/><Relationship Id="rId3" Type="http://schemas.openxmlformats.org/officeDocument/2006/relationships/notesSlide" Target="../notesSlides/notesSlide4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4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4" Type="http://schemas.openxmlformats.org/officeDocument/2006/relationships/image" Target="../media/image9.jpeg"/><Relationship Id="rId1" Type="http://schemas.openxmlformats.org/officeDocument/2006/relationships/tags" Target="../tags/tag2.xml"/><Relationship Id="rId2"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chart" Target="../charts/chart2.xml"/><Relationship Id="rId5" Type="http://schemas.openxmlformats.org/officeDocument/2006/relationships/chart" Target="../charts/chart3.xml"/><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p:txBody>
          <a:bodyPr/>
          <a:lstStyle/>
          <a:p>
            <a:r>
              <a:rPr lang="en-GB" dirty="0" smtClean="0"/>
              <a:t>Verification at the Infineon Design Centre, Bristol</a:t>
            </a:r>
            <a:endParaRPr lang="en-GB" dirty="0"/>
          </a:p>
        </p:txBody>
      </p:sp>
      <p:sp>
        <p:nvSpPr>
          <p:cNvPr id="5" name="Untertitel 4"/>
          <p:cNvSpPr>
            <a:spLocks noGrp="1"/>
          </p:cNvSpPr>
          <p:nvPr>
            <p:ph type="subTitle" idx="1"/>
          </p:nvPr>
        </p:nvSpPr>
        <p:spPr/>
        <p:txBody>
          <a:bodyPr/>
          <a:lstStyle/>
          <a:p>
            <a:r>
              <a:rPr lang="en-GB" dirty="0" err="1" smtClean="0"/>
              <a:t>Dr.</a:t>
            </a:r>
            <a:r>
              <a:rPr lang="en-GB" dirty="0" smtClean="0"/>
              <a:t> Tim Blackmore</a:t>
            </a:r>
          </a:p>
          <a:p>
            <a:r>
              <a:rPr lang="en-GB" dirty="0" smtClean="0"/>
              <a:t>7</a:t>
            </a:r>
            <a:r>
              <a:rPr lang="en-GB" baseline="30000" dirty="0" smtClean="0"/>
              <a:t>th</a:t>
            </a:r>
            <a:r>
              <a:rPr lang="en-GB" dirty="0" smtClean="0"/>
              <a:t> December 2015</a:t>
            </a:r>
            <a:endParaRPr lang="en-GB" dirty="0"/>
          </a:p>
        </p:txBody>
      </p:sp>
    </p:spTree>
    <p:extLst>
      <p:ext uri="{BB962C8B-B14F-4D97-AF65-F5344CB8AC3E}">
        <p14:creationId xmlns:p14="http://schemas.microsoft.com/office/powerpoint/2010/main" val="1814369571"/>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 2" descr="183742095_20.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13546" y="2198116"/>
            <a:ext cx="1970920" cy="1314411"/>
          </a:xfrm>
          <a:prstGeom prst="rect">
            <a:avLst/>
          </a:prstGeom>
        </p:spPr>
      </p:pic>
      <p:pic>
        <p:nvPicPr>
          <p:cNvPr id="7" name="Grafik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253318" y="4806681"/>
            <a:ext cx="1954551" cy="1296049"/>
          </a:xfrm>
          <a:prstGeom prst="rect">
            <a:avLst/>
          </a:prstGeom>
        </p:spPr>
      </p:pic>
      <p:sp>
        <p:nvSpPr>
          <p:cNvPr id="2" name="Titel 1"/>
          <p:cNvSpPr>
            <a:spLocks noGrp="1"/>
          </p:cNvSpPr>
          <p:nvPr>
            <p:ph type="title"/>
          </p:nvPr>
        </p:nvSpPr>
        <p:spPr/>
        <p:txBody>
          <a:bodyPr/>
          <a:lstStyle/>
          <a:p>
            <a:r>
              <a:rPr lang="en-US" dirty="0" smtClean="0"/>
              <a:t>Revenue split by segment</a:t>
            </a:r>
            <a:endParaRPr lang="en-US" dirty="0"/>
          </a:p>
        </p:txBody>
      </p:sp>
      <p:sp>
        <p:nvSpPr>
          <p:cNvPr id="9" name="Slide Number Placeholder 8"/>
          <p:cNvSpPr>
            <a:spLocks noGrp="1"/>
          </p:cNvSpPr>
          <p:nvPr>
            <p:ph type="sldNum" sz="quarter" idx="4"/>
          </p:nvPr>
        </p:nvSpPr>
        <p:spPr/>
        <p:txBody>
          <a:bodyPr/>
          <a:lstStyle/>
          <a:p>
            <a:fld id="{40057B66-B25E-4945-B59E-A1F0BED01C85}" type="slidenum">
              <a:rPr lang="en-US" smtClean="0"/>
              <a:pPr/>
              <a:t>10</a:t>
            </a:fld>
            <a:endParaRPr lang="en-US" dirty="0"/>
          </a:p>
        </p:txBody>
      </p:sp>
      <p:sp>
        <p:nvSpPr>
          <p:cNvPr id="10" name="Date Placeholder 9"/>
          <p:cNvSpPr>
            <a:spLocks noGrp="1"/>
          </p:cNvSpPr>
          <p:nvPr>
            <p:ph type="dt" sz="half" idx="2"/>
          </p:nvPr>
        </p:nvSpPr>
        <p:spPr/>
        <p:txBody>
          <a:bodyPr/>
          <a:lstStyle/>
          <a:p>
            <a:r>
              <a:rPr lang="en-US" dirty="0" smtClean="0"/>
              <a:t>July 2015</a:t>
            </a:r>
            <a:endParaRPr lang="en-US" dirty="0"/>
          </a:p>
        </p:txBody>
      </p:sp>
      <p:sp>
        <p:nvSpPr>
          <p:cNvPr id="11" name="Footer Placeholder 10"/>
          <p:cNvSpPr>
            <a:spLocks noGrp="1"/>
          </p:cNvSpPr>
          <p:nvPr>
            <p:ph type="ftr" sz="quarter" idx="3"/>
          </p:nvPr>
        </p:nvSpPr>
        <p:spPr/>
        <p:txBody>
          <a:bodyPr/>
          <a:lstStyle/>
          <a:p>
            <a:r>
              <a:rPr lang="en-US" dirty="0" smtClean="0"/>
              <a:t>Copyright © Infineon Technologies AG 2015. All rights reserved.</a:t>
            </a:r>
            <a:endParaRPr lang="en-US" dirty="0"/>
          </a:p>
        </p:txBody>
      </p:sp>
      <p:sp>
        <p:nvSpPr>
          <p:cNvPr id="14" name="Rectangle 19"/>
          <p:cNvSpPr>
            <a:spLocks noChangeArrowheads="1"/>
          </p:cNvSpPr>
          <p:nvPr/>
        </p:nvSpPr>
        <p:spPr bwMode="auto">
          <a:xfrm>
            <a:off x="262028" y="1268960"/>
            <a:ext cx="8639015" cy="359790"/>
          </a:xfrm>
          <a:prstGeom prst="rect">
            <a:avLst/>
          </a:prstGeom>
          <a:noFill/>
          <a:ln w="9525" algn="ctr">
            <a:noFill/>
            <a:miter lim="800000"/>
            <a:headEnd/>
            <a:tailEnd/>
          </a:ln>
        </p:spPr>
        <p:txBody>
          <a:bodyPr lIns="0" rIns="18000" anchor="ctr"/>
          <a:lstStyle/>
          <a:p>
            <a:pPr defTabSz="865188" eaLnBrk="0" hangingPunct="0">
              <a:spcBef>
                <a:spcPts val="600"/>
              </a:spcBef>
              <a:spcAft>
                <a:spcPts val="600"/>
              </a:spcAft>
              <a:buClr>
                <a:srgbClr val="00214A"/>
              </a:buClr>
            </a:pPr>
            <a:r>
              <a:rPr lang="en-US" sz="2000" b="1" dirty="0" smtClean="0">
                <a:latin typeface="Verdana" pitchFamily="34" charset="0"/>
                <a:ea typeface="Verdana" pitchFamily="34" charset="0"/>
                <a:cs typeface="Verdana" pitchFamily="34" charset="0"/>
              </a:rPr>
              <a:t>Q3 FY 2015 Revenue: € 1,586m</a:t>
            </a:r>
            <a:endParaRPr lang="en-US" sz="2000" b="1" dirty="0">
              <a:latin typeface="Verdana" pitchFamily="34" charset="0"/>
              <a:ea typeface="Verdana" pitchFamily="34" charset="0"/>
              <a:cs typeface="Verdana" pitchFamily="34" charset="0"/>
            </a:endParaRPr>
          </a:p>
        </p:txBody>
      </p:sp>
      <p:sp>
        <p:nvSpPr>
          <p:cNvPr id="22" name="Textfeld 49"/>
          <p:cNvSpPr txBox="1"/>
          <p:nvPr/>
        </p:nvSpPr>
        <p:spPr>
          <a:xfrm>
            <a:off x="251400" y="6182798"/>
            <a:ext cx="5946706" cy="246221"/>
          </a:xfrm>
          <a:prstGeom prst="rect">
            <a:avLst/>
          </a:prstGeom>
          <a:noFill/>
          <a:effectLst/>
        </p:spPr>
        <p:txBody>
          <a:bodyPr wrap="square" lIns="0" rtlCol="0">
            <a:spAutoFit/>
          </a:bodyPr>
          <a:lstStyle/>
          <a:p>
            <a:pPr indent="-108000" fontAlgn="auto">
              <a:spcBef>
                <a:spcPts val="0"/>
              </a:spcBef>
              <a:spcAft>
                <a:spcPts val="0"/>
              </a:spcAft>
              <a:buClr>
                <a:srgbClr val="00214A"/>
              </a:buClr>
              <a:tabLst>
                <a:tab pos="179388" algn="l"/>
                <a:tab pos="358775" algn="l"/>
              </a:tabLst>
              <a:defRPr/>
            </a:pPr>
            <a:r>
              <a:rPr lang="en-US" sz="1000" kern="0" dirty="0" smtClean="0">
                <a:latin typeface="Verdana" pitchFamily="34" charset="0"/>
                <a:ea typeface="Verdana" pitchFamily="34" charset="0"/>
                <a:cs typeface="Verdana" pitchFamily="34" charset="0"/>
              </a:rPr>
              <a:t>*Other Operating Segments; Corporate &amp; Eliminations</a:t>
            </a:r>
            <a:endParaRPr lang="en-US" sz="1000" kern="0" dirty="0">
              <a:latin typeface="Verdana" pitchFamily="34" charset="0"/>
              <a:ea typeface="Verdana" pitchFamily="34" charset="0"/>
              <a:cs typeface="Verdana" pitchFamily="34" charset="0"/>
            </a:endParaRPr>
          </a:p>
        </p:txBody>
      </p:sp>
      <p:sp>
        <p:nvSpPr>
          <p:cNvPr id="33" name="AutoShape 5"/>
          <p:cNvSpPr>
            <a:spLocks/>
          </p:cNvSpPr>
          <p:nvPr/>
        </p:nvSpPr>
        <p:spPr bwMode="auto">
          <a:xfrm flipH="1">
            <a:off x="250824" y="4163396"/>
            <a:ext cx="1957045" cy="539750"/>
          </a:xfrm>
          <a:prstGeom prst="rect">
            <a:avLst/>
          </a:prstGeom>
          <a:noFill/>
          <a:ln w="9525" algn="ctr">
            <a:noFill/>
            <a:miter lim="800000"/>
            <a:headEnd/>
            <a:tailEnd/>
          </a:ln>
        </p:spPr>
        <p:txBody>
          <a:bodyPr lIns="0" anchor="ctr" anchorCtr="0"/>
          <a:lstStyle/>
          <a:p>
            <a:r>
              <a:rPr lang="en-US" sz="1600" b="1" dirty="0" smtClean="0">
                <a:latin typeface="Verdana" pitchFamily="34" charset="0"/>
                <a:ea typeface="Verdana" pitchFamily="34" charset="0"/>
                <a:cs typeface="Verdana" pitchFamily="34" charset="0"/>
              </a:rPr>
              <a:t>Chip Card</a:t>
            </a:r>
          </a:p>
          <a:p>
            <a:r>
              <a:rPr lang="en-US" sz="1600" b="1" dirty="0" smtClean="0">
                <a:latin typeface="Verdana" pitchFamily="34" charset="0"/>
                <a:ea typeface="Verdana" pitchFamily="34" charset="0"/>
                <a:cs typeface="Verdana" pitchFamily="34" charset="0"/>
              </a:rPr>
              <a:t>&amp; Security</a:t>
            </a:r>
            <a:endParaRPr lang="en-US" sz="1600" b="1" dirty="0">
              <a:latin typeface="Verdana" pitchFamily="34" charset="0"/>
              <a:ea typeface="Verdana" pitchFamily="34" charset="0"/>
              <a:cs typeface="Verdana" pitchFamily="34" charset="0"/>
            </a:endParaRPr>
          </a:p>
        </p:txBody>
      </p:sp>
      <p:sp>
        <p:nvSpPr>
          <p:cNvPr id="34" name="AutoShape 3"/>
          <p:cNvSpPr>
            <a:spLocks/>
          </p:cNvSpPr>
          <p:nvPr/>
        </p:nvSpPr>
        <p:spPr bwMode="auto">
          <a:xfrm>
            <a:off x="250825" y="1766317"/>
            <a:ext cx="1957045" cy="431800"/>
          </a:xfrm>
          <a:prstGeom prst="rect">
            <a:avLst/>
          </a:prstGeom>
          <a:noFill/>
          <a:ln w="9525" algn="ctr">
            <a:noFill/>
            <a:miter lim="800000"/>
            <a:headEnd/>
            <a:tailEnd/>
          </a:ln>
        </p:spPr>
        <p:txBody>
          <a:bodyPr lIns="0" anchor="ctr" anchorCtr="0"/>
          <a:lstStyle/>
          <a:p>
            <a:r>
              <a:rPr lang="en-US" sz="1600" b="1" dirty="0" smtClean="0">
                <a:latin typeface="Verdana" pitchFamily="34" charset="0"/>
                <a:ea typeface="Verdana" pitchFamily="34" charset="0"/>
                <a:cs typeface="Verdana" pitchFamily="34" charset="0"/>
              </a:rPr>
              <a:t>Automotive</a:t>
            </a:r>
            <a:endParaRPr lang="en-US" sz="1600" b="1" dirty="0">
              <a:latin typeface="Verdana" pitchFamily="34" charset="0"/>
              <a:ea typeface="Verdana" pitchFamily="34" charset="0"/>
              <a:cs typeface="Verdana" pitchFamily="34" charset="0"/>
            </a:endParaRPr>
          </a:p>
        </p:txBody>
      </p:sp>
      <p:sp>
        <p:nvSpPr>
          <p:cNvPr id="35" name="AutoShape 4"/>
          <p:cNvSpPr>
            <a:spLocks/>
          </p:cNvSpPr>
          <p:nvPr/>
        </p:nvSpPr>
        <p:spPr bwMode="auto">
          <a:xfrm>
            <a:off x="6913546" y="4149100"/>
            <a:ext cx="1970920" cy="539750"/>
          </a:xfrm>
          <a:prstGeom prst="rect">
            <a:avLst/>
          </a:prstGeom>
          <a:noFill/>
          <a:ln w="9525" algn="ctr">
            <a:noFill/>
            <a:miter lim="800000"/>
            <a:headEnd/>
            <a:tailEnd/>
          </a:ln>
        </p:spPr>
        <p:txBody>
          <a:bodyPr lIns="0" anchor="ctr" anchorCtr="0"/>
          <a:lstStyle/>
          <a:p>
            <a:r>
              <a:rPr lang="en-US" sz="1600" b="1" dirty="0" smtClean="0">
                <a:latin typeface="Verdana" pitchFamily="34" charset="0"/>
                <a:ea typeface="Verdana" pitchFamily="34" charset="0"/>
                <a:cs typeface="Verdana" pitchFamily="34" charset="0"/>
              </a:rPr>
              <a:t>Power</a:t>
            </a:r>
          </a:p>
          <a:p>
            <a:r>
              <a:rPr lang="en-US" sz="1600" b="1" dirty="0" smtClean="0">
                <a:latin typeface="Verdana" pitchFamily="34" charset="0"/>
                <a:ea typeface="Verdana" pitchFamily="34" charset="0"/>
                <a:cs typeface="Verdana" pitchFamily="34" charset="0"/>
              </a:rPr>
              <a:t>Management &amp; Multimarket</a:t>
            </a:r>
            <a:endParaRPr lang="en-US" sz="1600" b="1" dirty="0">
              <a:latin typeface="Verdana" pitchFamily="34" charset="0"/>
              <a:ea typeface="Verdana" pitchFamily="34" charset="0"/>
              <a:cs typeface="Verdana" pitchFamily="34" charset="0"/>
            </a:endParaRPr>
          </a:p>
        </p:txBody>
      </p:sp>
      <p:sp>
        <p:nvSpPr>
          <p:cNvPr id="36" name="AutoShape 4"/>
          <p:cNvSpPr>
            <a:spLocks/>
          </p:cNvSpPr>
          <p:nvPr/>
        </p:nvSpPr>
        <p:spPr bwMode="auto">
          <a:xfrm>
            <a:off x="6913546" y="1700760"/>
            <a:ext cx="1979629" cy="438547"/>
          </a:xfrm>
          <a:prstGeom prst="rect">
            <a:avLst/>
          </a:prstGeom>
          <a:noFill/>
          <a:ln w="9525" algn="ctr">
            <a:noFill/>
            <a:miter lim="800000"/>
            <a:headEnd/>
            <a:tailEnd/>
          </a:ln>
        </p:spPr>
        <p:txBody>
          <a:bodyPr lIns="0" anchor="ctr" anchorCtr="0"/>
          <a:lstStyle/>
          <a:p>
            <a:r>
              <a:rPr lang="en-US" sz="1600" b="1" dirty="0" smtClean="0">
                <a:latin typeface="Verdana" pitchFamily="34" charset="0"/>
                <a:ea typeface="Verdana" pitchFamily="34" charset="0"/>
                <a:cs typeface="Verdana" pitchFamily="34" charset="0"/>
              </a:rPr>
              <a:t>Industrial Power Control</a:t>
            </a:r>
            <a:endParaRPr lang="en-US" sz="1600" b="1" dirty="0">
              <a:latin typeface="Verdana" pitchFamily="34" charset="0"/>
              <a:ea typeface="Verdana" pitchFamily="34" charset="0"/>
              <a:cs typeface="Verdana" pitchFamily="34" charset="0"/>
            </a:endParaRPr>
          </a:p>
        </p:txBody>
      </p:sp>
      <p:graphicFrame>
        <p:nvGraphicFramePr>
          <p:cNvPr id="38" name="Diagrammplatzhalter 18"/>
          <p:cNvGraphicFramePr>
            <a:graphicFrameLocks/>
          </p:cNvGraphicFramePr>
          <p:nvPr>
            <p:extLst>
              <p:ext uri="{D42A27DB-BD31-4B8C-83A1-F6EECF244321}">
                <p14:modId xmlns:p14="http://schemas.microsoft.com/office/powerpoint/2010/main" val="3152632365"/>
              </p:ext>
            </p:extLst>
          </p:nvPr>
        </p:nvGraphicFramePr>
        <p:xfrm>
          <a:off x="2646800" y="2105784"/>
          <a:ext cx="3869470" cy="3389516"/>
        </p:xfrm>
        <a:graphic>
          <a:graphicData uri="http://schemas.openxmlformats.org/drawingml/2006/chart">
            <c:chart xmlns:c="http://schemas.openxmlformats.org/drawingml/2006/chart" xmlns:r="http://schemas.openxmlformats.org/officeDocument/2006/relationships" r:id="rId5"/>
          </a:graphicData>
        </a:graphic>
      </p:graphicFrame>
      <p:sp>
        <p:nvSpPr>
          <p:cNvPr id="39" name="Text Box 7"/>
          <p:cNvSpPr txBox="1">
            <a:spLocks noChangeArrowheads="1"/>
          </p:cNvSpPr>
          <p:nvPr/>
        </p:nvSpPr>
        <p:spPr bwMode="auto">
          <a:xfrm>
            <a:off x="2662444" y="2063262"/>
            <a:ext cx="723275" cy="369332"/>
          </a:xfrm>
          <a:prstGeom prst="rect">
            <a:avLst/>
          </a:prstGeom>
          <a:noFill/>
          <a:ln w="9525" algn="ctr">
            <a:noFill/>
            <a:miter lim="800000"/>
            <a:headEnd/>
            <a:tailEnd/>
          </a:ln>
          <a:effectLst/>
        </p:spPr>
        <p:txBody>
          <a:bodyPr wrap="none">
            <a:spAutoFit/>
          </a:bodyPr>
          <a:lstStyle/>
          <a:p>
            <a:pPr marL="0" marR="0" lvl="0" indent="0" algn="ctr" defTabSz="914400" eaLnBrk="1" fontAlgn="auto" latinLnBrk="0" hangingPunct="1">
              <a:lnSpc>
                <a:spcPct val="100000"/>
              </a:lnSpc>
              <a:spcBef>
                <a:spcPts val="0"/>
              </a:spcBef>
              <a:spcAft>
                <a:spcPts val="0"/>
              </a:spcAft>
              <a:buClr>
                <a:schemeClr val="bg1"/>
              </a:buClr>
              <a:buSzTx/>
              <a:buFontTx/>
              <a:buNone/>
              <a:tabLst/>
              <a:defRPr/>
            </a:pPr>
            <a:r>
              <a:rPr kumimoji="0" lang="en-US" sz="1800" b="0" i="0" u="none" strike="noStrike" kern="0" cap="none" spc="0" normalizeH="0" baseline="0" noProof="0" dirty="0" smtClean="0">
                <a:ln>
                  <a:noFill/>
                </a:ln>
                <a:effectLst/>
                <a:uLnTx/>
                <a:uFillTx/>
                <a:latin typeface="Verdana"/>
              </a:rPr>
              <a:t> ATV</a:t>
            </a:r>
            <a:endParaRPr kumimoji="0" lang="en-US" sz="1800" b="0" i="0" u="none" strike="noStrike" kern="0" cap="none" spc="0" normalizeH="0" baseline="0" noProof="0" dirty="0">
              <a:ln>
                <a:noFill/>
              </a:ln>
              <a:effectLst/>
              <a:uLnTx/>
              <a:uFillTx/>
              <a:latin typeface="Verdana"/>
            </a:endParaRPr>
          </a:p>
        </p:txBody>
      </p:sp>
      <p:sp>
        <p:nvSpPr>
          <p:cNvPr id="40" name="Text Box 9"/>
          <p:cNvSpPr txBox="1">
            <a:spLocks noChangeArrowheads="1"/>
          </p:cNvSpPr>
          <p:nvPr/>
        </p:nvSpPr>
        <p:spPr bwMode="auto">
          <a:xfrm>
            <a:off x="3009878" y="5057344"/>
            <a:ext cx="747319" cy="369332"/>
          </a:xfrm>
          <a:prstGeom prst="rect">
            <a:avLst/>
          </a:prstGeom>
          <a:noFill/>
          <a:ln w="9525" algn="ctr">
            <a:noFill/>
            <a:miter lim="800000"/>
            <a:headEnd/>
            <a:tailEnd/>
          </a:ln>
          <a:effectLst/>
        </p:spPr>
        <p:txBody>
          <a:bodyPr wrap="none">
            <a:spAutoFit/>
          </a:bodyPr>
          <a:lstStyle/>
          <a:p>
            <a:pPr marL="0" marR="0" lvl="0" indent="0" algn="ctr" defTabSz="914400" eaLnBrk="1" fontAlgn="auto" latinLnBrk="0" hangingPunct="1">
              <a:lnSpc>
                <a:spcPct val="100000"/>
              </a:lnSpc>
              <a:spcBef>
                <a:spcPts val="0"/>
              </a:spcBef>
              <a:spcAft>
                <a:spcPts val="0"/>
              </a:spcAft>
              <a:buClr>
                <a:schemeClr val="bg1"/>
              </a:buClr>
              <a:buSzTx/>
              <a:buFontTx/>
              <a:buNone/>
              <a:tabLst/>
              <a:defRPr/>
            </a:pPr>
            <a:r>
              <a:rPr kumimoji="0" lang="en-US" sz="1800" b="0" i="0" u="none" strike="noStrike" kern="0" cap="none" spc="0" normalizeH="0" baseline="0" noProof="0" dirty="0" smtClean="0">
                <a:ln>
                  <a:noFill/>
                </a:ln>
                <a:effectLst/>
                <a:uLnTx/>
                <a:uFillTx/>
                <a:latin typeface="Verdana"/>
              </a:rPr>
              <a:t> CCS</a:t>
            </a:r>
            <a:endParaRPr kumimoji="0" lang="en-US" sz="1800" b="0" i="0" u="none" strike="noStrike" kern="0" cap="none" spc="0" normalizeH="0" baseline="0" noProof="0" dirty="0">
              <a:ln>
                <a:noFill/>
              </a:ln>
              <a:effectLst/>
              <a:uLnTx/>
              <a:uFillTx/>
              <a:latin typeface="Verdana"/>
            </a:endParaRPr>
          </a:p>
        </p:txBody>
      </p:sp>
      <p:sp>
        <p:nvSpPr>
          <p:cNvPr id="41" name="Text Box 9"/>
          <p:cNvSpPr txBox="1">
            <a:spLocks noChangeArrowheads="1"/>
          </p:cNvSpPr>
          <p:nvPr/>
        </p:nvSpPr>
        <p:spPr bwMode="auto">
          <a:xfrm>
            <a:off x="4139940" y="5495300"/>
            <a:ext cx="1181734" cy="307777"/>
          </a:xfrm>
          <a:prstGeom prst="rect">
            <a:avLst/>
          </a:prstGeom>
          <a:noFill/>
          <a:ln w="9525" algn="ctr">
            <a:noFill/>
            <a:miter lim="800000"/>
            <a:headEnd/>
            <a:tailEnd/>
          </a:ln>
          <a:effectLst/>
        </p:spPr>
        <p:txBody>
          <a:bodyPr wrap="none">
            <a:spAutoFit/>
          </a:bodyPr>
          <a:lstStyle/>
          <a:p>
            <a:pPr marL="0" marR="0" lvl="0" indent="0" algn="ctr" defTabSz="914400" eaLnBrk="1" fontAlgn="auto" latinLnBrk="0" hangingPunct="1">
              <a:lnSpc>
                <a:spcPct val="100000"/>
              </a:lnSpc>
              <a:spcBef>
                <a:spcPts val="0"/>
              </a:spcBef>
              <a:spcAft>
                <a:spcPts val="0"/>
              </a:spcAft>
              <a:buClr>
                <a:schemeClr val="tx1"/>
              </a:buClr>
              <a:buSzTx/>
              <a:buFontTx/>
              <a:buNone/>
              <a:tabLst/>
              <a:defRPr/>
            </a:pPr>
            <a:r>
              <a:rPr kumimoji="0" lang="en-US" sz="1400" b="0" i="0" u="none" strike="noStrike" kern="0" cap="none" spc="0" normalizeH="0" baseline="0" noProof="0" dirty="0" smtClean="0">
                <a:ln>
                  <a:noFill/>
                </a:ln>
                <a:effectLst/>
                <a:uLnTx/>
                <a:uFillTx/>
                <a:latin typeface="Verdana"/>
              </a:rPr>
              <a:t>OOS+C&amp;E</a:t>
            </a:r>
            <a:r>
              <a:rPr kumimoji="0" lang="en-US" sz="1400" b="0" i="0" u="none" strike="noStrike" kern="0" cap="none" spc="0" normalizeH="0" baseline="30000" noProof="0" dirty="0" smtClean="0">
                <a:ln>
                  <a:noFill/>
                </a:ln>
                <a:effectLst/>
                <a:uLnTx/>
                <a:uFillTx/>
                <a:latin typeface="Verdana"/>
              </a:rPr>
              <a:t>*</a:t>
            </a:r>
          </a:p>
        </p:txBody>
      </p:sp>
      <p:sp>
        <p:nvSpPr>
          <p:cNvPr id="42" name="Textfeld 51"/>
          <p:cNvSpPr txBox="1"/>
          <p:nvPr/>
        </p:nvSpPr>
        <p:spPr>
          <a:xfrm>
            <a:off x="5972029" y="2062569"/>
            <a:ext cx="583814" cy="369332"/>
          </a:xfrm>
          <a:prstGeom prst="rect">
            <a:avLst/>
          </a:prstGeom>
          <a:noFill/>
          <a:effectLst/>
        </p:spPr>
        <p:txBody>
          <a:bodyPr wrap="none" rtlCol="0">
            <a:spAutoFit/>
          </a:bodyPr>
          <a:lstStyle/>
          <a:p>
            <a:pPr marL="0" marR="0" lvl="0" indent="0" algn="ctr" defTabSz="914400" eaLnBrk="1" fontAlgn="auto" latinLnBrk="0" hangingPunct="1">
              <a:lnSpc>
                <a:spcPct val="100000"/>
              </a:lnSpc>
              <a:spcBef>
                <a:spcPts val="0"/>
              </a:spcBef>
              <a:spcAft>
                <a:spcPts val="0"/>
              </a:spcAft>
              <a:buClr>
                <a:schemeClr val="bg1"/>
              </a:buClr>
              <a:buSzTx/>
              <a:buFontTx/>
              <a:buNone/>
              <a:tabLst/>
              <a:defRPr/>
            </a:pPr>
            <a:r>
              <a:rPr kumimoji="0" lang="en-US" sz="1800" b="0" i="0" u="none" strike="noStrike" kern="0" cap="none" spc="0" normalizeH="0" baseline="0" noProof="0" dirty="0" smtClean="0">
                <a:ln>
                  <a:noFill/>
                </a:ln>
                <a:effectLst/>
                <a:uLnTx/>
                <a:uFillTx/>
                <a:latin typeface="Verdana"/>
              </a:rPr>
              <a:t>IPC</a:t>
            </a:r>
            <a:endParaRPr kumimoji="0" lang="en-US" sz="1800" b="0" i="0" u="none" strike="noStrike" kern="0" cap="none" spc="0" normalizeH="0" baseline="0" noProof="0" dirty="0">
              <a:ln>
                <a:noFill/>
              </a:ln>
              <a:effectLst/>
              <a:uLnTx/>
              <a:uFillTx/>
              <a:latin typeface="Verdana"/>
            </a:endParaRPr>
          </a:p>
        </p:txBody>
      </p:sp>
      <p:sp>
        <p:nvSpPr>
          <p:cNvPr id="43" name="Textfeld 52"/>
          <p:cNvSpPr txBox="1"/>
          <p:nvPr/>
        </p:nvSpPr>
        <p:spPr>
          <a:xfrm>
            <a:off x="6052525" y="4437140"/>
            <a:ext cx="712054" cy="369332"/>
          </a:xfrm>
          <a:prstGeom prst="rect">
            <a:avLst/>
          </a:prstGeom>
          <a:noFill/>
          <a:effectLst/>
        </p:spPr>
        <p:txBody>
          <a:bodyPr wrap="none" rtlCol="0">
            <a:spAutoFit/>
          </a:bodyPr>
          <a:lstStyle/>
          <a:p>
            <a:pPr marL="0" marR="0" lvl="0" indent="0" algn="ctr" defTabSz="914400" eaLnBrk="1" fontAlgn="auto" latinLnBrk="0" hangingPunct="1">
              <a:lnSpc>
                <a:spcPct val="100000"/>
              </a:lnSpc>
              <a:spcBef>
                <a:spcPts val="0"/>
              </a:spcBef>
              <a:spcAft>
                <a:spcPts val="0"/>
              </a:spcAft>
              <a:buClr>
                <a:schemeClr val="bg1"/>
              </a:buClr>
              <a:buSzTx/>
              <a:buFontTx/>
              <a:buNone/>
              <a:tabLst/>
              <a:defRPr/>
            </a:pPr>
            <a:r>
              <a:rPr kumimoji="0" lang="en-US" sz="1800" b="0" i="0" u="none" strike="noStrike" kern="0" cap="none" spc="0" normalizeH="0" baseline="0" noProof="0" dirty="0" smtClean="0">
                <a:ln>
                  <a:noFill/>
                </a:ln>
                <a:effectLst/>
                <a:uLnTx/>
                <a:uFillTx/>
                <a:latin typeface="Verdana"/>
              </a:rPr>
              <a:t>PMM</a:t>
            </a:r>
          </a:p>
        </p:txBody>
      </p:sp>
      <p:pic>
        <p:nvPicPr>
          <p:cNvPr id="3" name="Grafik 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3319" y="2219788"/>
            <a:ext cx="1954551" cy="1302823"/>
          </a:xfrm>
          <a:prstGeom prst="rect">
            <a:avLst/>
          </a:prstGeom>
        </p:spPr>
      </p:pic>
      <p:pic>
        <p:nvPicPr>
          <p:cNvPr id="8" name="Grafik 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13546" y="4806682"/>
            <a:ext cx="1970920" cy="1296048"/>
          </a:xfrm>
          <a:prstGeom prst="rect">
            <a:avLst/>
          </a:prstGeom>
        </p:spPr>
      </p:pic>
    </p:spTree>
    <p:extLst>
      <p:ext uri="{BB962C8B-B14F-4D97-AF65-F5344CB8AC3E}">
        <p14:creationId xmlns:p14="http://schemas.microsoft.com/office/powerpoint/2010/main" val="1422577927"/>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402775" y="2996951"/>
            <a:ext cx="1800199" cy="533791"/>
          </a:xfrm>
          <a:prstGeom prst="rect">
            <a:avLst/>
          </a:prstGeom>
          <a:solidFill>
            <a:schemeClr val="accent4"/>
          </a:solidFill>
          <a:ln w="9525">
            <a:noFill/>
            <a:miter lim="800000"/>
            <a:headEnd/>
            <a:tailEnd/>
          </a:ln>
        </p:spPr>
        <p:txBody>
          <a:bodyPr wrap="square" lIns="72000" tIns="72000" rIns="72000" bIns="72000" rtlCol="0" anchor="ctr"/>
          <a:lstStyle/>
          <a:p>
            <a:pPr algn="ctr" eaLnBrk="0" hangingPunct="0"/>
            <a:endParaRPr lang="en-GB" sz="1600" dirty="0" smtClean="0">
              <a:latin typeface="+mn-lt"/>
              <a:ea typeface="Verdana" pitchFamily="34" charset="0"/>
              <a:cs typeface="Verdana" pitchFamily="34" charset="0"/>
            </a:endParaRPr>
          </a:p>
        </p:txBody>
      </p:sp>
      <p:pic>
        <p:nvPicPr>
          <p:cNvPr id="25" name="Bild 2" descr="183742095_20.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83768" y="1268412"/>
            <a:ext cx="1887778" cy="1258964"/>
          </a:xfrm>
          <a:prstGeom prst="rect">
            <a:avLst/>
          </a:prstGeom>
        </p:spPr>
      </p:pic>
      <p:sp>
        <p:nvSpPr>
          <p:cNvPr id="25602" name="Titel 14"/>
          <p:cNvSpPr>
            <a:spLocks noGrp="1"/>
          </p:cNvSpPr>
          <p:nvPr>
            <p:ph type="title"/>
          </p:nvPr>
        </p:nvSpPr>
        <p:spPr/>
        <p:txBody>
          <a:bodyPr/>
          <a:lstStyle/>
          <a:p>
            <a:r>
              <a:rPr lang="en-US" dirty="0" smtClean="0"/>
              <a:t>Product range</a:t>
            </a:r>
          </a:p>
        </p:txBody>
      </p:sp>
      <p:sp>
        <p:nvSpPr>
          <p:cNvPr id="11" name="Slide Number Placeholder 10"/>
          <p:cNvSpPr>
            <a:spLocks noGrp="1"/>
          </p:cNvSpPr>
          <p:nvPr>
            <p:ph type="sldNum" sz="quarter" idx="4"/>
          </p:nvPr>
        </p:nvSpPr>
        <p:spPr/>
        <p:txBody>
          <a:bodyPr/>
          <a:lstStyle/>
          <a:p>
            <a:fld id="{D76EE51F-27BA-45FA-8796-28042A4C65A9}" type="slidenum">
              <a:rPr lang="en-US" smtClean="0"/>
              <a:pPr/>
              <a:t>11</a:t>
            </a:fld>
            <a:endParaRPr lang="en-US" dirty="0"/>
          </a:p>
        </p:txBody>
      </p:sp>
      <p:sp>
        <p:nvSpPr>
          <p:cNvPr id="12" name="Date Placeholder 11"/>
          <p:cNvSpPr>
            <a:spLocks noGrp="1"/>
          </p:cNvSpPr>
          <p:nvPr>
            <p:ph type="dt" sz="half" idx="2"/>
          </p:nvPr>
        </p:nvSpPr>
        <p:spPr/>
        <p:txBody>
          <a:bodyPr/>
          <a:lstStyle/>
          <a:p>
            <a:r>
              <a:rPr lang="en-US" dirty="0" smtClean="0"/>
              <a:t>July 2015</a:t>
            </a:r>
            <a:endParaRPr lang="en-US" dirty="0"/>
          </a:p>
        </p:txBody>
      </p:sp>
      <p:sp>
        <p:nvSpPr>
          <p:cNvPr id="13" name="Footer Placeholder 12"/>
          <p:cNvSpPr>
            <a:spLocks noGrp="1"/>
          </p:cNvSpPr>
          <p:nvPr>
            <p:ph type="ftr" sz="quarter" idx="3"/>
          </p:nvPr>
        </p:nvSpPr>
        <p:spPr/>
        <p:txBody>
          <a:bodyPr/>
          <a:lstStyle/>
          <a:p>
            <a:r>
              <a:rPr lang="en-US" dirty="0" smtClean="0"/>
              <a:t>Copyright © Infineon Technologies AG 2015. All rights reserved.</a:t>
            </a:r>
            <a:endParaRPr lang="en-US" dirty="0"/>
          </a:p>
        </p:txBody>
      </p:sp>
      <p:sp>
        <p:nvSpPr>
          <p:cNvPr id="17" name="Abgerundetes Rechteck 42"/>
          <p:cNvSpPr/>
          <p:nvPr/>
        </p:nvSpPr>
        <p:spPr>
          <a:xfrm>
            <a:off x="2483768" y="2492870"/>
            <a:ext cx="2016000" cy="3888880"/>
          </a:xfrm>
          <a:prstGeom prst="rect">
            <a:avLst/>
          </a:prstGeom>
          <a:noFill/>
          <a:effectLst/>
        </p:spPr>
        <p:txBody>
          <a:bodyPr vert="horz" lIns="0" tIns="91440" rIns="90000" bIns="46800" rtlCol="0">
            <a:noAutofit/>
          </a:bodyPr>
          <a:lstStyle/>
          <a:p>
            <a:pPr marL="0" lvl="1">
              <a:spcBef>
                <a:spcPts val="0"/>
              </a:spcBef>
              <a:spcAft>
                <a:spcPts val="600"/>
              </a:spcAft>
              <a:buClr>
                <a:schemeClr val="accent1"/>
              </a:buClr>
              <a:tabLst>
                <a:tab pos="8521700" algn="r"/>
              </a:tabLst>
            </a:pPr>
            <a:r>
              <a:rPr lang="en-US" altLang="de-DE" sz="1200" b="1" dirty="0" smtClean="0">
                <a:latin typeface="Verdana" pitchFamily="34" charset="0"/>
              </a:rPr>
              <a:t>Industrial Power Control (IPC)</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IGBT module solutions incl. IGBT stack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IGBT modules (high-power, medium-power and low-power)</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Discrete IGBT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Bare die busines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Driver ICs</a:t>
            </a:r>
            <a:endParaRPr lang="en-US" altLang="de-DE" sz="1100" dirty="0">
              <a:latin typeface="Verdana" pitchFamily="34" charset="0"/>
            </a:endParaRPr>
          </a:p>
        </p:txBody>
      </p:sp>
      <p:sp>
        <p:nvSpPr>
          <p:cNvPr id="21" name="Abgerundetes Rechteck 16"/>
          <p:cNvSpPr/>
          <p:nvPr/>
        </p:nvSpPr>
        <p:spPr>
          <a:xfrm>
            <a:off x="4643902" y="2492870"/>
            <a:ext cx="2016000" cy="3888880"/>
          </a:xfrm>
          <a:prstGeom prst="rect">
            <a:avLst/>
          </a:prstGeom>
          <a:noFill/>
          <a:effectLst/>
        </p:spPr>
        <p:txBody>
          <a:bodyPr vert="horz" lIns="0" tIns="91440" rIns="90000" bIns="46800" rtlCol="0">
            <a:noAutofit/>
          </a:bodyPr>
          <a:lstStyle/>
          <a:p>
            <a:pPr marL="0" lvl="1">
              <a:spcBef>
                <a:spcPts val="0"/>
              </a:spcBef>
              <a:spcAft>
                <a:spcPts val="600"/>
              </a:spcAft>
              <a:buClr>
                <a:schemeClr val="accent1"/>
              </a:buClr>
              <a:tabLst>
                <a:tab pos="8521700" algn="r"/>
              </a:tabLst>
            </a:pPr>
            <a:r>
              <a:rPr lang="en-US" altLang="de-DE" sz="1200" b="1" dirty="0" smtClean="0">
                <a:latin typeface="Verdana" pitchFamily="34" charset="0"/>
              </a:rPr>
              <a:t>Power Management &amp; Multimarket (PMM)</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Discrete high- and low-voltage power transistor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Driver IC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Control IC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RF power transistor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Small-signal component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CMOS RF switches for antenna module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Antenna tuning IC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MEMS and ASICs for silicon microphone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100" dirty="0" smtClean="0">
                <a:latin typeface="Verdana" pitchFamily="34" charset="0"/>
              </a:rPr>
              <a:t>Customized chips (ASICs)</a:t>
            </a:r>
          </a:p>
        </p:txBody>
      </p:sp>
      <p:sp>
        <p:nvSpPr>
          <p:cNvPr id="23" name="Abgerundetes Rechteck 17"/>
          <p:cNvSpPr/>
          <p:nvPr/>
        </p:nvSpPr>
        <p:spPr>
          <a:xfrm>
            <a:off x="6876480" y="2492870"/>
            <a:ext cx="2016000" cy="3888880"/>
          </a:xfrm>
          <a:prstGeom prst="rect">
            <a:avLst/>
          </a:prstGeom>
          <a:noFill/>
          <a:effectLst/>
        </p:spPr>
        <p:txBody>
          <a:bodyPr vert="horz" lIns="0" tIns="91440" rIns="90000" bIns="46800" rtlCol="0">
            <a:noAutofit/>
          </a:bodyPr>
          <a:lstStyle/>
          <a:p>
            <a:pPr marL="0" lvl="1">
              <a:spcBef>
                <a:spcPts val="0"/>
              </a:spcBef>
              <a:spcAft>
                <a:spcPts val="600"/>
              </a:spcAft>
              <a:buClr>
                <a:schemeClr val="accent1"/>
              </a:buClr>
              <a:tabLst>
                <a:tab pos="8521700" algn="r"/>
              </a:tabLst>
            </a:pPr>
            <a:r>
              <a:rPr lang="en-US" altLang="de-DE" sz="1200" b="1" dirty="0" smtClean="0">
                <a:latin typeface="Verdana" pitchFamily="34" charset="0"/>
              </a:rPr>
              <a:t>Chip Card &amp; Security</a:t>
            </a:r>
            <a:br>
              <a:rPr lang="en-US" altLang="de-DE" sz="1200" b="1" dirty="0" smtClean="0">
                <a:latin typeface="Verdana" pitchFamily="34" charset="0"/>
              </a:rPr>
            </a:br>
            <a:r>
              <a:rPr lang="en-US" altLang="de-DE" sz="1200" b="1" dirty="0" smtClean="0">
                <a:latin typeface="Verdana" pitchFamily="34" charset="0"/>
              </a:rPr>
              <a:t>(CC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sz="1100" dirty="0" smtClean="0">
                <a:latin typeface="+mn-lt"/>
              </a:rPr>
              <a:t>Smart card (contact-less and contact-based) and embedded security IC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sz="1100" dirty="0" smtClean="0">
                <a:latin typeface="+mn-lt"/>
              </a:rPr>
              <a:t>Extensive packaging and service portfolio</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sz="1100" dirty="0" smtClean="0">
                <a:latin typeface="+mn-lt"/>
              </a:rPr>
              <a:t>Innovative solutions from basic security RFID and memories to high-end security controllers </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sz="1100" dirty="0" smtClean="0">
                <a:latin typeface="+mn-lt"/>
              </a:rPr>
              <a:t>Leading technologies, e.g. SOLID FLASH</a:t>
            </a:r>
            <a:r>
              <a:rPr lang="en-US" sz="1100" baseline="30000" dirty="0" smtClean="0">
                <a:latin typeface="+mn-lt"/>
              </a:rPr>
              <a:t>TM</a:t>
            </a:r>
            <a:r>
              <a:rPr lang="en-US" sz="1100" dirty="0" smtClean="0">
                <a:latin typeface="+mn-lt"/>
              </a:rPr>
              <a:t>, Integrity Guard, VHBR, boosted NFC, Coil on Module</a:t>
            </a:r>
            <a:endParaRPr lang="en-US" sz="1100" dirty="0">
              <a:latin typeface="+mn-lt"/>
            </a:endParaRPr>
          </a:p>
        </p:txBody>
      </p:sp>
      <p:sp>
        <p:nvSpPr>
          <p:cNvPr id="27" name="Abgerundetes Rechteck 15"/>
          <p:cNvSpPr/>
          <p:nvPr/>
        </p:nvSpPr>
        <p:spPr>
          <a:xfrm>
            <a:off x="251520" y="2492870"/>
            <a:ext cx="2016000" cy="3888880"/>
          </a:xfrm>
          <a:prstGeom prst="rect">
            <a:avLst/>
          </a:prstGeom>
          <a:noFill/>
          <a:effectLst/>
        </p:spPr>
        <p:txBody>
          <a:bodyPr vert="horz" lIns="0" tIns="91440" rIns="90000" bIns="46800" rtlCol="0">
            <a:noAutofit/>
          </a:bodyPr>
          <a:lstStyle/>
          <a:p>
            <a:pPr marL="0" lvl="1">
              <a:spcBef>
                <a:spcPts val="0"/>
              </a:spcBef>
              <a:spcAft>
                <a:spcPts val="600"/>
              </a:spcAft>
              <a:buClr>
                <a:schemeClr val="accent1"/>
              </a:buClr>
              <a:tabLst>
                <a:tab pos="8521700" algn="r"/>
              </a:tabLst>
            </a:pPr>
            <a:r>
              <a:rPr lang="en-US" altLang="de-DE" sz="1200" b="1" dirty="0" smtClean="0">
                <a:latin typeface="Verdana" pitchFamily="34" charset="0"/>
              </a:rPr>
              <a:t>Automotive</a:t>
            </a:r>
            <a:br>
              <a:rPr lang="en-US" altLang="de-DE" sz="1200" b="1" dirty="0" smtClean="0">
                <a:latin typeface="Verdana" pitchFamily="34" charset="0"/>
              </a:rPr>
            </a:br>
            <a:r>
              <a:rPr lang="en-US" altLang="de-DE" sz="1200" b="1" dirty="0" smtClean="0">
                <a:latin typeface="Verdana" pitchFamily="34" charset="0"/>
              </a:rPr>
              <a:t>(ATV)</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000" dirty="0" smtClean="0">
                <a:latin typeface="Verdana" pitchFamily="34" charset="0"/>
              </a:rPr>
              <a:t>Microcontrollers 32-bit for Powertrain, Safety and ADA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000" dirty="0" smtClean="0">
                <a:latin typeface="Verdana" pitchFamily="34" charset="0"/>
              </a:rPr>
              <a:t>Software development platform DAVE</a:t>
            </a:r>
            <a:r>
              <a:rPr lang="en-US" altLang="de-DE" sz="1000" baseline="30000" dirty="0" smtClean="0">
                <a:latin typeface="Verdana" pitchFamily="34" charset="0"/>
              </a:rPr>
              <a:t>TM</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000" dirty="0" smtClean="0">
                <a:latin typeface="Verdana" pitchFamily="34" charset="0"/>
              </a:rPr>
              <a:t>Sensors: pressure, magnetic, radar</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altLang="de-DE" sz="1000" dirty="0" smtClean="0">
                <a:latin typeface="Verdana" pitchFamily="34" charset="0"/>
              </a:rPr>
              <a:t>Power: MOSFETS, IGBTs, smart power ICs: voltage regulators, bridges, driver </a:t>
            </a:r>
            <a:r>
              <a:rPr lang="en-US" altLang="de-DE" sz="1000" dirty="0" err="1" smtClean="0">
                <a:latin typeface="Verdana" pitchFamily="34" charset="0"/>
              </a:rPr>
              <a:t>Ics</a:t>
            </a:r>
            <a:r>
              <a:rPr lang="en-US" altLang="de-DE" sz="1000" dirty="0" smtClean="0">
                <a:latin typeface="Verdana" pitchFamily="34" charset="0"/>
              </a:rPr>
              <a:t>, CAN / LIN / Flex </a:t>
            </a:r>
            <a:r>
              <a:rPr lang="en-US" altLang="de-DE" sz="1000" dirty="0" err="1" smtClean="0">
                <a:latin typeface="Verdana" pitchFamily="34" charset="0"/>
              </a:rPr>
              <a:t>Ray</a:t>
            </a:r>
            <a:r>
              <a:rPr lang="en-US" sz="1000" baseline="30000" dirty="0" err="1" smtClean="0"/>
              <a:t>TM</a:t>
            </a:r>
            <a:r>
              <a:rPr lang="en-US" sz="1000" dirty="0" smtClean="0">
                <a:latin typeface="Verdana" pitchFamily="34" charset="0"/>
              </a:rPr>
              <a:t> transceiver*, DC-DC converters, power system </a:t>
            </a:r>
            <a:r>
              <a:rPr lang="en-US" sz="1000" dirty="0" err="1" smtClean="0">
                <a:latin typeface="Verdana" pitchFamily="34" charset="0"/>
              </a:rPr>
              <a:t>Ics</a:t>
            </a:r>
            <a:r>
              <a:rPr lang="en-US" sz="1000" dirty="0" smtClean="0">
                <a:latin typeface="Verdana" pitchFamily="34" charset="0"/>
              </a:rPr>
              <a:t>, system-on-chip, embedded power </a:t>
            </a:r>
            <a:r>
              <a:rPr lang="en-US" sz="1000" dirty="0" err="1" smtClean="0">
                <a:latin typeface="Verdana" pitchFamily="34" charset="0"/>
              </a:rPr>
              <a:t>Ics</a:t>
            </a:r>
            <a:endParaRPr lang="en-US" sz="1000" dirty="0" smtClean="0">
              <a:latin typeface="Verdana" pitchFamily="34" charset="0"/>
            </a:endParaRP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r>
              <a:rPr lang="en-US" sz="1000" dirty="0" smtClean="0">
                <a:latin typeface="Verdana" pitchFamily="34" charset="0"/>
              </a:rPr>
              <a:t>Hybrid &amp; Electric Vehicle: IGBT </a:t>
            </a:r>
            <a:r>
              <a:rPr lang="en-US" sz="1000" dirty="0" err="1" smtClean="0">
                <a:latin typeface="Verdana" pitchFamily="34" charset="0"/>
              </a:rPr>
              <a:t>HybridPACK</a:t>
            </a:r>
            <a:r>
              <a:rPr lang="en-US" sz="1000" dirty="0" smtClean="0">
                <a:latin typeface="Verdana" pitchFamily="34" charset="0"/>
              </a:rPr>
              <a:t>™, </a:t>
            </a:r>
            <a:r>
              <a:rPr lang="en-US" sz="1000" dirty="0" err="1" smtClean="0">
                <a:latin typeface="Verdana" pitchFamily="34" charset="0"/>
              </a:rPr>
              <a:t>HybridPACK</a:t>
            </a:r>
            <a:r>
              <a:rPr lang="en-US" sz="1000" dirty="0" smtClean="0">
                <a:latin typeface="Verdana" pitchFamily="34" charset="0"/>
              </a:rPr>
              <a:t>™ Double Sided Cooling (DSC) modules, gate driver ICs</a:t>
            </a:r>
          </a:p>
          <a:p>
            <a:pPr marL="185738" lvl="1" indent="-185738">
              <a:spcBef>
                <a:spcPts val="0"/>
              </a:spcBef>
              <a:spcAft>
                <a:spcPts val="600"/>
              </a:spcAft>
              <a:buClr>
                <a:schemeClr val="accent1"/>
              </a:buClr>
              <a:buSzPct val="120000"/>
              <a:buFont typeface="Arial" panose="020B0604020202020204" pitchFamily="34" charset="0"/>
              <a:buChar char="›"/>
              <a:tabLst>
                <a:tab pos="8521700" algn="r"/>
              </a:tabLst>
            </a:pPr>
            <a:endParaRPr lang="en-US" sz="1000" dirty="0" smtClean="0">
              <a:latin typeface="Verdana" pitchFamily="34" charset="0"/>
            </a:endParaRPr>
          </a:p>
        </p:txBody>
      </p:sp>
      <p:pic>
        <p:nvPicPr>
          <p:cNvPr id="18" name="Grafik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6876479" y="1268412"/>
            <a:ext cx="1872100" cy="1241376"/>
          </a:xfrm>
          <a:prstGeom prst="rect">
            <a:avLst/>
          </a:prstGeom>
        </p:spPr>
      </p:pic>
      <p:pic>
        <p:nvPicPr>
          <p:cNvPr id="19" name="Grafik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1729" y="1268412"/>
            <a:ext cx="1872100" cy="1247864"/>
          </a:xfrm>
          <a:prstGeom prst="rect">
            <a:avLst/>
          </a:prstGeom>
        </p:spPr>
      </p:pic>
      <p:pic>
        <p:nvPicPr>
          <p:cNvPr id="24" name="Grafik 2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643902" y="1268412"/>
            <a:ext cx="1887778" cy="1241376"/>
          </a:xfrm>
          <a:prstGeom prst="rect">
            <a:avLst/>
          </a:prstGeom>
        </p:spPr>
      </p:pic>
      <p:sp>
        <p:nvSpPr>
          <p:cNvPr id="15" name="Text Box 18"/>
          <p:cNvSpPr txBox="1">
            <a:spLocks noChangeArrowheads="1"/>
          </p:cNvSpPr>
          <p:nvPr/>
        </p:nvSpPr>
        <p:spPr bwMode="auto">
          <a:xfrm>
            <a:off x="4572000" y="6438528"/>
            <a:ext cx="4295683" cy="230832"/>
          </a:xfrm>
          <a:prstGeom prst="rect">
            <a:avLst/>
          </a:prstGeom>
          <a:noFill/>
          <a:ln w="9525">
            <a:noFill/>
            <a:miter lim="800000"/>
            <a:headEnd/>
            <a:tailEnd/>
          </a:ln>
          <a:effectLst/>
        </p:spPr>
        <p:txBody>
          <a:bodyPr wrap="square">
            <a:spAutoFit/>
          </a:bodyPr>
          <a:lstStyle/>
          <a:p>
            <a:pPr eaLnBrk="0" hangingPunct="0">
              <a:buClr>
                <a:srgbClr val="00214A"/>
              </a:buClr>
              <a:defRPr/>
            </a:pPr>
            <a:r>
              <a:rPr lang="en-US" sz="900" dirty="0" smtClean="0">
                <a:solidFill>
                  <a:srgbClr val="00214A"/>
                </a:solidFill>
                <a:latin typeface="Verdana" pitchFamily="34" charset="0"/>
                <a:ea typeface="Verdana" pitchFamily="34" charset="0"/>
                <a:cs typeface="Verdana" pitchFamily="34" charset="0"/>
              </a:rPr>
              <a:t>*</a:t>
            </a:r>
            <a:r>
              <a:rPr lang="en-US" sz="900" dirty="0" err="1" smtClean="0">
                <a:solidFill>
                  <a:srgbClr val="00214A"/>
                </a:solidFill>
                <a:latin typeface="Verdana" pitchFamily="34" charset="0"/>
                <a:ea typeface="Verdana" pitchFamily="34" charset="0"/>
                <a:cs typeface="Verdana" pitchFamily="34" charset="0"/>
              </a:rPr>
              <a:t>FlexRay</a:t>
            </a:r>
            <a:r>
              <a:rPr lang="en-US" sz="900" dirty="0" smtClean="0">
                <a:solidFill>
                  <a:srgbClr val="00214A"/>
                </a:solidFill>
                <a:latin typeface="Verdana" pitchFamily="34" charset="0"/>
                <a:ea typeface="Verdana" pitchFamily="34" charset="0"/>
                <a:cs typeface="Verdana" pitchFamily="34" charset="0"/>
              </a:rPr>
              <a:t> is a trademark licensed by </a:t>
            </a:r>
            <a:r>
              <a:rPr lang="en-US" sz="900" dirty="0" err="1" smtClean="0">
                <a:solidFill>
                  <a:srgbClr val="00214A"/>
                </a:solidFill>
                <a:latin typeface="Verdana" pitchFamily="34" charset="0"/>
                <a:ea typeface="Verdana" pitchFamily="34" charset="0"/>
                <a:cs typeface="Verdana" pitchFamily="34" charset="0"/>
              </a:rPr>
              <a:t>FlexRay</a:t>
            </a:r>
            <a:r>
              <a:rPr lang="en-US" sz="900" dirty="0" smtClean="0">
                <a:solidFill>
                  <a:srgbClr val="00214A"/>
                </a:solidFill>
                <a:latin typeface="Verdana" pitchFamily="34" charset="0"/>
                <a:ea typeface="Verdana" pitchFamily="34" charset="0"/>
                <a:cs typeface="Verdana" pitchFamily="34" charset="0"/>
              </a:rPr>
              <a:t> Consortium </a:t>
            </a:r>
            <a:r>
              <a:rPr lang="en-US" sz="900" dirty="0" err="1" smtClean="0">
                <a:solidFill>
                  <a:srgbClr val="00214A"/>
                </a:solidFill>
                <a:latin typeface="Verdana" pitchFamily="34" charset="0"/>
                <a:ea typeface="Verdana" pitchFamily="34" charset="0"/>
                <a:cs typeface="Verdana" pitchFamily="34" charset="0"/>
              </a:rPr>
              <a:t>GbR</a:t>
            </a:r>
            <a:endParaRPr lang="en-US" sz="900" dirty="0" smtClean="0">
              <a:solidFill>
                <a:srgbClr val="00214A"/>
              </a:solidFill>
              <a:latin typeface="Verdana" pitchFamily="34" charset="0"/>
              <a:ea typeface="Verdana" pitchFamily="34" charset="0"/>
              <a:cs typeface="Verdana" pitchFamily="34" charset="0"/>
            </a:endParaRPr>
          </a:p>
        </p:txBody>
      </p:sp>
    </p:spTree>
    <p:custDataLst>
      <p:tags r:id="rId1"/>
    </p:custDataLst>
    <p:extLst>
      <p:ext uri="{BB962C8B-B14F-4D97-AF65-F5344CB8AC3E}">
        <p14:creationId xmlns:p14="http://schemas.microsoft.com/office/powerpoint/2010/main" val="3826466754"/>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0" name="Gruppieren 729"/>
          <p:cNvGrpSpPr/>
          <p:nvPr/>
        </p:nvGrpSpPr>
        <p:grpSpPr>
          <a:xfrm>
            <a:off x="251400" y="1672980"/>
            <a:ext cx="8215312" cy="4645129"/>
            <a:chOff x="241054" y="1592261"/>
            <a:chExt cx="8215312" cy="4645129"/>
          </a:xfrm>
          <a:solidFill>
            <a:srgbClr val="E9E6E6">
              <a:lumMod val="90000"/>
            </a:srgbClr>
          </a:solidFill>
        </p:grpSpPr>
        <p:sp>
          <p:nvSpPr>
            <p:cNvPr id="731" name="Freeform 5"/>
            <p:cNvSpPr>
              <a:spLocks/>
            </p:cNvSpPr>
            <p:nvPr/>
          </p:nvSpPr>
          <p:spPr bwMode="gray">
            <a:xfrm>
              <a:off x="5132141" y="4741158"/>
              <a:ext cx="228600" cy="484021"/>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32" name="Freeform 6"/>
            <p:cNvSpPr>
              <a:spLocks noEditPoints="1"/>
            </p:cNvSpPr>
            <p:nvPr/>
          </p:nvSpPr>
          <p:spPr bwMode="gray">
            <a:xfrm>
              <a:off x="1812679" y="3502579"/>
              <a:ext cx="276225" cy="119626"/>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33" name="Freeform 7"/>
            <p:cNvSpPr>
              <a:spLocks/>
            </p:cNvSpPr>
            <p:nvPr/>
          </p:nvSpPr>
          <p:spPr bwMode="gray">
            <a:xfrm>
              <a:off x="1965079" y="3668214"/>
              <a:ext cx="60325" cy="27606"/>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34" name="Freeform 8"/>
            <p:cNvSpPr>
              <a:spLocks/>
            </p:cNvSpPr>
            <p:nvPr/>
          </p:nvSpPr>
          <p:spPr bwMode="gray">
            <a:xfrm>
              <a:off x="2261941" y="3670055"/>
              <a:ext cx="53975" cy="25765"/>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35" name="Freeform 9"/>
            <p:cNvSpPr>
              <a:spLocks/>
            </p:cNvSpPr>
            <p:nvPr/>
          </p:nvSpPr>
          <p:spPr bwMode="gray">
            <a:xfrm>
              <a:off x="2655641" y="2523495"/>
              <a:ext cx="163512" cy="169315"/>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36" name="Freeform 10"/>
            <p:cNvSpPr>
              <a:spLocks/>
            </p:cNvSpPr>
            <p:nvPr/>
          </p:nvSpPr>
          <p:spPr bwMode="gray">
            <a:xfrm>
              <a:off x="1641229" y="3809924"/>
              <a:ext cx="65087" cy="47850"/>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37" name="Freeform 11"/>
            <p:cNvSpPr>
              <a:spLocks/>
            </p:cNvSpPr>
            <p:nvPr/>
          </p:nvSpPr>
          <p:spPr bwMode="gray">
            <a:xfrm>
              <a:off x="1674566" y="3668214"/>
              <a:ext cx="41275" cy="90179"/>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38" name="Freeform 12"/>
            <p:cNvSpPr>
              <a:spLocks/>
            </p:cNvSpPr>
            <p:nvPr/>
          </p:nvSpPr>
          <p:spPr bwMode="gray">
            <a:xfrm>
              <a:off x="1590429" y="3690298"/>
              <a:ext cx="111125" cy="143550"/>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39" name="Freeform 13"/>
            <p:cNvSpPr>
              <a:spLocks/>
            </p:cNvSpPr>
            <p:nvPr/>
          </p:nvSpPr>
          <p:spPr bwMode="gray">
            <a:xfrm>
              <a:off x="1068141" y="3174991"/>
              <a:ext cx="696912" cy="633092"/>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0" name="Freeform 14"/>
            <p:cNvSpPr>
              <a:spLocks/>
            </p:cNvSpPr>
            <p:nvPr/>
          </p:nvSpPr>
          <p:spPr bwMode="gray">
            <a:xfrm>
              <a:off x="1668216" y="3752871"/>
              <a:ext cx="165100" cy="108583"/>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1" name="Freeform 15"/>
            <p:cNvSpPr>
              <a:spLocks/>
            </p:cNvSpPr>
            <p:nvPr/>
          </p:nvSpPr>
          <p:spPr bwMode="gray">
            <a:xfrm>
              <a:off x="2474666" y="4104385"/>
              <a:ext cx="111125" cy="147231"/>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2" name="Freeform 16"/>
            <p:cNvSpPr>
              <a:spLocks/>
            </p:cNvSpPr>
            <p:nvPr/>
          </p:nvSpPr>
          <p:spPr bwMode="gray">
            <a:xfrm>
              <a:off x="2387354" y="4019727"/>
              <a:ext cx="125412" cy="252133"/>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3" name="Freeform 17"/>
            <p:cNvSpPr>
              <a:spLocks noEditPoints="1"/>
            </p:cNvSpPr>
            <p:nvPr/>
          </p:nvSpPr>
          <p:spPr bwMode="gray">
            <a:xfrm>
              <a:off x="2074616" y="3887220"/>
              <a:ext cx="358775" cy="404884"/>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4" name="Freeform 18"/>
            <p:cNvSpPr>
              <a:spLocks/>
            </p:cNvSpPr>
            <p:nvPr/>
          </p:nvSpPr>
          <p:spPr bwMode="gray">
            <a:xfrm>
              <a:off x="1817441" y="3975558"/>
              <a:ext cx="155575" cy="92019"/>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5" name="Freeform 19"/>
            <p:cNvSpPr>
              <a:spLocks/>
            </p:cNvSpPr>
            <p:nvPr/>
          </p:nvSpPr>
          <p:spPr bwMode="gray">
            <a:xfrm>
              <a:off x="1915866" y="3872497"/>
              <a:ext cx="325437" cy="587083"/>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6" name="Freeform 20"/>
            <p:cNvSpPr>
              <a:spLocks/>
            </p:cNvSpPr>
            <p:nvPr/>
          </p:nvSpPr>
          <p:spPr bwMode="gray">
            <a:xfrm>
              <a:off x="2392116" y="4984088"/>
              <a:ext cx="227012" cy="294461"/>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7" name="Freeform 21"/>
            <p:cNvSpPr>
              <a:spLocks/>
            </p:cNvSpPr>
            <p:nvPr/>
          </p:nvSpPr>
          <p:spPr bwMode="gray">
            <a:xfrm>
              <a:off x="2552454" y="5363207"/>
              <a:ext cx="136525" cy="167475"/>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8" name="Freeform 22"/>
            <p:cNvSpPr>
              <a:spLocks noEditPoints="1"/>
            </p:cNvSpPr>
            <p:nvPr/>
          </p:nvSpPr>
          <p:spPr bwMode="gray">
            <a:xfrm>
              <a:off x="2234954" y="5076107"/>
              <a:ext cx="409575" cy="1056380"/>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49" name="Freeform 23"/>
            <p:cNvSpPr>
              <a:spLocks noEditPoints="1"/>
            </p:cNvSpPr>
            <p:nvPr/>
          </p:nvSpPr>
          <p:spPr bwMode="gray">
            <a:xfrm>
              <a:off x="1861891" y="4257136"/>
              <a:ext cx="155575" cy="230049"/>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50" name="Freeform 24"/>
            <p:cNvSpPr>
              <a:spLocks/>
            </p:cNvSpPr>
            <p:nvPr/>
          </p:nvSpPr>
          <p:spPr bwMode="gray">
            <a:xfrm>
              <a:off x="6125916" y="3971877"/>
              <a:ext cx="76200" cy="149072"/>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51" name="Freeform 25"/>
            <p:cNvSpPr>
              <a:spLocks noEditPoints="1"/>
            </p:cNvSpPr>
            <p:nvPr/>
          </p:nvSpPr>
          <p:spPr bwMode="gray">
            <a:xfrm>
              <a:off x="7114929" y="3659012"/>
              <a:ext cx="273050" cy="520829"/>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52" name="Freeform 26"/>
            <p:cNvSpPr>
              <a:spLocks/>
            </p:cNvSpPr>
            <p:nvPr/>
          </p:nvSpPr>
          <p:spPr bwMode="gray">
            <a:xfrm>
              <a:off x="7130804" y="3428964"/>
              <a:ext cx="47625" cy="117785"/>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53" name="Freeform 27"/>
            <p:cNvSpPr>
              <a:spLocks noEditPoints="1"/>
            </p:cNvSpPr>
            <p:nvPr/>
          </p:nvSpPr>
          <p:spPr bwMode="gray">
            <a:xfrm>
              <a:off x="8169029" y="4544236"/>
              <a:ext cx="138112" cy="152752"/>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54" name="Freeform 28"/>
            <p:cNvSpPr>
              <a:spLocks/>
            </p:cNvSpPr>
            <p:nvPr/>
          </p:nvSpPr>
          <p:spPr bwMode="gray">
            <a:xfrm>
              <a:off x="6668841" y="4078620"/>
              <a:ext cx="115887" cy="189560"/>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55" name="Freeform 29"/>
            <p:cNvSpPr>
              <a:spLocks/>
            </p:cNvSpPr>
            <p:nvPr/>
          </p:nvSpPr>
          <p:spPr bwMode="gray">
            <a:xfrm>
              <a:off x="6718054" y="3804402"/>
              <a:ext cx="141287" cy="145391"/>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56" name="Freeform 30"/>
            <p:cNvSpPr>
              <a:spLocks noEditPoints="1"/>
            </p:cNvSpPr>
            <p:nvPr/>
          </p:nvSpPr>
          <p:spPr bwMode="gray">
            <a:xfrm>
              <a:off x="7165729" y="2970709"/>
              <a:ext cx="106362" cy="184038"/>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57" name="Freeform 31"/>
            <p:cNvSpPr>
              <a:spLocks/>
            </p:cNvSpPr>
            <p:nvPr/>
          </p:nvSpPr>
          <p:spPr bwMode="gray">
            <a:xfrm>
              <a:off x="6629154" y="3528344"/>
              <a:ext cx="227012" cy="305504"/>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58" name="Freeform 32"/>
            <p:cNvSpPr>
              <a:spLocks/>
            </p:cNvSpPr>
            <p:nvPr/>
          </p:nvSpPr>
          <p:spPr bwMode="gray">
            <a:xfrm>
              <a:off x="6568829" y="3600120"/>
              <a:ext cx="234950" cy="518988"/>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59" name="Freeform 33"/>
            <p:cNvSpPr>
              <a:spLocks/>
            </p:cNvSpPr>
            <p:nvPr/>
          </p:nvSpPr>
          <p:spPr bwMode="gray">
            <a:xfrm>
              <a:off x="6679954" y="3498898"/>
              <a:ext cx="228600" cy="515307"/>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60" name="Freeform 34"/>
            <p:cNvSpPr>
              <a:spLocks/>
            </p:cNvSpPr>
            <p:nvPr/>
          </p:nvSpPr>
          <p:spPr bwMode="gray">
            <a:xfrm>
              <a:off x="6071941" y="3244925"/>
              <a:ext cx="223837" cy="150911"/>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61" name="Freeform 35"/>
            <p:cNvSpPr>
              <a:spLocks/>
            </p:cNvSpPr>
            <p:nvPr/>
          </p:nvSpPr>
          <p:spPr bwMode="gray">
            <a:xfrm>
              <a:off x="6300541" y="3322221"/>
              <a:ext cx="98425" cy="60733"/>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62" name="Freeform 36"/>
            <p:cNvSpPr>
              <a:spLocks/>
            </p:cNvSpPr>
            <p:nvPr/>
          </p:nvSpPr>
          <p:spPr bwMode="gray">
            <a:xfrm>
              <a:off x="6297366" y="3386635"/>
              <a:ext cx="138112" cy="184038"/>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63" name="Freeform 37"/>
            <p:cNvSpPr>
              <a:spLocks noEditPoints="1"/>
            </p:cNvSpPr>
            <p:nvPr/>
          </p:nvSpPr>
          <p:spPr bwMode="gray">
            <a:xfrm>
              <a:off x="5795716" y="3055366"/>
              <a:ext cx="730250" cy="1025094"/>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64" name="Freeform 38"/>
            <p:cNvSpPr>
              <a:spLocks/>
            </p:cNvSpPr>
            <p:nvPr/>
          </p:nvSpPr>
          <p:spPr bwMode="gray">
            <a:xfrm>
              <a:off x="6421191" y="3318541"/>
              <a:ext cx="238125" cy="649656"/>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65" name="Freeform 39"/>
            <p:cNvSpPr>
              <a:spLocks/>
            </p:cNvSpPr>
            <p:nvPr/>
          </p:nvSpPr>
          <p:spPr bwMode="gray">
            <a:xfrm>
              <a:off x="7080004" y="2816117"/>
              <a:ext cx="122237" cy="182199"/>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66" name="Freeform 40"/>
            <p:cNvSpPr>
              <a:spLocks noEditPoints="1"/>
            </p:cNvSpPr>
            <p:nvPr/>
          </p:nvSpPr>
          <p:spPr bwMode="gray">
            <a:xfrm>
              <a:off x="5844929" y="2453560"/>
              <a:ext cx="1366837" cy="1222015"/>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67" name="Freeform 41"/>
            <p:cNvSpPr>
              <a:spLocks/>
            </p:cNvSpPr>
            <p:nvPr/>
          </p:nvSpPr>
          <p:spPr bwMode="gray">
            <a:xfrm>
              <a:off x="4381254" y="3042483"/>
              <a:ext cx="19050" cy="22085"/>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68" name="Freeform 42"/>
            <p:cNvSpPr>
              <a:spLocks/>
            </p:cNvSpPr>
            <p:nvPr/>
          </p:nvSpPr>
          <p:spPr bwMode="gray">
            <a:xfrm>
              <a:off x="4838454" y="3070089"/>
              <a:ext cx="53975" cy="38649"/>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69" name="Freeform 43"/>
            <p:cNvSpPr>
              <a:spLocks/>
            </p:cNvSpPr>
            <p:nvPr/>
          </p:nvSpPr>
          <p:spPr bwMode="gray">
            <a:xfrm>
              <a:off x="3592266" y="2043156"/>
              <a:ext cx="222250" cy="97541"/>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70" name="Freeform 44"/>
            <p:cNvSpPr>
              <a:spLocks/>
            </p:cNvSpPr>
            <p:nvPr/>
          </p:nvSpPr>
          <p:spPr bwMode="gray">
            <a:xfrm>
              <a:off x="5359154" y="3386635"/>
              <a:ext cx="125412" cy="138029"/>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71" name="Freeform 45"/>
            <p:cNvSpPr>
              <a:spLocks/>
            </p:cNvSpPr>
            <p:nvPr/>
          </p:nvSpPr>
          <p:spPr bwMode="gray">
            <a:xfrm>
              <a:off x="5382966" y="3440006"/>
              <a:ext cx="203200" cy="288941"/>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72" name="Freeform 46"/>
            <p:cNvSpPr>
              <a:spLocks/>
            </p:cNvSpPr>
            <p:nvPr/>
          </p:nvSpPr>
          <p:spPr bwMode="gray">
            <a:xfrm>
              <a:off x="5340104" y="3395837"/>
              <a:ext cx="26987" cy="64414"/>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73" name="Freeform 47"/>
            <p:cNvSpPr>
              <a:spLocks/>
            </p:cNvSpPr>
            <p:nvPr/>
          </p:nvSpPr>
          <p:spPr bwMode="gray">
            <a:xfrm>
              <a:off x="5582991" y="3020399"/>
              <a:ext cx="392112" cy="458256"/>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74" name="Freeform 48"/>
            <p:cNvSpPr>
              <a:spLocks/>
            </p:cNvSpPr>
            <p:nvPr/>
          </p:nvSpPr>
          <p:spPr bwMode="gray">
            <a:xfrm>
              <a:off x="5008316" y="3009356"/>
              <a:ext cx="254000" cy="287100"/>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75" name="Freeform 49"/>
            <p:cNvSpPr>
              <a:spLocks/>
            </p:cNvSpPr>
            <p:nvPr/>
          </p:nvSpPr>
          <p:spPr bwMode="gray">
            <a:xfrm>
              <a:off x="5219454" y="3265170"/>
              <a:ext cx="49212" cy="53372"/>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76" name="Freeform 50"/>
            <p:cNvSpPr>
              <a:spLocks/>
            </p:cNvSpPr>
            <p:nvPr/>
          </p:nvSpPr>
          <p:spPr bwMode="gray">
            <a:xfrm>
              <a:off x="5117854" y="2924699"/>
              <a:ext cx="536575" cy="511627"/>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77" name="Freeform 51"/>
            <p:cNvSpPr>
              <a:spLocks/>
            </p:cNvSpPr>
            <p:nvPr/>
          </p:nvSpPr>
          <p:spPr bwMode="gray">
            <a:xfrm>
              <a:off x="5692529" y="2882370"/>
              <a:ext cx="207962" cy="154592"/>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78" name="Freeform 52"/>
            <p:cNvSpPr>
              <a:spLocks/>
            </p:cNvSpPr>
            <p:nvPr/>
          </p:nvSpPr>
          <p:spPr bwMode="gray">
            <a:xfrm>
              <a:off x="5735391" y="2808755"/>
              <a:ext cx="250825" cy="136188"/>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79" name="Freeform 53"/>
            <p:cNvSpPr>
              <a:spLocks/>
            </p:cNvSpPr>
            <p:nvPr/>
          </p:nvSpPr>
          <p:spPr bwMode="gray">
            <a:xfrm>
              <a:off x="5311529" y="2821637"/>
              <a:ext cx="377825" cy="263175"/>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80" name="Freeform 54"/>
            <p:cNvSpPr>
              <a:spLocks/>
            </p:cNvSpPr>
            <p:nvPr/>
          </p:nvSpPr>
          <p:spPr bwMode="gray">
            <a:xfrm>
              <a:off x="5548066" y="2970709"/>
              <a:ext cx="339725" cy="318387"/>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81" name="Freeform 55"/>
            <p:cNvSpPr>
              <a:spLocks/>
            </p:cNvSpPr>
            <p:nvPr/>
          </p:nvSpPr>
          <p:spPr bwMode="gray">
            <a:xfrm>
              <a:off x="4913066" y="3191555"/>
              <a:ext cx="558800" cy="552115"/>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82" name="Freeform 56"/>
            <p:cNvSpPr>
              <a:spLocks/>
            </p:cNvSpPr>
            <p:nvPr/>
          </p:nvSpPr>
          <p:spPr bwMode="gray">
            <a:xfrm>
              <a:off x="4909891" y="3105056"/>
              <a:ext cx="42862" cy="68095"/>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83" name="Freeform 57"/>
            <p:cNvSpPr>
              <a:spLocks/>
            </p:cNvSpPr>
            <p:nvPr/>
          </p:nvSpPr>
          <p:spPr bwMode="gray">
            <a:xfrm>
              <a:off x="4921004" y="3009356"/>
              <a:ext cx="166687" cy="178518"/>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84" name="Freeform 58"/>
            <p:cNvSpPr>
              <a:spLocks/>
            </p:cNvSpPr>
            <p:nvPr/>
          </p:nvSpPr>
          <p:spPr bwMode="gray">
            <a:xfrm>
              <a:off x="5097216" y="2871328"/>
              <a:ext cx="84137" cy="92019"/>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785" name="Freeform 59"/>
            <p:cNvSpPr>
              <a:spLocks noEditPoints="1"/>
            </p:cNvSpPr>
            <p:nvPr/>
          </p:nvSpPr>
          <p:spPr bwMode="gray">
            <a:xfrm>
              <a:off x="4651129" y="2843722"/>
              <a:ext cx="496887" cy="220846"/>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58" name="Freeform 60"/>
            <p:cNvSpPr>
              <a:spLocks noEditPoints="1"/>
            </p:cNvSpPr>
            <p:nvPr/>
          </p:nvSpPr>
          <p:spPr bwMode="gray">
            <a:xfrm>
              <a:off x="4533654" y="2858445"/>
              <a:ext cx="203200" cy="237410"/>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61" name="Freeform 61"/>
            <p:cNvSpPr>
              <a:spLocks/>
            </p:cNvSpPr>
            <p:nvPr/>
          </p:nvSpPr>
          <p:spPr bwMode="gray">
            <a:xfrm>
              <a:off x="4500316" y="2827159"/>
              <a:ext cx="55562" cy="106742"/>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62" name="Freeform 62"/>
            <p:cNvSpPr>
              <a:spLocks/>
            </p:cNvSpPr>
            <p:nvPr/>
          </p:nvSpPr>
          <p:spPr bwMode="gray">
            <a:xfrm>
              <a:off x="4579691" y="2773787"/>
              <a:ext cx="149225" cy="101222"/>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65" name="Freeform 63"/>
            <p:cNvSpPr>
              <a:spLocks/>
            </p:cNvSpPr>
            <p:nvPr/>
          </p:nvSpPr>
          <p:spPr bwMode="gray">
            <a:xfrm>
              <a:off x="4536829" y="2836360"/>
              <a:ext cx="61912" cy="57052"/>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66" name="Freeform 64"/>
            <p:cNvSpPr>
              <a:spLocks/>
            </p:cNvSpPr>
            <p:nvPr/>
          </p:nvSpPr>
          <p:spPr bwMode="gray">
            <a:xfrm>
              <a:off x="4673354" y="2628397"/>
              <a:ext cx="79375" cy="103061"/>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69" name="Freeform 65"/>
            <p:cNvSpPr>
              <a:spLocks/>
            </p:cNvSpPr>
            <p:nvPr/>
          </p:nvSpPr>
          <p:spPr bwMode="gray">
            <a:xfrm>
              <a:off x="4265366" y="2667045"/>
              <a:ext cx="7937" cy="11042"/>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70" name="Freeform 66"/>
            <p:cNvSpPr>
              <a:spLocks/>
            </p:cNvSpPr>
            <p:nvPr/>
          </p:nvSpPr>
          <p:spPr bwMode="gray">
            <a:xfrm>
              <a:off x="4525716" y="2633918"/>
              <a:ext cx="230187" cy="160114"/>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73" name="Freeform 67"/>
            <p:cNvSpPr>
              <a:spLocks/>
            </p:cNvSpPr>
            <p:nvPr/>
          </p:nvSpPr>
          <p:spPr bwMode="gray">
            <a:xfrm>
              <a:off x="4414591" y="2736980"/>
              <a:ext cx="96837" cy="99381"/>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74" name="Freeform 68"/>
            <p:cNvSpPr>
              <a:spLocks/>
            </p:cNvSpPr>
            <p:nvPr/>
          </p:nvSpPr>
          <p:spPr bwMode="gray">
            <a:xfrm>
              <a:off x="4368554" y="2694651"/>
              <a:ext cx="136525" cy="119626"/>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77" name="Freeform 69"/>
            <p:cNvSpPr>
              <a:spLocks/>
            </p:cNvSpPr>
            <p:nvPr/>
          </p:nvSpPr>
          <p:spPr bwMode="gray">
            <a:xfrm>
              <a:off x="4360616" y="2679928"/>
              <a:ext cx="77787" cy="51531"/>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78" name="Freeform 70"/>
            <p:cNvSpPr>
              <a:spLocks/>
            </p:cNvSpPr>
            <p:nvPr/>
          </p:nvSpPr>
          <p:spPr bwMode="gray">
            <a:xfrm>
              <a:off x="4441579" y="2589749"/>
              <a:ext cx="133350" cy="64414"/>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81" name="Freeform 71"/>
            <p:cNvSpPr>
              <a:spLocks/>
            </p:cNvSpPr>
            <p:nvPr/>
          </p:nvSpPr>
          <p:spPr bwMode="gray">
            <a:xfrm>
              <a:off x="4427291" y="2624717"/>
              <a:ext cx="160337" cy="95700"/>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82" name="Freeform 72"/>
            <p:cNvSpPr>
              <a:spLocks/>
            </p:cNvSpPr>
            <p:nvPr/>
          </p:nvSpPr>
          <p:spPr bwMode="gray">
            <a:xfrm>
              <a:off x="4525716" y="2359701"/>
              <a:ext cx="128587" cy="84658"/>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84" name="Freeform 73"/>
            <p:cNvSpPr>
              <a:spLocks/>
            </p:cNvSpPr>
            <p:nvPr/>
          </p:nvSpPr>
          <p:spPr bwMode="gray">
            <a:xfrm>
              <a:off x="4185991" y="2648641"/>
              <a:ext cx="109537" cy="71776"/>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86" name="Freeform 74"/>
            <p:cNvSpPr>
              <a:spLocks noEditPoints="1"/>
            </p:cNvSpPr>
            <p:nvPr/>
          </p:nvSpPr>
          <p:spPr bwMode="gray">
            <a:xfrm>
              <a:off x="4200279" y="2674406"/>
              <a:ext cx="293687" cy="358875"/>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89" name="Freeform 75"/>
            <p:cNvSpPr>
              <a:spLocks/>
            </p:cNvSpPr>
            <p:nvPr/>
          </p:nvSpPr>
          <p:spPr bwMode="gray">
            <a:xfrm>
              <a:off x="4330454" y="2540059"/>
              <a:ext cx="157162" cy="86499"/>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90" name="Freeform 76"/>
            <p:cNvSpPr>
              <a:spLocks/>
            </p:cNvSpPr>
            <p:nvPr/>
          </p:nvSpPr>
          <p:spPr bwMode="gray">
            <a:xfrm>
              <a:off x="4374904" y="2414913"/>
              <a:ext cx="234950" cy="195081"/>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93" name="Freeform 77"/>
            <p:cNvSpPr>
              <a:spLocks/>
            </p:cNvSpPr>
            <p:nvPr/>
          </p:nvSpPr>
          <p:spPr bwMode="gray">
            <a:xfrm>
              <a:off x="4182816" y="2571345"/>
              <a:ext cx="19050" cy="20245"/>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96" name="Freeform 78"/>
            <p:cNvSpPr>
              <a:spLocks/>
            </p:cNvSpPr>
            <p:nvPr/>
          </p:nvSpPr>
          <p:spPr bwMode="gray">
            <a:xfrm>
              <a:off x="4273304" y="2608153"/>
              <a:ext cx="171450" cy="90179"/>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97" name="Freeform 79"/>
            <p:cNvSpPr>
              <a:spLocks/>
            </p:cNvSpPr>
            <p:nvPr/>
          </p:nvSpPr>
          <p:spPr bwMode="gray">
            <a:xfrm>
              <a:off x="4120904" y="2460922"/>
              <a:ext cx="101600" cy="93860"/>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98" name="Freeform 80"/>
            <p:cNvSpPr>
              <a:spLocks/>
            </p:cNvSpPr>
            <p:nvPr/>
          </p:nvSpPr>
          <p:spPr bwMode="gray">
            <a:xfrm>
              <a:off x="4116141" y="2527176"/>
              <a:ext cx="84137" cy="66254"/>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999" name="Freeform 81"/>
            <p:cNvSpPr>
              <a:spLocks/>
            </p:cNvSpPr>
            <p:nvPr/>
          </p:nvSpPr>
          <p:spPr bwMode="gray">
            <a:xfrm>
              <a:off x="4189166" y="2413072"/>
              <a:ext cx="209550" cy="253973"/>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24" name="Freeform 82"/>
            <p:cNvSpPr>
              <a:spLocks/>
            </p:cNvSpPr>
            <p:nvPr/>
          </p:nvSpPr>
          <p:spPr bwMode="gray">
            <a:xfrm>
              <a:off x="4074866" y="2827159"/>
              <a:ext cx="11112" cy="7362"/>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28" name="Freeform 83"/>
            <p:cNvSpPr>
              <a:spLocks/>
            </p:cNvSpPr>
            <p:nvPr/>
          </p:nvSpPr>
          <p:spPr bwMode="gray">
            <a:xfrm>
              <a:off x="6087816" y="2503251"/>
              <a:ext cx="787400" cy="362556"/>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043" name="Freeform 84"/>
            <p:cNvSpPr>
              <a:spLocks/>
            </p:cNvSpPr>
            <p:nvPr/>
          </p:nvSpPr>
          <p:spPr bwMode="gray">
            <a:xfrm>
              <a:off x="5003554" y="2794032"/>
              <a:ext cx="173037" cy="93860"/>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27" name="Freeform 85"/>
            <p:cNvSpPr>
              <a:spLocks noEditPoints="1"/>
            </p:cNvSpPr>
            <p:nvPr/>
          </p:nvSpPr>
          <p:spPr bwMode="gray">
            <a:xfrm>
              <a:off x="5135316" y="2852924"/>
              <a:ext cx="134937" cy="125146"/>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30" name="Freeform 86"/>
            <p:cNvSpPr>
              <a:spLocks/>
            </p:cNvSpPr>
            <p:nvPr/>
          </p:nvSpPr>
          <p:spPr bwMode="gray">
            <a:xfrm>
              <a:off x="4565404" y="2497730"/>
              <a:ext cx="420687" cy="268696"/>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31" name="Freeform 87"/>
            <p:cNvSpPr>
              <a:spLocks/>
            </p:cNvSpPr>
            <p:nvPr/>
          </p:nvSpPr>
          <p:spPr bwMode="gray">
            <a:xfrm>
              <a:off x="4579691" y="2372584"/>
              <a:ext cx="214312" cy="161954"/>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34" name="Freeform 88"/>
            <p:cNvSpPr>
              <a:spLocks/>
            </p:cNvSpPr>
            <p:nvPr/>
          </p:nvSpPr>
          <p:spPr bwMode="gray">
            <a:xfrm>
              <a:off x="4522541" y="2306330"/>
              <a:ext cx="160337" cy="80977"/>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35" name="Freeform 89"/>
            <p:cNvSpPr>
              <a:spLocks/>
            </p:cNvSpPr>
            <p:nvPr/>
          </p:nvSpPr>
          <p:spPr bwMode="gray">
            <a:xfrm>
              <a:off x="4490791" y="1938253"/>
              <a:ext cx="236537" cy="312865"/>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38" name="Freeform 90"/>
            <p:cNvSpPr>
              <a:spLocks/>
            </p:cNvSpPr>
            <p:nvPr/>
          </p:nvSpPr>
          <p:spPr bwMode="gray">
            <a:xfrm>
              <a:off x="4913066" y="3180513"/>
              <a:ext cx="17462" cy="46010"/>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39" name="Freeform 91"/>
            <p:cNvSpPr>
              <a:spLocks/>
            </p:cNvSpPr>
            <p:nvPr/>
          </p:nvSpPr>
          <p:spPr bwMode="gray">
            <a:xfrm>
              <a:off x="4921004" y="3151066"/>
              <a:ext cx="104775" cy="152752"/>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42" name="Freeform 92"/>
            <p:cNvSpPr>
              <a:spLocks/>
            </p:cNvSpPr>
            <p:nvPr/>
          </p:nvSpPr>
          <p:spPr bwMode="gray">
            <a:xfrm>
              <a:off x="4898779" y="3147386"/>
              <a:ext cx="36512" cy="139869"/>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43" name="Freeform 93"/>
            <p:cNvSpPr>
              <a:spLocks/>
            </p:cNvSpPr>
            <p:nvPr/>
          </p:nvSpPr>
          <p:spPr bwMode="gray">
            <a:xfrm>
              <a:off x="3579566" y="3347987"/>
              <a:ext cx="223837" cy="222687"/>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46" name="Freeform 94"/>
            <p:cNvSpPr>
              <a:spLocks/>
            </p:cNvSpPr>
            <p:nvPr/>
          </p:nvSpPr>
          <p:spPr bwMode="gray">
            <a:xfrm>
              <a:off x="3587504" y="3868816"/>
              <a:ext cx="69850" cy="66254"/>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47" name="Freeform 95"/>
            <p:cNvSpPr>
              <a:spLocks/>
            </p:cNvSpPr>
            <p:nvPr/>
          </p:nvSpPr>
          <p:spPr bwMode="gray">
            <a:xfrm>
              <a:off x="3576391" y="3830167"/>
              <a:ext cx="85725" cy="25765"/>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50" name="Freeform 96"/>
            <p:cNvSpPr>
              <a:spLocks/>
            </p:cNvSpPr>
            <p:nvPr/>
          </p:nvSpPr>
          <p:spPr bwMode="gray">
            <a:xfrm>
              <a:off x="3706566" y="4008685"/>
              <a:ext cx="115887" cy="152752"/>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4"/>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51" name="Freeform 97"/>
            <p:cNvSpPr>
              <a:spLocks/>
            </p:cNvSpPr>
            <p:nvPr/>
          </p:nvSpPr>
          <p:spPr bwMode="gray">
            <a:xfrm>
              <a:off x="3666879" y="3960835"/>
              <a:ext cx="77787" cy="115945"/>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54" name="Freeform 98"/>
            <p:cNvSpPr>
              <a:spLocks/>
            </p:cNvSpPr>
            <p:nvPr/>
          </p:nvSpPr>
          <p:spPr bwMode="gray">
            <a:xfrm>
              <a:off x="4716216" y="5307996"/>
              <a:ext cx="61912" cy="73615"/>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55" name="Freeform 99"/>
            <p:cNvSpPr>
              <a:spLocks/>
            </p:cNvSpPr>
            <p:nvPr/>
          </p:nvSpPr>
          <p:spPr bwMode="gray">
            <a:xfrm>
              <a:off x="4247904" y="4229531"/>
              <a:ext cx="157162" cy="220846"/>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58" name="Freeform 100"/>
            <p:cNvSpPr>
              <a:spLocks/>
            </p:cNvSpPr>
            <p:nvPr/>
          </p:nvSpPr>
          <p:spPr bwMode="gray">
            <a:xfrm>
              <a:off x="4817816" y="5210455"/>
              <a:ext cx="41275" cy="57052"/>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59" name="Freeform 101"/>
            <p:cNvSpPr>
              <a:spLocks/>
            </p:cNvSpPr>
            <p:nvPr/>
          </p:nvSpPr>
          <p:spPr bwMode="gray">
            <a:xfrm>
              <a:off x="4325691" y="4904951"/>
              <a:ext cx="355600" cy="419607"/>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62" name="Freeform 102"/>
            <p:cNvSpPr>
              <a:spLocks/>
            </p:cNvSpPr>
            <p:nvPr/>
          </p:nvSpPr>
          <p:spPr bwMode="gray">
            <a:xfrm>
              <a:off x="4681291" y="4857101"/>
              <a:ext cx="207962" cy="237410"/>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63" name="Freeform 103"/>
            <p:cNvSpPr>
              <a:spLocks/>
            </p:cNvSpPr>
            <p:nvPr/>
          </p:nvSpPr>
          <p:spPr bwMode="gray">
            <a:xfrm>
              <a:off x="4540004" y="4934397"/>
              <a:ext cx="242887" cy="316546"/>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66" name="Freeform 104"/>
            <p:cNvSpPr>
              <a:spLocks/>
            </p:cNvSpPr>
            <p:nvPr/>
          </p:nvSpPr>
          <p:spPr bwMode="gray">
            <a:xfrm>
              <a:off x="5106741" y="3892740"/>
              <a:ext cx="268287" cy="480341"/>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67" name="Freeform 105"/>
            <p:cNvSpPr>
              <a:spLocks/>
            </p:cNvSpPr>
            <p:nvPr/>
          </p:nvSpPr>
          <p:spPr bwMode="gray">
            <a:xfrm>
              <a:off x="5119441" y="3870656"/>
              <a:ext cx="47625" cy="60733"/>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69" name="Freeform 106"/>
            <p:cNvSpPr>
              <a:spLocks/>
            </p:cNvSpPr>
            <p:nvPr/>
          </p:nvSpPr>
          <p:spPr bwMode="gray">
            <a:xfrm>
              <a:off x="4976566" y="3684778"/>
              <a:ext cx="177800" cy="196922"/>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71" name="Freeform 107"/>
            <p:cNvSpPr>
              <a:spLocks/>
            </p:cNvSpPr>
            <p:nvPr/>
          </p:nvSpPr>
          <p:spPr bwMode="gray">
            <a:xfrm>
              <a:off x="4890841" y="3793360"/>
              <a:ext cx="396875" cy="399364"/>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74" name="Freeform 108"/>
            <p:cNvSpPr>
              <a:spLocks/>
            </p:cNvSpPr>
            <p:nvPr/>
          </p:nvSpPr>
          <p:spPr bwMode="gray">
            <a:xfrm>
              <a:off x="4654304" y="3208118"/>
              <a:ext cx="296862" cy="355195"/>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75" name="Freeform 109"/>
            <p:cNvSpPr>
              <a:spLocks/>
            </p:cNvSpPr>
            <p:nvPr/>
          </p:nvSpPr>
          <p:spPr bwMode="gray">
            <a:xfrm>
              <a:off x="4243141" y="3855933"/>
              <a:ext cx="203200" cy="399364"/>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78" name="Freeform 110"/>
            <p:cNvSpPr>
              <a:spLocks/>
            </p:cNvSpPr>
            <p:nvPr/>
          </p:nvSpPr>
          <p:spPr bwMode="gray">
            <a:xfrm>
              <a:off x="3687516" y="3064568"/>
              <a:ext cx="315912" cy="283419"/>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79" name="Freeform 111"/>
            <p:cNvSpPr>
              <a:spLocks/>
            </p:cNvSpPr>
            <p:nvPr/>
          </p:nvSpPr>
          <p:spPr bwMode="gray">
            <a:xfrm>
              <a:off x="4220916" y="3007516"/>
              <a:ext cx="104775" cy="252133"/>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82" name="Freeform 112"/>
            <p:cNvSpPr>
              <a:spLocks/>
            </p:cNvSpPr>
            <p:nvPr/>
          </p:nvSpPr>
          <p:spPr bwMode="gray">
            <a:xfrm>
              <a:off x="3930404" y="3925867"/>
              <a:ext cx="119062" cy="226368"/>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83" name="Freeform 113"/>
            <p:cNvSpPr>
              <a:spLocks/>
            </p:cNvSpPr>
            <p:nvPr/>
          </p:nvSpPr>
          <p:spPr bwMode="gray">
            <a:xfrm>
              <a:off x="4014541" y="3927708"/>
              <a:ext cx="50800" cy="174837"/>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84" name="Freeform 114"/>
            <p:cNvSpPr>
              <a:spLocks/>
            </p:cNvSpPr>
            <p:nvPr/>
          </p:nvSpPr>
          <p:spPr bwMode="gray">
            <a:xfrm>
              <a:off x="4038354" y="3881698"/>
              <a:ext cx="84137" cy="215325"/>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86" name="Freeform 115"/>
            <p:cNvSpPr>
              <a:spLocks/>
            </p:cNvSpPr>
            <p:nvPr/>
          </p:nvSpPr>
          <p:spPr bwMode="gray">
            <a:xfrm>
              <a:off x="4089154" y="3830167"/>
              <a:ext cx="317500" cy="331269"/>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87" name="Freeform 116"/>
            <p:cNvSpPr>
              <a:spLocks/>
            </p:cNvSpPr>
            <p:nvPr/>
          </p:nvSpPr>
          <p:spPr bwMode="gray">
            <a:xfrm>
              <a:off x="4373316" y="3493378"/>
              <a:ext cx="276225" cy="563157"/>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90" name="Freeform 117"/>
            <p:cNvSpPr>
              <a:spLocks/>
            </p:cNvSpPr>
            <p:nvPr/>
          </p:nvSpPr>
          <p:spPr bwMode="gray">
            <a:xfrm>
              <a:off x="3695454" y="3440006"/>
              <a:ext cx="436562" cy="518988"/>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91" name="Freeform 118"/>
            <p:cNvSpPr>
              <a:spLocks/>
            </p:cNvSpPr>
            <p:nvPr/>
          </p:nvSpPr>
          <p:spPr bwMode="gray">
            <a:xfrm>
              <a:off x="3562104" y="3728947"/>
              <a:ext cx="153987" cy="160114"/>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94" name="Freeform 119"/>
            <p:cNvSpPr>
              <a:spLocks/>
            </p:cNvSpPr>
            <p:nvPr/>
          </p:nvSpPr>
          <p:spPr bwMode="gray">
            <a:xfrm>
              <a:off x="3622429" y="3870656"/>
              <a:ext cx="193675" cy="191400"/>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95" name="Freeform 120"/>
            <p:cNvSpPr>
              <a:spLocks/>
            </p:cNvSpPr>
            <p:nvPr/>
          </p:nvSpPr>
          <p:spPr bwMode="gray">
            <a:xfrm>
              <a:off x="3579566" y="3364551"/>
              <a:ext cx="320675" cy="434330"/>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98" name="Freeform 121"/>
            <p:cNvSpPr>
              <a:spLocks/>
            </p:cNvSpPr>
            <p:nvPr/>
          </p:nvSpPr>
          <p:spPr bwMode="gray">
            <a:xfrm>
              <a:off x="3870079" y="3787839"/>
              <a:ext cx="214312" cy="195081"/>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199" name="Freeform 122"/>
            <p:cNvSpPr>
              <a:spLocks/>
            </p:cNvSpPr>
            <p:nvPr/>
          </p:nvSpPr>
          <p:spPr bwMode="gray">
            <a:xfrm>
              <a:off x="3787529" y="3938750"/>
              <a:ext cx="163512" cy="222687"/>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02" name="Freeform 123"/>
            <p:cNvSpPr>
              <a:spLocks/>
            </p:cNvSpPr>
            <p:nvPr/>
          </p:nvSpPr>
          <p:spPr bwMode="gray">
            <a:xfrm>
              <a:off x="4025654" y="3493378"/>
              <a:ext cx="414337" cy="408565"/>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2"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03" name="Freeform 124"/>
            <p:cNvSpPr>
              <a:spLocks/>
            </p:cNvSpPr>
            <p:nvPr/>
          </p:nvSpPr>
          <p:spPr bwMode="gray">
            <a:xfrm>
              <a:off x="3782766" y="3016718"/>
              <a:ext cx="550862" cy="636773"/>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06" name="Freeform 125"/>
            <p:cNvSpPr>
              <a:spLocks/>
            </p:cNvSpPr>
            <p:nvPr/>
          </p:nvSpPr>
          <p:spPr bwMode="gray">
            <a:xfrm>
              <a:off x="4265366" y="3154747"/>
              <a:ext cx="409575" cy="478500"/>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07" name="Freeform 126"/>
            <p:cNvSpPr>
              <a:spLocks noEditPoints="1"/>
            </p:cNvSpPr>
            <p:nvPr/>
          </p:nvSpPr>
          <p:spPr bwMode="gray">
            <a:xfrm>
              <a:off x="4324104" y="4463259"/>
              <a:ext cx="334962" cy="476660"/>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08" name="Freeform 127"/>
            <p:cNvSpPr>
              <a:spLocks/>
            </p:cNvSpPr>
            <p:nvPr/>
          </p:nvSpPr>
          <p:spPr bwMode="gray">
            <a:xfrm>
              <a:off x="4779716" y="4349155"/>
              <a:ext cx="58737" cy="64414"/>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09" name="Freeform 128"/>
            <p:cNvSpPr>
              <a:spLocks/>
            </p:cNvSpPr>
            <p:nvPr/>
          </p:nvSpPr>
          <p:spPr bwMode="gray">
            <a:xfrm>
              <a:off x="4397129" y="3929548"/>
              <a:ext cx="344487" cy="303664"/>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10" name="Freeform 129"/>
            <p:cNvSpPr>
              <a:spLocks/>
            </p:cNvSpPr>
            <p:nvPr/>
          </p:nvSpPr>
          <p:spPr bwMode="gray">
            <a:xfrm>
              <a:off x="4311404" y="4183521"/>
              <a:ext cx="200025" cy="301823"/>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11" name="Freeform 130"/>
            <p:cNvSpPr>
              <a:spLocks/>
            </p:cNvSpPr>
            <p:nvPr/>
          </p:nvSpPr>
          <p:spPr bwMode="gray">
            <a:xfrm>
              <a:off x="4593979" y="3508101"/>
              <a:ext cx="436562" cy="684623"/>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12" name="Freeform 131"/>
            <p:cNvSpPr>
              <a:spLocks noEditPoints="1"/>
            </p:cNvSpPr>
            <p:nvPr/>
          </p:nvSpPr>
          <p:spPr bwMode="gray">
            <a:xfrm>
              <a:off x="7530854" y="2273203"/>
              <a:ext cx="111125" cy="515307"/>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13" name="Freeform 132"/>
            <p:cNvSpPr>
              <a:spLocks noEditPoints="1"/>
            </p:cNvSpPr>
            <p:nvPr/>
          </p:nvSpPr>
          <p:spPr bwMode="gray">
            <a:xfrm>
              <a:off x="6935541" y="3705021"/>
              <a:ext cx="41275" cy="34968"/>
            </a:xfrm>
            <a:custGeom>
              <a:avLst/>
              <a:gdLst>
                <a:gd name="T0" fmla="*/ 16 w 76"/>
                <a:gd name="T1" fmla="*/ 34 h 52"/>
                <a:gd name="T2" fmla="*/ 11 w 76"/>
                <a:gd name="T3" fmla="*/ 52 h 52"/>
                <a:gd name="T4" fmla="*/ 16 w 76"/>
                <a:gd name="T5" fmla="*/ 34 h 52"/>
                <a:gd name="T6" fmla="*/ 35 w 76"/>
                <a:gd name="T7" fmla="*/ 8 h 52"/>
                <a:gd name="T8" fmla="*/ 47 w 76"/>
                <a:gd name="T9" fmla="*/ 26 h 52"/>
                <a:gd name="T10" fmla="*/ 58 w 76"/>
                <a:gd name="T11" fmla="*/ 21 h 52"/>
                <a:gd name="T12" fmla="*/ 35 w 76"/>
                <a:gd name="T13" fmla="*/ 8 h 52"/>
                <a:gd name="T14" fmla="*/ 71 w 76"/>
                <a:gd name="T15" fmla="*/ 32 h 52"/>
                <a:gd name="T16" fmla="*/ 58 w 76"/>
                <a:gd name="T17" fmla="*/ 42 h 52"/>
                <a:gd name="T18" fmla="*/ 71 w 76"/>
                <a:gd name="T19"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14" name="Freeform 133"/>
            <p:cNvSpPr>
              <a:spLocks noEditPoints="1"/>
            </p:cNvSpPr>
            <p:nvPr/>
          </p:nvSpPr>
          <p:spPr bwMode="gray">
            <a:xfrm>
              <a:off x="7219704" y="2722256"/>
              <a:ext cx="331787" cy="747196"/>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15" name="Freeform 134"/>
            <p:cNvSpPr>
              <a:spLocks noEditPoints="1"/>
            </p:cNvSpPr>
            <p:nvPr/>
          </p:nvSpPr>
          <p:spPr bwMode="gray">
            <a:xfrm>
              <a:off x="4500316" y="1630910"/>
              <a:ext cx="3382962" cy="1247780"/>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16" name="Freeform 135"/>
            <p:cNvSpPr>
              <a:spLocks noEditPoints="1"/>
            </p:cNvSpPr>
            <p:nvPr/>
          </p:nvSpPr>
          <p:spPr bwMode="gray">
            <a:xfrm>
              <a:off x="4311404" y="1969540"/>
              <a:ext cx="257175" cy="430650"/>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17" name="Freeform 136"/>
            <p:cNvSpPr>
              <a:spLocks noEditPoints="1"/>
            </p:cNvSpPr>
            <p:nvPr/>
          </p:nvSpPr>
          <p:spPr bwMode="gray">
            <a:xfrm>
              <a:off x="4181229" y="1658515"/>
              <a:ext cx="506412" cy="655177"/>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18" name="Freeform 137"/>
            <p:cNvSpPr>
              <a:spLocks/>
            </p:cNvSpPr>
            <p:nvPr/>
          </p:nvSpPr>
          <p:spPr bwMode="gray">
            <a:xfrm>
              <a:off x="5140079" y="3651651"/>
              <a:ext cx="273050" cy="213484"/>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19" name="Freeform 138"/>
            <p:cNvSpPr>
              <a:spLocks/>
            </p:cNvSpPr>
            <p:nvPr/>
          </p:nvSpPr>
          <p:spPr bwMode="gray">
            <a:xfrm>
              <a:off x="4262191" y="4233212"/>
              <a:ext cx="57150" cy="46010"/>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20" name="Freeform 139"/>
            <p:cNvSpPr>
              <a:spLocks noEditPoints="1"/>
            </p:cNvSpPr>
            <p:nvPr/>
          </p:nvSpPr>
          <p:spPr bwMode="gray">
            <a:xfrm>
              <a:off x="3816104" y="2788510"/>
              <a:ext cx="331787" cy="268696"/>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21" name="Freeform 140"/>
            <p:cNvSpPr>
              <a:spLocks/>
            </p:cNvSpPr>
            <p:nvPr/>
          </p:nvSpPr>
          <p:spPr bwMode="gray">
            <a:xfrm>
              <a:off x="3801816" y="2845563"/>
              <a:ext cx="87312" cy="180358"/>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22" name="Freeform 141"/>
            <p:cNvSpPr>
              <a:spLocks noEditPoints="1"/>
            </p:cNvSpPr>
            <p:nvPr/>
          </p:nvSpPr>
          <p:spPr bwMode="gray">
            <a:xfrm>
              <a:off x="2057154" y="4128309"/>
              <a:ext cx="1039812" cy="1361884"/>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23" name="Freeform 142"/>
            <p:cNvSpPr>
              <a:spLocks noEditPoints="1"/>
            </p:cNvSpPr>
            <p:nvPr/>
          </p:nvSpPr>
          <p:spPr bwMode="gray">
            <a:xfrm>
              <a:off x="2177804" y="4925196"/>
              <a:ext cx="431800" cy="1312194"/>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24" name="Freeform 143"/>
            <p:cNvSpPr>
              <a:spLocks/>
            </p:cNvSpPr>
            <p:nvPr/>
          </p:nvSpPr>
          <p:spPr bwMode="gray">
            <a:xfrm>
              <a:off x="2136529" y="3620364"/>
              <a:ext cx="96837" cy="71776"/>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25" name="Freeform 144"/>
            <p:cNvSpPr>
              <a:spLocks/>
            </p:cNvSpPr>
            <p:nvPr/>
          </p:nvSpPr>
          <p:spPr bwMode="gray">
            <a:xfrm>
              <a:off x="2074616" y="3618524"/>
              <a:ext cx="74612" cy="69935"/>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26" name="Freeform 145"/>
            <p:cNvSpPr>
              <a:spLocks noEditPoints="1"/>
            </p:cNvSpPr>
            <p:nvPr/>
          </p:nvSpPr>
          <p:spPr bwMode="gray">
            <a:xfrm>
              <a:off x="2565154" y="2538218"/>
              <a:ext cx="1706562" cy="1702355"/>
            </a:xfrm>
            <a:custGeom>
              <a:avLst/>
              <a:gdLst>
                <a:gd name="T0" fmla="*/ 3045 w 3050"/>
                <a:gd name="T1" fmla="*/ 429 h 2623"/>
                <a:gd name="T2" fmla="*/ 3017 w 3050"/>
                <a:gd name="T3" fmla="*/ 487 h 2623"/>
                <a:gd name="T4" fmla="*/ 3043 w 3050"/>
                <a:gd name="T5" fmla="*/ 495 h 2623"/>
                <a:gd name="T6" fmla="*/ 3048 w 3050"/>
                <a:gd name="T7" fmla="*/ 446 h 2623"/>
                <a:gd name="T8" fmla="*/ 2944 w 3050"/>
                <a:gd name="T9" fmla="*/ 106 h 2623"/>
                <a:gd name="T10" fmla="*/ 2924 w 3050"/>
                <a:gd name="T11" fmla="*/ 87 h 2623"/>
                <a:gd name="T12" fmla="*/ 2899 w 3050"/>
                <a:gd name="T13" fmla="*/ 85 h 2623"/>
                <a:gd name="T14" fmla="*/ 2877 w 3050"/>
                <a:gd name="T15" fmla="*/ 77 h 2623"/>
                <a:gd name="T16" fmla="*/ 2843 w 3050"/>
                <a:gd name="T17" fmla="*/ 61 h 2623"/>
                <a:gd name="T18" fmla="*/ 2800 w 3050"/>
                <a:gd name="T19" fmla="*/ 37 h 2623"/>
                <a:gd name="T20" fmla="*/ 2771 w 3050"/>
                <a:gd name="T21" fmla="*/ 12 h 2623"/>
                <a:gd name="T22" fmla="*/ 2715 w 3050"/>
                <a:gd name="T23" fmla="*/ 12 h 2623"/>
                <a:gd name="T24" fmla="*/ 2686 w 3050"/>
                <a:gd name="T25" fmla="*/ 60 h 2623"/>
                <a:gd name="T26" fmla="*/ 2635 w 3050"/>
                <a:gd name="T27" fmla="*/ 97 h 2623"/>
                <a:gd name="T28" fmla="*/ 2580 w 3050"/>
                <a:gd name="T29" fmla="*/ 75 h 2623"/>
                <a:gd name="T30" fmla="*/ 2550 w 3050"/>
                <a:gd name="T31" fmla="*/ 125 h 2623"/>
                <a:gd name="T32" fmla="*/ 2495 w 3050"/>
                <a:gd name="T33" fmla="*/ 124 h 2623"/>
                <a:gd name="T34" fmla="*/ 2450 w 3050"/>
                <a:gd name="T35" fmla="*/ 161 h 2623"/>
                <a:gd name="T36" fmla="*/ 2514 w 3050"/>
                <a:gd name="T37" fmla="*/ 184 h 2623"/>
                <a:gd name="T38" fmla="*/ 2572 w 3050"/>
                <a:gd name="T39" fmla="*/ 199 h 2623"/>
                <a:gd name="T40" fmla="*/ 2597 w 3050"/>
                <a:gd name="T41" fmla="*/ 248 h 2623"/>
                <a:gd name="T42" fmla="*/ 2617 w 3050"/>
                <a:gd name="T43" fmla="*/ 320 h 2623"/>
                <a:gd name="T44" fmla="*/ 2576 w 3050"/>
                <a:gd name="T45" fmla="*/ 391 h 2623"/>
                <a:gd name="T46" fmla="*/ 2578 w 3050"/>
                <a:gd name="T47" fmla="*/ 414 h 2623"/>
                <a:gd name="T48" fmla="*/ 2612 w 3050"/>
                <a:gd name="T49" fmla="*/ 437 h 2623"/>
                <a:gd name="T50" fmla="*/ 2651 w 3050"/>
                <a:gd name="T51" fmla="*/ 441 h 2623"/>
                <a:gd name="T52" fmla="*/ 2673 w 3050"/>
                <a:gd name="T53" fmla="*/ 434 h 2623"/>
                <a:gd name="T54" fmla="*/ 2697 w 3050"/>
                <a:gd name="T55" fmla="*/ 446 h 2623"/>
                <a:gd name="T56" fmla="*/ 2717 w 3050"/>
                <a:gd name="T57" fmla="*/ 454 h 2623"/>
                <a:gd name="T58" fmla="*/ 2742 w 3050"/>
                <a:gd name="T59" fmla="*/ 463 h 2623"/>
                <a:gd name="T60" fmla="*/ 2763 w 3050"/>
                <a:gd name="T61" fmla="*/ 453 h 2623"/>
                <a:gd name="T62" fmla="*/ 2822 w 3050"/>
                <a:gd name="T63" fmla="*/ 397 h 2623"/>
                <a:gd name="T64" fmla="*/ 2882 w 3050"/>
                <a:gd name="T65" fmla="*/ 421 h 2623"/>
                <a:gd name="T66" fmla="*/ 2957 w 3050"/>
                <a:gd name="T67" fmla="*/ 388 h 2623"/>
                <a:gd name="T68" fmla="*/ 2950 w 3050"/>
                <a:gd name="T69" fmla="*/ 367 h 2623"/>
                <a:gd name="T70" fmla="*/ 2940 w 3050"/>
                <a:gd name="T71" fmla="*/ 335 h 2623"/>
                <a:gd name="T72" fmla="*/ 2922 w 3050"/>
                <a:gd name="T73" fmla="*/ 314 h 2623"/>
                <a:gd name="T74" fmla="*/ 2939 w 3050"/>
                <a:gd name="T75" fmla="*/ 289 h 2623"/>
                <a:gd name="T76" fmla="*/ 2934 w 3050"/>
                <a:gd name="T77" fmla="*/ 263 h 2623"/>
                <a:gd name="T78" fmla="*/ 2902 w 3050"/>
                <a:gd name="T79" fmla="*/ 259 h 2623"/>
                <a:gd name="T80" fmla="*/ 2918 w 3050"/>
                <a:gd name="T81" fmla="*/ 226 h 2623"/>
                <a:gd name="T82" fmla="*/ 2943 w 3050"/>
                <a:gd name="T83" fmla="*/ 198 h 2623"/>
                <a:gd name="T84" fmla="*/ 2966 w 3050"/>
                <a:gd name="T85" fmla="*/ 186 h 2623"/>
                <a:gd name="T86" fmla="*/ 2976 w 3050"/>
                <a:gd name="T87" fmla="*/ 128 h 2623"/>
                <a:gd name="T88" fmla="*/ 2982 w 3050"/>
                <a:gd name="T89" fmla="*/ 106 h 2623"/>
                <a:gd name="T90" fmla="*/ 90 w 3050"/>
                <a:gd name="T91" fmla="*/ 2439 h 2623"/>
                <a:gd name="T92" fmla="*/ 32 w 3050"/>
                <a:gd name="T93" fmla="*/ 2444 h 2623"/>
                <a:gd name="T94" fmla="*/ 32 w 3050"/>
                <a:gd name="T95" fmla="*/ 2544 h 2623"/>
                <a:gd name="T96" fmla="*/ 11 w 3050"/>
                <a:gd name="T97" fmla="*/ 2594 h 2623"/>
                <a:gd name="T98" fmla="*/ 38 w 3050"/>
                <a:gd name="T99" fmla="*/ 2611 h 2623"/>
                <a:gd name="T100" fmla="*/ 62 w 3050"/>
                <a:gd name="T101" fmla="*/ 2610 h 2623"/>
                <a:gd name="T102" fmla="*/ 108 w 3050"/>
                <a:gd name="T103" fmla="*/ 2570 h 2623"/>
                <a:gd name="T104" fmla="*/ 125 w 3050"/>
                <a:gd name="T105" fmla="*/ 2479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27" name="Freeform 146"/>
            <p:cNvSpPr>
              <a:spLocks noEditPoints="1"/>
            </p:cNvSpPr>
            <p:nvPr/>
          </p:nvSpPr>
          <p:spPr bwMode="gray">
            <a:xfrm>
              <a:off x="4446341" y="5085309"/>
              <a:ext cx="425450" cy="443533"/>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28" name="Freeform 147"/>
            <p:cNvSpPr>
              <a:spLocks noEditPoints="1"/>
            </p:cNvSpPr>
            <p:nvPr/>
          </p:nvSpPr>
          <p:spPr bwMode="gray">
            <a:xfrm>
              <a:off x="3873254" y="2219832"/>
              <a:ext cx="222250" cy="357034"/>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29" name="Freeform 148"/>
            <p:cNvSpPr>
              <a:spLocks/>
            </p:cNvSpPr>
            <p:nvPr/>
          </p:nvSpPr>
          <p:spPr bwMode="gray">
            <a:xfrm>
              <a:off x="3817691" y="2398349"/>
              <a:ext cx="106362" cy="130668"/>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30" name="Freeform 149"/>
            <p:cNvSpPr>
              <a:spLocks noEditPoints="1"/>
            </p:cNvSpPr>
            <p:nvPr/>
          </p:nvSpPr>
          <p:spPr bwMode="gray">
            <a:xfrm>
              <a:off x="2868366" y="1592261"/>
              <a:ext cx="1479550" cy="831853"/>
            </a:xfrm>
            <a:custGeom>
              <a:avLst/>
              <a:gdLst>
                <a:gd name="T0" fmla="*/ 1565 w 2644"/>
                <a:gd name="T1" fmla="*/ 52 h 1282"/>
                <a:gd name="T2" fmla="*/ 1392 w 2644"/>
                <a:gd name="T3" fmla="*/ 47 h 1282"/>
                <a:gd name="T4" fmla="*/ 1490 w 2644"/>
                <a:gd name="T5" fmla="*/ 10 h 1282"/>
                <a:gd name="T6" fmla="*/ 1129 w 2644"/>
                <a:gd name="T7" fmla="*/ 20 h 1282"/>
                <a:gd name="T8" fmla="*/ 1006 w 2644"/>
                <a:gd name="T9" fmla="*/ 38 h 1282"/>
                <a:gd name="T10" fmla="*/ 728 w 2644"/>
                <a:gd name="T11" fmla="*/ 51 h 1282"/>
                <a:gd name="T12" fmla="*/ 452 w 2644"/>
                <a:gd name="T13" fmla="*/ 80 h 1282"/>
                <a:gd name="T14" fmla="*/ 236 w 2644"/>
                <a:gd name="T15" fmla="*/ 157 h 1282"/>
                <a:gd name="T16" fmla="*/ 83 w 2644"/>
                <a:gd name="T17" fmla="*/ 219 h 1282"/>
                <a:gd name="T18" fmla="*/ 96 w 2644"/>
                <a:gd name="T19" fmla="*/ 231 h 1282"/>
                <a:gd name="T20" fmla="*/ 106 w 2644"/>
                <a:gd name="T21" fmla="*/ 266 h 1282"/>
                <a:gd name="T22" fmla="*/ 313 w 2644"/>
                <a:gd name="T23" fmla="*/ 274 h 1282"/>
                <a:gd name="T24" fmla="*/ 399 w 2644"/>
                <a:gd name="T25" fmla="*/ 369 h 1282"/>
                <a:gd name="T26" fmla="*/ 370 w 2644"/>
                <a:gd name="T27" fmla="*/ 445 h 1282"/>
                <a:gd name="T28" fmla="*/ 438 w 2644"/>
                <a:gd name="T29" fmla="*/ 447 h 1282"/>
                <a:gd name="T30" fmla="*/ 432 w 2644"/>
                <a:gd name="T31" fmla="*/ 517 h 1282"/>
                <a:gd name="T32" fmla="*/ 456 w 2644"/>
                <a:gd name="T33" fmla="*/ 542 h 1282"/>
                <a:gd name="T34" fmla="*/ 421 w 2644"/>
                <a:gd name="T35" fmla="*/ 578 h 1282"/>
                <a:gd name="T36" fmla="*/ 408 w 2644"/>
                <a:gd name="T37" fmla="*/ 639 h 1282"/>
                <a:gd name="T38" fmla="*/ 354 w 2644"/>
                <a:gd name="T39" fmla="*/ 640 h 1282"/>
                <a:gd name="T40" fmla="*/ 276 w 2644"/>
                <a:gd name="T41" fmla="*/ 668 h 1282"/>
                <a:gd name="T42" fmla="*/ 273 w 2644"/>
                <a:gd name="T43" fmla="*/ 727 h 1282"/>
                <a:gd name="T44" fmla="*/ 270 w 2644"/>
                <a:gd name="T45" fmla="*/ 802 h 1282"/>
                <a:gd name="T46" fmla="*/ 328 w 2644"/>
                <a:gd name="T47" fmla="*/ 798 h 1282"/>
                <a:gd name="T48" fmla="*/ 286 w 2644"/>
                <a:gd name="T49" fmla="*/ 851 h 1282"/>
                <a:gd name="T50" fmla="*/ 322 w 2644"/>
                <a:gd name="T51" fmla="*/ 925 h 1282"/>
                <a:gd name="T52" fmla="*/ 398 w 2644"/>
                <a:gd name="T53" fmla="*/ 969 h 1282"/>
                <a:gd name="T54" fmla="*/ 443 w 2644"/>
                <a:gd name="T55" fmla="*/ 1000 h 1282"/>
                <a:gd name="T56" fmla="*/ 540 w 2644"/>
                <a:gd name="T57" fmla="*/ 948 h 1282"/>
                <a:gd name="T58" fmla="*/ 585 w 2644"/>
                <a:gd name="T59" fmla="*/ 903 h 1282"/>
                <a:gd name="T60" fmla="*/ 625 w 2644"/>
                <a:gd name="T61" fmla="*/ 858 h 1282"/>
                <a:gd name="T62" fmla="*/ 673 w 2644"/>
                <a:gd name="T63" fmla="*/ 802 h 1282"/>
                <a:gd name="T64" fmla="*/ 752 w 2644"/>
                <a:gd name="T65" fmla="*/ 741 h 1282"/>
                <a:gd name="T66" fmla="*/ 841 w 2644"/>
                <a:gd name="T67" fmla="*/ 727 h 1282"/>
                <a:gd name="T68" fmla="*/ 1053 w 2644"/>
                <a:gd name="T69" fmla="*/ 599 h 1282"/>
                <a:gd name="T70" fmla="*/ 1317 w 2644"/>
                <a:gd name="T71" fmla="*/ 578 h 1282"/>
                <a:gd name="T72" fmla="*/ 1303 w 2644"/>
                <a:gd name="T73" fmla="*/ 524 h 1282"/>
                <a:gd name="T74" fmla="*/ 1217 w 2644"/>
                <a:gd name="T75" fmla="*/ 512 h 1282"/>
                <a:gd name="T76" fmla="*/ 1271 w 2644"/>
                <a:gd name="T77" fmla="*/ 465 h 1282"/>
                <a:gd name="T78" fmla="*/ 1427 w 2644"/>
                <a:gd name="T79" fmla="*/ 502 h 1282"/>
                <a:gd name="T80" fmla="*/ 1425 w 2644"/>
                <a:gd name="T81" fmla="*/ 459 h 1282"/>
                <a:gd name="T82" fmla="*/ 1303 w 2644"/>
                <a:gd name="T83" fmla="*/ 412 h 1282"/>
                <a:gd name="T84" fmla="*/ 1471 w 2644"/>
                <a:gd name="T85" fmla="*/ 404 h 1282"/>
                <a:gd name="T86" fmla="*/ 1535 w 2644"/>
                <a:gd name="T87" fmla="*/ 368 h 1282"/>
                <a:gd name="T88" fmla="*/ 1546 w 2644"/>
                <a:gd name="T89" fmla="*/ 334 h 1282"/>
                <a:gd name="T90" fmla="*/ 1594 w 2644"/>
                <a:gd name="T91" fmla="*/ 289 h 1282"/>
                <a:gd name="T92" fmla="*/ 1590 w 2644"/>
                <a:gd name="T93" fmla="*/ 221 h 1282"/>
                <a:gd name="T94" fmla="*/ 1627 w 2644"/>
                <a:gd name="T95" fmla="*/ 165 h 1282"/>
                <a:gd name="T96" fmla="*/ 1659 w 2644"/>
                <a:gd name="T97" fmla="*/ 111 h 1282"/>
                <a:gd name="T98" fmla="*/ 1807 w 2644"/>
                <a:gd name="T99" fmla="*/ 79 h 1282"/>
                <a:gd name="T100" fmla="*/ 371 w 2644"/>
                <a:gd name="T101" fmla="*/ 534 h 1282"/>
                <a:gd name="T102" fmla="*/ 2531 w 2644"/>
                <a:gd name="T103" fmla="*/ 1160 h 1282"/>
                <a:gd name="T104" fmla="*/ 2458 w 2644"/>
                <a:gd name="T105" fmla="*/ 1164 h 1282"/>
                <a:gd name="T106" fmla="*/ 2471 w 2644"/>
                <a:gd name="T107" fmla="*/ 1249 h 1282"/>
                <a:gd name="T108" fmla="*/ 2517 w 2644"/>
                <a:gd name="T109" fmla="*/ 1268 h 1282"/>
                <a:gd name="T110" fmla="*/ 2531 w 2644"/>
                <a:gd name="T111" fmla="*/ 1179 h 1282"/>
                <a:gd name="T112" fmla="*/ 2577 w 2644"/>
                <a:gd name="T113" fmla="*/ 1240 h 1282"/>
                <a:gd name="T114" fmla="*/ 2624 w 2644"/>
                <a:gd name="T115" fmla="*/ 1211 h 1282"/>
                <a:gd name="T116" fmla="*/ 2629 w 2644"/>
                <a:gd name="T117" fmla="*/ 1260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31" name="Freeform 150"/>
            <p:cNvSpPr>
              <a:spLocks noEditPoints="1"/>
            </p:cNvSpPr>
            <p:nvPr/>
          </p:nvSpPr>
          <p:spPr bwMode="gray">
            <a:xfrm>
              <a:off x="4535241" y="2258480"/>
              <a:ext cx="133350" cy="69935"/>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32" name="Freeform 151"/>
            <p:cNvSpPr>
              <a:spLocks/>
            </p:cNvSpPr>
            <p:nvPr/>
          </p:nvSpPr>
          <p:spPr bwMode="gray">
            <a:xfrm>
              <a:off x="6933954" y="4054694"/>
              <a:ext cx="258762" cy="230049"/>
            </a:xfrm>
            <a:custGeom>
              <a:avLst/>
              <a:gdLst>
                <a:gd name="T0" fmla="*/ 9 w 461"/>
                <a:gd name="T1" fmla="*/ 338 h 355"/>
                <a:gd name="T2" fmla="*/ 43 w 461"/>
                <a:gd name="T3" fmla="*/ 352 h 355"/>
                <a:gd name="T4" fmla="*/ 61 w 461"/>
                <a:gd name="T5" fmla="*/ 342 h 355"/>
                <a:gd name="T6" fmla="*/ 98 w 461"/>
                <a:gd name="T7" fmla="*/ 345 h 355"/>
                <a:gd name="T8" fmla="*/ 121 w 461"/>
                <a:gd name="T9" fmla="*/ 318 h 355"/>
                <a:gd name="T10" fmla="*/ 150 w 461"/>
                <a:gd name="T11" fmla="*/ 318 h 355"/>
                <a:gd name="T12" fmla="*/ 182 w 461"/>
                <a:gd name="T13" fmla="*/ 335 h 355"/>
                <a:gd name="T14" fmla="*/ 203 w 461"/>
                <a:gd name="T15" fmla="*/ 322 h 355"/>
                <a:gd name="T16" fmla="*/ 219 w 461"/>
                <a:gd name="T17" fmla="*/ 322 h 355"/>
                <a:gd name="T18" fmla="*/ 236 w 461"/>
                <a:gd name="T19" fmla="*/ 299 h 355"/>
                <a:gd name="T20" fmla="*/ 235 w 461"/>
                <a:gd name="T21" fmla="*/ 287 h 355"/>
                <a:gd name="T22" fmla="*/ 257 w 461"/>
                <a:gd name="T23" fmla="*/ 268 h 355"/>
                <a:gd name="T24" fmla="*/ 252 w 461"/>
                <a:gd name="T25" fmla="*/ 243 h 355"/>
                <a:gd name="T26" fmla="*/ 265 w 461"/>
                <a:gd name="T27" fmla="*/ 235 h 355"/>
                <a:gd name="T28" fmla="*/ 275 w 461"/>
                <a:gd name="T29" fmla="*/ 204 h 355"/>
                <a:gd name="T30" fmla="*/ 284 w 461"/>
                <a:gd name="T31" fmla="*/ 165 h 355"/>
                <a:gd name="T32" fmla="*/ 344 w 461"/>
                <a:gd name="T33" fmla="*/ 166 h 355"/>
                <a:gd name="T34" fmla="*/ 375 w 461"/>
                <a:gd name="T35" fmla="*/ 190 h 355"/>
                <a:gd name="T36" fmla="*/ 374 w 461"/>
                <a:gd name="T37" fmla="*/ 189 h 355"/>
                <a:gd name="T38" fmla="*/ 387 w 461"/>
                <a:gd name="T39" fmla="*/ 186 h 355"/>
                <a:gd name="T40" fmla="*/ 378 w 461"/>
                <a:gd name="T41" fmla="*/ 144 h 355"/>
                <a:gd name="T42" fmla="*/ 402 w 461"/>
                <a:gd name="T43" fmla="*/ 162 h 355"/>
                <a:gd name="T44" fmla="*/ 427 w 461"/>
                <a:gd name="T45" fmla="*/ 160 h 355"/>
                <a:gd name="T46" fmla="*/ 408 w 461"/>
                <a:gd name="T47" fmla="*/ 126 h 355"/>
                <a:gd name="T48" fmla="*/ 444 w 461"/>
                <a:gd name="T49" fmla="*/ 131 h 355"/>
                <a:gd name="T50" fmla="*/ 461 w 461"/>
                <a:gd name="T51" fmla="*/ 111 h 355"/>
                <a:gd name="T52" fmla="*/ 444 w 461"/>
                <a:gd name="T53" fmla="*/ 105 h 355"/>
                <a:gd name="T54" fmla="*/ 433 w 461"/>
                <a:gd name="T55" fmla="*/ 88 h 355"/>
                <a:gd name="T56" fmla="*/ 393 w 461"/>
                <a:gd name="T57" fmla="*/ 77 h 355"/>
                <a:gd name="T58" fmla="*/ 380 w 461"/>
                <a:gd name="T59" fmla="*/ 46 h 355"/>
                <a:gd name="T60" fmla="*/ 354 w 461"/>
                <a:gd name="T61" fmla="*/ 42 h 355"/>
                <a:gd name="T62" fmla="*/ 343 w 461"/>
                <a:gd name="T63" fmla="*/ 1 h 355"/>
                <a:gd name="T64" fmla="*/ 339 w 461"/>
                <a:gd name="T65" fmla="*/ 14 h 355"/>
                <a:gd name="T66" fmla="*/ 329 w 461"/>
                <a:gd name="T67" fmla="*/ 0 h 355"/>
                <a:gd name="T68" fmla="*/ 323 w 461"/>
                <a:gd name="T69" fmla="*/ 41 h 355"/>
                <a:gd name="T70" fmla="*/ 301 w 461"/>
                <a:gd name="T71" fmla="*/ 50 h 355"/>
                <a:gd name="T72" fmla="*/ 293 w 461"/>
                <a:gd name="T73" fmla="*/ 77 h 355"/>
                <a:gd name="T74" fmla="*/ 276 w 461"/>
                <a:gd name="T75" fmla="*/ 83 h 355"/>
                <a:gd name="T76" fmla="*/ 283 w 461"/>
                <a:gd name="T77" fmla="*/ 107 h 355"/>
                <a:gd name="T78" fmla="*/ 243 w 461"/>
                <a:gd name="T79" fmla="*/ 101 h 355"/>
                <a:gd name="T80" fmla="*/ 227 w 461"/>
                <a:gd name="T81" fmla="*/ 136 h 355"/>
                <a:gd name="T82" fmla="*/ 200 w 461"/>
                <a:gd name="T83" fmla="*/ 166 h 355"/>
                <a:gd name="T84" fmla="*/ 176 w 461"/>
                <a:gd name="T85" fmla="*/ 213 h 355"/>
                <a:gd name="T86" fmla="*/ 110 w 461"/>
                <a:gd name="T87" fmla="*/ 235 h 355"/>
                <a:gd name="T88" fmla="*/ 69 w 461"/>
                <a:gd name="T89" fmla="*/ 262 h 355"/>
                <a:gd name="T90" fmla="*/ 60 w 461"/>
                <a:gd name="T91" fmla="*/ 285 h 355"/>
                <a:gd name="T92" fmla="*/ 65 w 461"/>
                <a:gd name="T93" fmla="*/ 317 h 355"/>
                <a:gd name="T94" fmla="*/ 23 w 461"/>
                <a:gd name="T95" fmla="*/ 305 h 355"/>
                <a:gd name="T96" fmla="*/ 0 w 461"/>
                <a:gd name="T97" fmla="*/ 322 h 355"/>
                <a:gd name="T98" fmla="*/ 0 w 461"/>
                <a:gd name="T99" fmla="*/ 322 h 355"/>
                <a:gd name="T100" fmla="*/ 9 w 461"/>
                <a:gd name="T101" fmla="*/ 3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33" name="Freeform 152"/>
            <p:cNvSpPr>
              <a:spLocks noEditPoints="1"/>
            </p:cNvSpPr>
            <p:nvPr/>
          </p:nvSpPr>
          <p:spPr bwMode="gray">
            <a:xfrm>
              <a:off x="7299079" y="4601289"/>
              <a:ext cx="95250" cy="49691"/>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34" name="Freeform 153"/>
            <p:cNvSpPr>
              <a:spLocks noEditPoints="1"/>
            </p:cNvSpPr>
            <p:nvPr/>
          </p:nvSpPr>
          <p:spPr bwMode="gray">
            <a:xfrm>
              <a:off x="7741991" y="4373081"/>
              <a:ext cx="409575" cy="318387"/>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35" name="Freeform 154"/>
            <p:cNvSpPr>
              <a:spLocks noEditPoints="1"/>
            </p:cNvSpPr>
            <p:nvPr/>
          </p:nvSpPr>
          <p:spPr bwMode="gray">
            <a:xfrm>
              <a:off x="6540254" y="4113586"/>
              <a:ext cx="1220787" cy="570519"/>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36" name="Freeform 155"/>
            <p:cNvSpPr>
              <a:spLocks noEditPoints="1"/>
            </p:cNvSpPr>
            <p:nvPr/>
          </p:nvSpPr>
          <p:spPr bwMode="gray">
            <a:xfrm>
              <a:off x="7980116" y="5508597"/>
              <a:ext cx="476250" cy="426969"/>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37" name="Freeform 156"/>
            <p:cNvSpPr>
              <a:spLocks noEditPoints="1"/>
            </p:cNvSpPr>
            <p:nvPr/>
          </p:nvSpPr>
          <p:spPr bwMode="gray">
            <a:xfrm>
              <a:off x="6905379" y="4684105"/>
              <a:ext cx="1062037" cy="1152080"/>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1"/>
                    <a:pt x="1223" y="261"/>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3"/>
                    <a:pt x="569" y="333"/>
                    <a:pt x="569" y="333"/>
                  </a:cubicBezTo>
                  <a:cubicBezTo>
                    <a:pt x="569" y="333"/>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38" name="Freeform 157"/>
            <p:cNvSpPr>
              <a:spLocks/>
            </p:cNvSpPr>
            <p:nvPr/>
          </p:nvSpPr>
          <p:spPr bwMode="gray">
            <a:xfrm>
              <a:off x="2038104" y="2825318"/>
              <a:ext cx="11112" cy="16564"/>
            </a:xfrm>
            <a:custGeom>
              <a:avLst/>
              <a:gdLst>
                <a:gd name="T0" fmla="*/ 0 w 22"/>
                <a:gd name="T1" fmla="*/ 15 h 25"/>
                <a:gd name="T2" fmla="*/ 12 w 22"/>
                <a:gd name="T3" fmla="*/ 22 h 25"/>
                <a:gd name="T4" fmla="*/ 15 w 22"/>
                <a:gd name="T5" fmla="*/ 9 h 25"/>
                <a:gd name="T6" fmla="*/ 0 w 22"/>
                <a:gd name="T7" fmla="*/ 15 h 25"/>
              </a:gdLst>
              <a:ahLst/>
              <a:cxnLst>
                <a:cxn ang="0">
                  <a:pos x="T0" y="T1"/>
                </a:cxn>
                <a:cxn ang="0">
                  <a:pos x="T2" y="T3"/>
                </a:cxn>
                <a:cxn ang="0">
                  <a:pos x="T4" y="T5"/>
                </a:cxn>
                <a:cxn ang="0">
                  <a:pos x="T6" y="T7"/>
                </a:cxn>
              </a:cxnLst>
              <a:rect l="0" t="0" r="r" b="b"/>
              <a:pathLst>
                <a:path w="22" h="25">
                  <a:moveTo>
                    <a:pt x="0" y="15"/>
                  </a:moveTo>
                  <a:cubicBezTo>
                    <a:pt x="0" y="15"/>
                    <a:pt x="2" y="25"/>
                    <a:pt x="12" y="22"/>
                  </a:cubicBezTo>
                  <a:cubicBezTo>
                    <a:pt x="22" y="19"/>
                    <a:pt x="18" y="18"/>
                    <a:pt x="15" y="9"/>
                  </a:cubicBezTo>
                  <a:cubicBezTo>
                    <a:pt x="12" y="0"/>
                    <a:pt x="0" y="4"/>
                    <a:pt x="0" y="1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39" name="Freeform 158"/>
            <p:cNvSpPr>
              <a:spLocks noEditPoints="1"/>
            </p:cNvSpPr>
            <p:nvPr/>
          </p:nvSpPr>
          <p:spPr bwMode="gray">
            <a:xfrm>
              <a:off x="1071316" y="1601463"/>
              <a:ext cx="2081212" cy="1249621"/>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40" name="Freeform 159"/>
            <p:cNvSpPr>
              <a:spLocks/>
            </p:cNvSpPr>
            <p:nvPr/>
          </p:nvSpPr>
          <p:spPr bwMode="gray">
            <a:xfrm>
              <a:off x="1857129" y="4310508"/>
              <a:ext cx="352425" cy="645975"/>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41" name="Freeform 160"/>
            <p:cNvSpPr>
              <a:spLocks noEditPoints="1"/>
            </p:cNvSpPr>
            <p:nvPr/>
          </p:nvSpPr>
          <p:spPr bwMode="gray">
            <a:xfrm>
              <a:off x="2174629" y="4649138"/>
              <a:ext cx="338137" cy="461937"/>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42" name="Freeform 161"/>
            <p:cNvSpPr>
              <a:spLocks/>
            </p:cNvSpPr>
            <p:nvPr/>
          </p:nvSpPr>
          <p:spPr bwMode="gray">
            <a:xfrm>
              <a:off x="5378204" y="2727778"/>
              <a:ext cx="446087" cy="290781"/>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43" name="Freeform 162"/>
            <p:cNvSpPr>
              <a:spLocks noEditPoints="1"/>
            </p:cNvSpPr>
            <p:nvPr/>
          </p:nvSpPr>
          <p:spPr bwMode="gray">
            <a:xfrm>
              <a:off x="5135316" y="2396509"/>
              <a:ext cx="936625" cy="504265"/>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44" name="Freeform 163"/>
            <p:cNvSpPr>
              <a:spLocks/>
            </p:cNvSpPr>
            <p:nvPr/>
          </p:nvSpPr>
          <p:spPr bwMode="gray">
            <a:xfrm>
              <a:off x="4809879" y="4678585"/>
              <a:ext cx="284162" cy="577880"/>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45" name="Freeform 164"/>
            <p:cNvSpPr>
              <a:spLocks/>
            </p:cNvSpPr>
            <p:nvPr/>
          </p:nvSpPr>
          <p:spPr bwMode="gray">
            <a:xfrm>
              <a:off x="4879729" y="4641777"/>
              <a:ext cx="90487" cy="270537"/>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46" name="Freeform 165"/>
            <p:cNvSpPr>
              <a:spLocks/>
            </p:cNvSpPr>
            <p:nvPr/>
          </p:nvSpPr>
          <p:spPr bwMode="gray">
            <a:xfrm>
              <a:off x="4597154" y="4597608"/>
              <a:ext cx="314325" cy="347833"/>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47" name="Freeform 166"/>
            <p:cNvSpPr>
              <a:spLocks/>
            </p:cNvSpPr>
            <p:nvPr/>
          </p:nvSpPr>
          <p:spPr bwMode="gray">
            <a:xfrm>
              <a:off x="4343154" y="4124629"/>
              <a:ext cx="504825" cy="658857"/>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48" name="Freeform 167"/>
            <p:cNvSpPr>
              <a:spLocks/>
            </p:cNvSpPr>
            <p:nvPr/>
          </p:nvSpPr>
          <p:spPr bwMode="gray">
            <a:xfrm>
              <a:off x="4787654" y="4397005"/>
              <a:ext cx="47625" cy="73615"/>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49" name="Freeform 168"/>
            <p:cNvSpPr>
              <a:spLocks noEditPoints="1"/>
            </p:cNvSpPr>
            <p:nvPr/>
          </p:nvSpPr>
          <p:spPr bwMode="gray">
            <a:xfrm>
              <a:off x="4801941" y="4349155"/>
              <a:ext cx="285750" cy="375438"/>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50" name="Freeform 169"/>
            <p:cNvSpPr>
              <a:spLocks noEditPoints="1"/>
            </p:cNvSpPr>
            <p:nvPr/>
          </p:nvSpPr>
          <p:spPr bwMode="gray">
            <a:xfrm>
              <a:off x="4803529" y="4166958"/>
              <a:ext cx="149225" cy="204283"/>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51" name="Freeform 170"/>
            <p:cNvSpPr>
              <a:spLocks/>
            </p:cNvSpPr>
            <p:nvPr/>
          </p:nvSpPr>
          <p:spPr bwMode="gray">
            <a:xfrm>
              <a:off x="4917829" y="4148554"/>
              <a:ext cx="212725" cy="329429"/>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52" name="Freeform 171"/>
            <p:cNvSpPr>
              <a:spLocks noEditPoints="1"/>
            </p:cNvSpPr>
            <p:nvPr/>
          </p:nvSpPr>
          <p:spPr bwMode="gray">
            <a:xfrm>
              <a:off x="1707904" y="3795201"/>
              <a:ext cx="122237" cy="143550"/>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53" name="Freeform 172"/>
            <p:cNvSpPr>
              <a:spLocks/>
            </p:cNvSpPr>
            <p:nvPr/>
          </p:nvSpPr>
          <p:spPr bwMode="gray">
            <a:xfrm>
              <a:off x="1741241" y="3922186"/>
              <a:ext cx="90487" cy="99381"/>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54" name="Freeform 173"/>
            <p:cNvSpPr>
              <a:spLocks/>
            </p:cNvSpPr>
            <p:nvPr/>
          </p:nvSpPr>
          <p:spPr bwMode="gray">
            <a:xfrm>
              <a:off x="4482854" y="2794032"/>
              <a:ext cx="44450" cy="58892"/>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55" name="Freeform 174"/>
            <p:cNvSpPr>
              <a:spLocks noEditPoints="1"/>
            </p:cNvSpPr>
            <p:nvPr/>
          </p:nvSpPr>
          <p:spPr bwMode="gray">
            <a:xfrm>
              <a:off x="4490791" y="2702013"/>
              <a:ext cx="104775" cy="150911"/>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56" name="Freeform 175"/>
            <p:cNvSpPr>
              <a:spLocks noEditPoints="1"/>
            </p:cNvSpPr>
            <p:nvPr/>
          </p:nvSpPr>
          <p:spPr bwMode="gray">
            <a:xfrm>
              <a:off x="241054" y="1903286"/>
              <a:ext cx="1147762" cy="574200"/>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57" name="Freeform 176"/>
            <p:cNvSpPr>
              <a:spLocks noEditPoints="1"/>
            </p:cNvSpPr>
            <p:nvPr/>
          </p:nvSpPr>
          <p:spPr bwMode="gray">
            <a:xfrm>
              <a:off x="991941" y="2591590"/>
              <a:ext cx="1460500" cy="846576"/>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258" name="Freeform 130"/>
            <p:cNvSpPr>
              <a:spLocks/>
            </p:cNvSpPr>
            <p:nvPr/>
          </p:nvSpPr>
          <p:spPr bwMode="gray">
            <a:xfrm>
              <a:off x="4638283" y="3893977"/>
              <a:ext cx="329710" cy="298748"/>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 name="connsiteX0" fmla="*/ 7668 w 9973"/>
                <a:gd name="connsiteY0" fmla="*/ 152 h 10000"/>
                <a:gd name="connsiteX1" fmla="*/ 7540 w 9973"/>
                <a:gd name="connsiteY1" fmla="*/ 408 h 10000"/>
                <a:gd name="connsiteX2" fmla="*/ 7259 w 9973"/>
                <a:gd name="connsiteY2" fmla="*/ 436 h 10000"/>
                <a:gd name="connsiteX3" fmla="*/ 6977 w 9973"/>
                <a:gd name="connsiteY3" fmla="*/ 731 h 10000"/>
                <a:gd name="connsiteX4" fmla="*/ 6657 w 9973"/>
                <a:gd name="connsiteY4" fmla="*/ 560 h 10000"/>
                <a:gd name="connsiteX5" fmla="*/ 5645 w 9973"/>
                <a:gd name="connsiteY5" fmla="*/ 531 h 10000"/>
                <a:gd name="connsiteX6" fmla="*/ 5581 w 9973"/>
                <a:gd name="connsiteY6" fmla="*/ 455 h 10000"/>
                <a:gd name="connsiteX7" fmla="*/ 5466 w 9973"/>
                <a:gd name="connsiteY7" fmla="*/ 569 h 10000"/>
                <a:gd name="connsiteX8" fmla="*/ 1804 w 9973"/>
                <a:gd name="connsiteY8" fmla="*/ 531 h 10000"/>
                <a:gd name="connsiteX9" fmla="*/ 1817 w 9973"/>
                <a:gd name="connsiteY9" fmla="*/ 1556 h 10000"/>
                <a:gd name="connsiteX10" fmla="*/ 1202 w 9973"/>
                <a:gd name="connsiteY10" fmla="*/ 1565 h 10000"/>
                <a:gd name="connsiteX11" fmla="*/ 1266 w 9973"/>
                <a:gd name="connsiteY11" fmla="*/ 3776 h 10000"/>
                <a:gd name="connsiteX12" fmla="*/ 690 w 9973"/>
                <a:gd name="connsiteY12" fmla="*/ 3767 h 10000"/>
                <a:gd name="connsiteX13" fmla="*/ 664 w 9973"/>
                <a:gd name="connsiteY13" fmla="*/ 3985 h 10000"/>
                <a:gd name="connsiteX14" fmla="*/ 498 w 9973"/>
                <a:gd name="connsiteY14" fmla="*/ 4118 h 10000"/>
                <a:gd name="connsiteX15" fmla="*/ 447 w 9973"/>
                <a:gd name="connsiteY15" fmla="*/ 4288 h 10000"/>
                <a:gd name="connsiteX16" fmla="*/ 319 w 9973"/>
                <a:gd name="connsiteY16" fmla="*/ 4288 h 10000"/>
                <a:gd name="connsiteX17" fmla="*/ 357 w 9973"/>
                <a:gd name="connsiteY17" fmla="*/ 4440 h 10000"/>
                <a:gd name="connsiteX18" fmla="*/ 421 w 9973"/>
                <a:gd name="connsiteY18" fmla="*/ 4545 h 10000"/>
                <a:gd name="connsiteX19" fmla="*/ 280 w 9973"/>
                <a:gd name="connsiteY19" fmla="*/ 4611 h 10000"/>
                <a:gd name="connsiteX20" fmla="*/ 165 w 9973"/>
                <a:gd name="connsiteY20" fmla="*/ 4782 h 10000"/>
                <a:gd name="connsiteX21" fmla="*/ 255 w 9973"/>
                <a:gd name="connsiteY21" fmla="*/ 5000 h 10000"/>
                <a:gd name="connsiteX22" fmla="*/ 11 w 9973"/>
                <a:gd name="connsiteY22" fmla="*/ 5190 h 10000"/>
                <a:gd name="connsiteX23" fmla="*/ 114 w 9973"/>
                <a:gd name="connsiteY23" fmla="*/ 5361 h 10000"/>
                <a:gd name="connsiteX24" fmla="*/ 332 w 9973"/>
                <a:gd name="connsiteY24" fmla="*/ 5313 h 10000"/>
                <a:gd name="connsiteX25" fmla="*/ 396 w 9973"/>
                <a:gd name="connsiteY25" fmla="*/ 5598 h 10000"/>
                <a:gd name="connsiteX26" fmla="*/ 511 w 9973"/>
                <a:gd name="connsiteY26" fmla="*/ 5674 h 10000"/>
                <a:gd name="connsiteX27" fmla="*/ 370 w 9973"/>
                <a:gd name="connsiteY27" fmla="*/ 5721 h 10000"/>
                <a:gd name="connsiteX28" fmla="*/ 421 w 9973"/>
                <a:gd name="connsiteY28" fmla="*/ 5882 h 10000"/>
                <a:gd name="connsiteX29" fmla="*/ 690 w 9973"/>
                <a:gd name="connsiteY29" fmla="*/ 6015 h 10000"/>
                <a:gd name="connsiteX30" fmla="*/ 613 w 9973"/>
                <a:gd name="connsiteY30" fmla="*/ 6101 h 10000"/>
                <a:gd name="connsiteX31" fmla="*/ 1164 w 9973"/>
                <a:gd name="connsiteY31" fmla="*/ 6774 h 10000"/>
                <a:gd name="connsiteX32" fmla="*/ 1010 w 9973"/>
                <a:gd name="connsiteY32" fmla="*/ 7144 h 10000"/>
                <a:gd name="connsiteX33" fmla="*/ 1113 w 9973"/>
                <a:gd name="connsiteY33" fmla="*/ 7211 h 10000"/>
                <a:gd name="connsiteX34" fmla="*/ 1036 w 9973"/>
                <a:gd name="connsiteY34" fmla="*/ 7315 h 10000"/>
                <a:gd name="connsiteX35" fmla="*/ 1471 w 9973"/>
                <a:gd name="connsiteY35" fmla="*/ 7343 h 10000"/>
                <a:gd name="connsiteX36" fmla="*/ 1471 w 9973"/>
                <a:gd name="connsiteY36" fmla="*/ 7410 h 10000"/>
                <a:gd name="connsiteX37" fmla="*/ 1458 w 9973"/>
                <a:gd name="connsiteY37" fmla="*/ 7562 h 10000"/>
                <a:gd name="connsiteX38" fmla="*/ 1919 w 9973"/>
                <a:gd name="connsiteY38" fmla="*/ 7619 h 10000"/>
                <a:gd name="connsiteX39" fmla="*/ 1919 w 9973"/>
                <a:gd name="connsiteY39" fmla="*/ 7742 h 10000"/>
                <a:gd name="connsiteX40" fmla="*/ 2163 w 9973"/>
                <a:gd name="connsiteY40" fmla="*/ 7837 h 10000"/>
                <a:gd name="connsiteX41" fmla="*/ 2086 w 9973"/>
                <a:gd name="connsiteY41" fmla="*/ 7979 h 10000"/>
                <a:gd name="connsiteX42" fmla="*/ 2431 w 9973"/>
                <a:gd name="connsiteY42" fmla="*/ 8102 h 10000"/>
                <a:gd name="connsiteX43" fmla="*/ 2636 w 9973"/>
                <a:gd name="connsiteY43" fmla="*/ 8330 h 10000"/>
                <a:gd name="connsiteX44" fmla="*/ 2828 w 9973"/>
                <a:gd name="connsiteY44" fmla="*/ 8416 h 10000"/>
                <a:gd name="connsiteX45" fmla="*/ 2751 w 9973"/>
                <a:gd name="connsiteY45" fmla="*/ 8491 h 10000"/>
                <a:gd name="connsiteX46" fmla="*/ 2854 w 9973"/>
                <a:gd name="connsiteY46" fmla="*/ 8577 h 10000"/>
                <a:gd name="connsiteX47" fmla="*/ 2841 w 9973"/>
                <a:gd name="connsiteY47" fmla="*/ 8700 h 10000"/>
                <a:gd name="connsiteX48" fmla="*/ 3033 w 9973"/>
                <a:gd name="connsiteY48" fmla="*/ 8710 h 10000"/>
                <a:gd name="connsiteX49" fmla="*/ 3251 w 9973"/>
                <a:gd name="connsiteY49" fmla="*/ 8843 h 10000"/>
                <a:gd name="connsiteX50" fmla="*/ 3302 w 9973"/>
                <a:gd name="connsiteY50" fmla="*/ 9051 h 10000"/>
                <a:gd name="connsiteX51" fmla="*/ 3353 w 9973"/>
                <a:gd name="connsiteY51" fmla="*/ 9127 h 10000"/>
                <a:gd name="connsiteX52" fmla="*/ 3622 w 9973"/>
                <a:gd name="connsiteY52" fmla="*/ 9307 h 10000"/>
                <a:gd name="connsiteX53" fmla="*/ 3622 w 9973"/>
                <a:gd name="connsiteY53" fmla="*/ 9440 h 10000"/>
                <a:gd name="connsiteX54" fmla="*/ 4019 w 9973"/>
                <a:gd name="connsiteY54" fmla="*/ 9583 h 10000"/>
                <a:gd name="connsiteX55" fmla="*/ 4237 w 9973"/>
                <a:gd name="connsiteY55" fmla="*/ 9431 h 10000"/>
                <a:gd name="connsiteX56" fmla="*/ 4506 w 9973"/>
                <a:gd name="connsiteY56" fmla="*/ 9545 h 10000"/>
                <a:gd name="connsiteX57" fmla="*/ 4723 w 9973"/>
                <a:gd name="connsiteY57" fmla="*/ 9374 h 10000"/>
                <a:gd name="connsiteX58" fmla="*/ 4967 w 9973"/>
                <a:gd name="connsiteY58" fmla="*/ 9649 h 10000"/>
                <a:gd name="connsiteX59" fmla="*/ 5312 w 9973"/>
                <a:gd name="connsiteY59" fmla="*/ 9801 h 10000"/>
                <a:gd name="connsiteX60" fmla="*/ 5351 w 9973"/>
                <a:gd name="connsiteY60" fmla="*/ 9934 h 10000"/>
                <a:gd name="connsiteX61" fmla="*/ 5492 w 9973"/>
                <a:gd name="connsiteY61" fmla="*/ 9953 h 10000"/>
                <a:gd name="connsiteX62" fmla="*/ 5696 w 9973"/>
                <a:gd name="connsiteY62" fmla="*/ 9829 h 10000"/>
                <a:gd name="connsiteX63" fmla="*/ 5953 w 9973"/>
                <a:gd name="connsiteY63" fmla="*/ 9905 h 10000"/>
                <a:gd name="connsiteX64" fmla="*/ 6042 w 9973"/>
                <a:gd name="connsiteY64" fmla="*/ 9839 h 10000"/>
                <a:gd name="connsiteX65" fmla="*/ 6132 w 9973"/>
                <a:gd name="connsiteY65" fmla="*/ 9829 h 10000"/>
                <a:gd name="connsiteX66" fmla="*/ 6311 w 9973"/>
                <a:gd name="connsiteY66" fmla="*/ 10000 h 10000"/>
                <a:gd name="connsiteX67" fmla="*/ 6477 w 9973"/>
                <a:gd name="connsiteY67" fmla="*/ 9858 h 10000"/>
                <a:gd name="connsiteX68" fmla="*/ 6682 w 9973"/>
                <a:gd name="connsiteY68" fmla="*/ 9867 h 10000"/>
                <a:gd name="connsiteX69" fmla="*/ 6836 w 9973"/>
                <a:gd name="connsiteY69" fmla="*/ 9791 h 10000"/>
                <a:gd name="connsiteX70" fmla="*/ 7054 w 9973"/>
                <a:gd name="connsiteY70" fmla="*/ 9867 h 10000"/>
                <a:gd name="connsiteX71" fmla="*/ 7335 w 9973"/>
                <a:gd name="connsiteY71" fmla="*/ 9630 h 10000"/>
                <a:gd name="connsiteX72" fmla="*/ 7438 w 9973"/>
                <a:gd name="connsiteY72" fmla="*/ 9630 h 10000"/>
                <a:gd name="connsiteX73" fmla="*/ 7617 w 9973"/>
                <a:gd name="connsiteY73" fmla="*/ 9440 h 10000"/>
                <a:gd name="connsiteX74" fmla="*/ 8385 w 9973"/>
                <a:gd name="connsiteY74" fmla="*/ 9431 h 10000"/>
                <a:gd name="connsiteX75" fmla="*/ 8552 w 9973"/>
                <a:gd name="connsiteY75" fmla="*/ 9355 h 10000"/>
                <a:gd name="connsiteX76" fmla="*/ 8539 w 9973"/>
                <a:gd name="connsiteY76" fmla="*/ 9260 h 10000"/>
                <a:gd name="connsiteX77" fmla="*/ 8488 w 9973"/>
                <a:gd name="connsiteY77" fmla="*/ 9051 h 10000"/>
                <a:gd name="connsiteX78" fmla="*/ 8168 w 9973"/>
                <a:gd name="connsiteY78" fmla="*/ 8985 h 10000"/>
                <a:gd name="connsiteX79" fmla="*/ 8014 w 9973"/>
                <a:gd name="connsiteY79" fmla="*/ 8653 h 10000"/>
                <a:gd name="connsiteX80" fmla="*/ 7924 w 9973"/>
                <a:gd name="connsiteY80" fmla="*/ 8615 h 10000"/>
                <a:gd name="connsiteX81" fmla="*/ 7899 w 9973"/>
                <a:gd name="connsiteY81" fmla="*/ 8378 h 10000"/>
                <a:gd name="connsiteX82" fmla="*/ 7783 w 9973"/>
                <a:gd name="connsiteY82" fmla="*/ 8368 h 10000"/>
                <a:gd name="connsiteX83" fmla="*/ 7745 w 9973"/>
                <a:gd name="connsiteY83" fmla="*/ 8245 h 10000"/>
                <a:gd name="connsiteX84" fmla="*/ 7553 w 9973"/>
                <a:gd name="connsiteY84" fmla="*/ 8216 h 10000"/>
                <a:gd name="connsiteX85" fmla="*/ 7489 w 9973"/>
                <a:gd name="connsiteY85" fmla="*/ 8027 h 10000"/>
                <a:gd name="connsiteX86" fmla="*/ 7169 w 9973"/>
                <a:gd name="connsiteY86" fmla="*/ 7846 h 10000"/>
                <a:gd name="connsiteX87" fmla="*/ 6823 w 9973"/>
                <a:gd name="connsiteY87" fmla="*/ 7818 h 10000"/>
                <a:gd name="connsiteX88" fmla="*/ 6913 w 9973"/>
                <a:gd name="connsiteY88" fmla="*/ 7609 h 10000"/>
                <a:gd name="connsiteX89" fmla="*/ 6887 w 9973"/>
                <a:gd name="connsiteY89" fmla="*/ 7457 h 10000"/>
                <a:gd name="connsiteX90" fmla="*/ 7182 w 9973"/>
                <a:gd name="connsiteY90" fmla="*/ 7467 h 10000"/>
                <a:gd name="connsiteX91" fmla="*/ 7246 w 9973"/>
                <a:gd name="connsiteY91" fmla="*/ 7514 h 10000"/>
                <a:gd name="connsiteX92" fmla="*/ 7425 w 9973"/>
                <a:gd name="connsiteY92" fmla="*/ 7419 h 10000"/>
                <a:gd name="connsiteX93" fmla="*/ 7476 w 9973"/>
                <a:gd name="connsiteY93" fmla="*/ 7078 h 10000"/>
                <a:gd name="connsiteX94" fmla="*/ 7399 w 9973"/>
                <a:gd name="connsiteY94" fmla="*/ 6822 h 10000"/>
                <a:gd name="connsiteX95" fmla="*/ 7617 w 9973"/>
                <a:gd name="connsiteY95" fmla="*/ 6613 h 10000"/>
                <a:gd name="connsiteX96" fmla="*/ 7553 w 9973"/>
                <a:gd name="connsiteY96" fmla="*/ 6414 h 10000"/>
                <a:gd name="connsiteX97" fmla="*/ 7694 w 9973"/>
                <a:gd name="connsiteY97" fmla="*/ 6224 h 10000"/>
                <a:gd name="connsiteX98" fmla="*/ 7783 w 9973"/>
                <a:gd name="connsiteY98" fmla="*/ 6328 h 10000"/>
                <a:gd name="connsiteX99" fmla="*/ 7937 w 9973"/>
                <a:gd name="connsiteY99" fmla="*/ 6281 h 10000"/>
                <a:gd name="connsiteX100" fmla="*/ 7924 w 9973"/>
                <a:gd name="connsiteY100" fmla="*/ 5987 h 10000"/>
                <a:gd name="connsiteX101" fmla="*/ 8014 w 9973"/>
                <a:gd name="connsiteY101" fmla="*/ 5882 h 10000"/>
                <a:gd name="connsiteX102" fmla="*/ 7988 w 9973"/>
                <a:gd name="connsiteY102" fmla="*/ 5740 h 10000"/>
                <a:gd name="connsiteX103" fmla="*/ 8193 w 9973"/>
                <a:gd name="connsiteY103" fmla="*/ 5655 h 10000"/>
                <a:gd name="connsiteX104" fmla="*/ 8206 w 9973"/>
                <a:gd name="connsiteY104" fmla="*/ 5465 h 10000"/>
                <a:gd name="connsiteX105" fmla="*/ 8360 w 9973"/>
                <a:gd name="connsiteY105" fmla="*/ 5285 h 10000"/>
                <a:gd name="connsiteX106" fmla="*/ 8641 w 9973"/>
                <a:gd name="connsiteY106" fmla="*/ 5266 h 10000"/>
                <a:gd name="connsiteX107" fmla="*/ 8616 w 9973"/>
                <a:gd name="connsiteY107" fmla="*/ 5019 h 10000"/>
                <a:gd name="connsiteX108" fmla="*/ 8821 w 9973"/>
                <a:gd name="connsiteY108" fmla="*/ 4753 h 10000"/>
                <a:gd name="connsiteX109" fmla="*/ 8821 w 9973"/>
                <a:gd name="connsiteY109" fmla="*/ 4469 h 10000"/>
                <a:gd name="connsiteX110" fmla="*/ 8795 w 9973"/>
                <a:gd name="connsiteY110" fmla="*/ 4156 h 10000"/>
                <a:gd name="connsiteX111" fmla="*/ 8731 w 9973"/>
                <a:gd name="connsiteY111" fmla="*/ 4061 h 10000"/>
                <a:gd name="connsiteX112" fmla="*/ 8885 w 9973"/>
                <a:gd name="connsiteY112" fmla="*/ 3928 h 10000"/>
                <a:gd name="connsiteX113" fmla="*/ 8897 w 9973"/>
                <a:gd name="connsiteY113" fmla="*/ 3767 h 10000"/>
                <a:gd name="connsiteX114" fmla="*/ 9051 w 9973"/>
                <a:gd name="connsiteY114" fmla="*/ 3577 h 10000"/>
                <a:gd name="connsiteX115" fmla="*/ 8974 w 9973"/>
                <a:gd name="connsiteY115" fmla="*/ 3283 h 10000"/>
                <a:gd name="connsiteX116" fmla="*/ 9115 w 9973"/>
                <a:gd name="connsiteY116" fmla="*/ 3207 h 10000"/>
                <a:gd name="connsiteX117" fmla="*/ 9115 w 9973"/>
                <a:gd name="connsiteY117" fmla="*/ 3112 h 10000"/>
                <a:gd name="connsiteX118" fmla="*/ 9358 w 9973"/>
                <a:gd name="connsiteY118" fmla="*/ 3046 h 10000"/>
                <a:gd name="connsiteX119" fmla="*/ 9371 w 9973"/>
                <a:gd name="connsiteY119" fmla="*/ 2903 h 10000"/>
                <a:gd name="connsiteX120" fmla="*/ 9832 w 9973"/>
                <a:gd name="connsiteY120" fmla="*/ 2808 h 10000"/>
                <a:gd name="connsiteX121" fmla="*/ 9973 w 9973"/>
                <a:gd name="connsiteY121" fmla="*/ 2571 h 10000"/>
                <a:gd name="connsiteX122" fmla="*/ 9653 w 9973"/>
                <a:gd name="connsiteY122" fmla="*/ 2429 h 10000"/>
                <a:gd name="connsiteX123" fmla="*/ 9538 w 9973"/>
                <a:gd name="connsiteY123" fmla="*/ 2239 h 10000"/>
                <a:gd name="connsiteX124" fmla="*/ 9218 w 9973"/>
                <a:gd name="connsiteY124" fmla="*/ 2163 h 10000"/>
                <a:gd name="connsiteX125" fmla="*/ 9154 w 9973"/>
                <a:gd name="connsiteY125" fmla="*/ 1670 h 10000"/>
                <a:gd name="connsiteX126" fmla="*/ 9064 w 9973"/>
                <a:gd name="connsiteY126" fmla="*/ 1651 h 10000"/>
                <a:gd name="connsiteX127" fmla="*/ 9038 w 9973"/>
                <a:gd name="connsiteY127" fmla="*/ 1205 h 10000"/>
                <a:gd name="connsiteX128" fmla="*/ 8974 w 9973"/>
                <a:gd name="connsiteY128" fmla="*/ 1053 h 10000"/>
                <a:gd name="connsiteX129" fmla="*/ 9128 w 9973"/>
                <a:gd name="connsiteY129" fmla="*/ 1025 h 10000"/>
                <a:gd name="connsiteX130" fmla="*/ 8885 w 9973"/>
                <a:gd name="connsiteY130" fmla="*/ 797 h 10000"/>
                <a:gd name="connsiteX131" fmla="*/ 8846 w 9973"/>
                <a:gd name="connsiteY131" fmla="*/ 503 h 10000"/>
                <a:gd name="connsiteX132" fmla="*/ 8603 w 9973"/>
                <a:gd name="connsiteY132" fmla="*/ 370 h 10000"/>
                <a:gd name="connsiteX133" fmla="*/ 8437 w 9973"/>
                <a:gd name="connsiteY133" fmla="*/ 218 h 10000"/>
                <a:gd name="connsiteX134" fmla="*/ 8296 w 9973"/>
                <a:gd name="connsiteY134" fmla="*/ 209 h 10000"/>
                <a:gd name="connsiteX135" fmla="*/ 8091 w 9973"/>
                <a:gd name="connsiteY135" fmla="*/ 0 h 10000"/>
                <a:gd name="connsiteX136" fmla="*/ 7886 w 9973"/>
                <a:gd name="connsiteY136" fmla="*/ 142 h 10000"/>
                <a:gd name="connsiteX137" fmla="*/ 7668 w 9973"/>
                <a:gd name="connsiteY137" fmla="*/ 152 h 10000"/>
                <a:gd name="connsiteX0" fmla="*/ 7689 w 10000"/>
                <a:gd name="connsiteY0" fmla="*/ 152 h 10000"/>
                <a:gd name="connsiteX1" fmla="*/ 7560 w 10000"/>
                <a:gd name="connsiteY1" fmla="*/ 408 h 10000"/>
                <a:gd name="connsiteX2" fmla="*/ 7279 w 10000"/>
                <a:gd name="connsiteY2" fmla="*/ 436 h 10000"/>
                <a:gd name="connsiteX3" fmla="*/ 6996 w 10000"/>
                <a:gd name="connsiteY3" fmla="*/ 731 h 10000"/>
                <a:gd name="connsiteX4" fmla="*/ 6675 w 10000"/>
                <a:gd name="connsiteY4" fmla="*/ 560 h 10000"/>
                <a:gd name="connsiteX5" fmla="*/ 5660 w 10000"/>
                <a:gd name="connsiteY5" fmla="*/ 531 h 10000"/>
                <a:gd name="connsiteX6" fmla="*/ 5596 w 10000"/>
                <a:gd name="connsiteY6" fmla="*/ 455 h 10000"/>
                <a:gd name="connsiteX7" fmla="*/ 5481 w 10000"/>
                <a:gd name="connsiteY7" fmla="*/ 569 h 10000"/>
                <a:gd name="connsiteX8" fmla="*/ 1809 w 10000"/>
                <a:gd name="connsiteY8" fmla="*/ 531 h 10000"/>
                <a:gd name="connsiteX9" fmla="*/ 1822 w 10000"/>
                <a:gd name="connsiteY9" fmla="*/ 1556 h 10000"/>
                <a:gd name="connsiteX10" fmla="*/ 1205 w 10000"/>
                <a:gd name="connsiteY10" fmla="*/ 1565 h 10000"/>
                <a:gd name="connsiteX11" fmla="*/ 1269 w 10000"/>
                <a:gd name="connsiteY11" fmla="*/ 3776 h 10000"/>
                <a:gd name="connsiteX12" fmla="*/ 692 w 10000"/>
                <a:gd name="connsiteY12" fmla="*/ 3767 h 10000"/>
                <a:gd name="connsiteX13" fmla="*/ 666 w 10000"/>
                <a:gd name="connsiteY13" fmla="*/ 3985 h 10000"/>
                <a:gd name="connsiteX14" fmla="*/ 499 w 10000"/>
                <a:gd name="connsiteY14" fmla="*/ 4118 h 10000"/>
                <a:gd name="connsiteX15" fmla="*/ 448 w 10000"/>
                <a:gd name="connsiteY15" fmla="*/ 4288 h 10000"/>
                <a:gd name="connsiteX16" fmla="*/ 320 w 10000"/>
                <a:gd name="connsiteY16" fmla="*/ 4288 h 10000"/>
                <a:gd name="connsiteX17" fmla="*/ 358 w 10000"/>
                <a:gd name="connsiteY17" fmla="*/ 4440 h 10000"/>
                <a:gd name="connsiteX18" fmla="*/ 422 w 10000"/>
                <a:gd name="connsiteY18" fmla="*/ 4545 h 10000"/>
                <a:gd name="connsiteX19" fmla="*/ 281 w 10000"/>
                <a:gd name="connsiteY19" fmla="*/ 4611 h 10000"/>
                <a:gd name="connsiteX20" fmla="*/ 165 w 10000"/>
                <a:gd name="connsiteY20" fmla="*/ 4782 h 10000"/>
                <a:gd name="connsiteX21" fmla="*/ 256 w 10000"/>
                <a:gd name="connsiteY21" fmla="*/ 5000 h 10000"/>
                <a:gd name="connsiteX22" fmla="*/ 11 w 10000"/>
                <a:gd name="connsiteY22" fmla="*/ 5190 h 10000"/>
                <a:gd name="connsiteX23" fmla="*/ 114 w 10000"/>
                <a:gd name="connsiteY23" fmla="*/ 5361 h 10000"/>
                <a:gd name="connsiteX24" fmla="*/ 333 w 10000"/>
                <a:gd name="connsiteY24" fmla="*/ 5313 h 10000"/>
                <a:gd name="connsiteX25" fmla="*/ 397 w 10000"/>
                <a:gd name="connsiteY25" fmla="*/ 5598 h 10000"/>
                <a:gd name="connsiteX26" fmla="*/ 512 w 10000"/>
                <a:gd name="connsiteY26" fmla="*/ 5674 h 10000"/>
                <a:gd name="connsiteX27" fmla="*/ 371 w 10000"/>
                <a:gd name="connsiteY27" fmla="*/ 5721 h 10000"/>
                <a:gd name="connsiteX28" fmla="*/ 422 w 10000"/>
                <a:gd name="connsiteY28" fmla="*/ 5882 h 10000"/>
                <a:gd name="connsiteX29" fmla="*/ 692 w 10000"/>
                <a:gd name="connsiteY29" fmla="*/ 6015 h 10000"/>
                <a:gd name="connsiteX30" fmla="*/ 1167 w 10000"/>
                <a:gd name="connsiteY30" fmla="*/ 6774 h 10000"/>
                <a:gd name="connsiteX31" fmla="*/ 1013 w 10000"/>
                <a:gd name="connsiteY31" fmla="*/ 7144 h 10000"/>
                <a:gd name="connsiteX32" fmla="*/ 1116 w 10000"/>
                <a:gd name="connsiteY32" fmla="*/ 7211 h 10000"/>
                <a:gd name="connsiteX33" fmla="*/ 1039 w 10000"/>
                <a:gd name="connsiteY33" fmla="*/ 7315 h 10000"/>
                <a:gd name="connsiteX34" fmla="*/ 1475 w 10000"/>
                <a:gd name="connsiteY34" fmla="*/ 7343 h 10000"/>
                <a:gd name="connsiteX35" fmla="*/ 1475 w 10000"/>
                <a:gd name="connsiteY35" fmla="*/ 7410 h 10000"/>
                <a:gd name="connsiteX36" fmla="*/ 1462 w 10000"/>
                <a:gd name="connsiteY36" fmla="*/ 7562 h 10000"/>
                <a:gd name="connsiteX37" fmla="*/ 1924 w 10000"/>
                <a:gd name="connsiteY37" fmla="*/ 7619 h 10000"/>
                <a:gd name="connsiteX38" fmla="*/ 1924 w 10000"/>
                <a:gd name="connsiteY38" fmla="*/ 7742 h 10000"/>
                <a:gd name="connsiteX39" fmla="*/ 2169 w 10000"/>
                <a:gd name="connsiteY39" fmla="*/ 7837 h 10000"/>
                <a:gd name="connsiteX40" fmla="*/ 2092 w 10000"/>
                <a:gd name="connsiteY40" fmla="*/ 7979 h 10000"/>
                <a:gd name="connsiteX41" fmla="*/ 2438 w 10000"/>
                <a:gd name="connsiteY41" fmla="*/ 8102 h 10000"/>
                <a:gd name="connsiteX42" fmla="*/ 2643 w 10000"/>
                <a:gd name="connsiteY42" fmla="*/ 8330 h 10000"/>
                <a:gd name="connsiteX43" fmla="*/ 2836 w 10000"/>
                <a:gd name="connsiteY43" fmla="*/ 8416 h 10000"/>
                <a:gd name="connsiteX44" fmla="*/ 2758 w 10000"/>
                <a:gd name="connsiteY44" fmla="*/ 8491 h 10000"/>
                <a:gd name="connsiteX45" fmla="*/ 2862 w 10000"/>
                <a:gd name="connsiteY45" fmla="*/ 8577 h 10000"/>
                <a:gd name="connsiteX46" fmla="*/ 2849 w 10000"/>
                <a:gd name="connsiteY46" fmla="*/ 8700 h 10000"/>
                <a:gd name="connsiteX47" fmla="*/ 3041 w 10000"/>
                <a:gd name="connsiteY47" fmla="*/ 8710 h 10000"/>
                <a:gd name="connsiteX48" fmla="*/ 3260 w 10000"/>
                <a:gd name="connsiteY48" fmla="*/ 8843 h 10000"/>
                <a:gd name="connsiteX49" fmla="*/ 3311 w 10000"/>
                <a:gd name="connsiteY49" fmla="*/ 9051 h 10000"/>
                <a:gd name="connsiteX50" fmla="*/ 3362 w 10000"/>
                <a:gd name="connsiteY50" fmla="*/ 9127 h 10000"/>
                <a:gd name="connsiteX51" fmla="*/ 3632 w 10000"/>
                <a:gd name="connsiteY51" fmla="*/ 9307 h 10000"/>
                <a:gd name="connsiteX52" fmla="*/ 3632 w 10000"/>
                <a:gd name="connsiteY52" fmla="*/ 9440 h 10000"/>
                <a:gd name="connsiteX53" fmla="*/ 4030 w 10000"/>
                <a:gd name="connsiteY53" fmla="*/ 9583 h 10000"/>
                <a:gd name="connsiteX54" fmla="*/ 4248 w 10000"/>
                <a:gd name="connsiteY54" fmla="*/ 9431 h 10000"/>
                <a:gd name="connsiteX55" fmla="*/ 4518 w 10000"/>
                <a:gd name="connsiteY55" fmla="*/ 9545 h 10000"/>
                <a:gd name="connsiteX56" fmla="*/ 4736 w 10000"/>
                <a:gd name="connsiteY56" fmla="*/ 9374 h 10000"/>
                <a:gd name="connsiteX57" fmla="*/ 4980 w 10000"/>
                <a:gd name="connsiteY57" fmla="*/ 9649 h 10000"/>
                <a:gd name="connsiteX58" fmla="*/ 5326 w 10000"/>
                <a:gd name="connsiteY58" fmla="*/ 9801 h 10000"/>
                <a:gd name="connsiteX59" fmla="*/ 5365 w 10000"/>
                <a:gd name="connsiteY59" fmla="*/ 9934 h 10000"/>
                <a:gd name="connsiteX60" fmla="*/ 5507 w 10000"/>
                <a:gd name="connsiteY60" fmla="*/ 9953 h 10000"/>
                <a:gd name="connsiteX61" fmla="*/ 5711 w 10000"/>
                <a:gd name="connsiteY61" fmla="*/ 9829 h 10000"/>
                <a:gd name="connsiteX62" fmla="*/ 5969 w 10000"/>
                <a:gd name="connsiteY62" fmla="*/ 9905 h 10000"/>
                <a:gd name="connsiteX63" fmla="*/ 6058 w 10000"/>
                <a:gd name="connsiteY63" fmla="*/ 9839 h 10000"/>
                <a:gd name="connsiteX64" fmla="*/ 6149 w 10000"/>
                <a:gd name="connsiteY64" fmla="*/ 9829 h 10000"/>
                <a:gd name="connsiteX65" fmla="*/ 6328 w 10000"/>
                <a:gd name="connsiteY65" fmla="*/ 10000 h 10000"/>
                <a:gd name="connsiteX66" fmla="*/ 6495 w 10000"/>
                <a:gd name="connsiteY66" fmla="*/ 9858 h 10000"/>
                <a:gd name="connsiteX67" fmla="*/ 6700 w 10000"/>
                <a:gd name="connsiteY67" fmla="*/ 9867 h 10000"/>
                <a:gd name="connsiteX68" fmla="*/ 6855 w 10000"/>
                <a:gd name="connsiteY68" fmla="*/ 9791 h 10000"/>
                <a:gd name="connsiteX69" fmla="*/ 7073 w 10000"/>
                <a:gd name="connsiteY69" fmla="*/ 9867 h 10000"/>
                <a:gd name="connsiteX70" fmla="*/ 7355 w 10000"/>
                <a:gd name="connsiteY70" fmla="*/ 9630 h 10000"/>
                <a:gd name="connsiteX71" fmla="*/ 7458 w 10000"/>
                <a:gd name="connsiteY71" fmla="*/ 9630 h 10000"/>
                <a:gd name="connsiteX72" fmla="*/ 7638 w 10000"/>
                <a:gd name="connsiteY72" fmla="*/ 9440 h 10000"/>
                <a:gd name="connsiteX73" fmla="*/ 8408 w 10000"/>
                <a:gd name="connsiteY73" fmla="*/ 9431 h 10000"/>
                <a:gd name="connsiteX74" fmla="*/ 8575 w 10000"/>
                <a:gd name="connsiteY74" fmla="*/ 9355 h 10000"/>
                <a:gd name="connsiteX75" fmla="*/ 8562 w 10000"/>
                <a:gd name="connsiteY75" fmla="*/ 9260 h 10000"/>
                <a:gd name="connsiteX76" fmla="*/ 8511 w 10000"/>
                <a:gd name="connsiteY76" fmla="*/ 9051 h 10000"/>
                <a:gd name="connsiteX77" fmla="*/ 8190 w 10000"/>
                <a:gd name="connsiteY77" fmla="*/ 8985 h 10000"/>
                <a:gd name="connsiteX78" fmla="*/ 8036 w 10000"/>
                <a:gd name="connsiteY78" fmla="*/ 8653 h 10000"/>
                <a:gd name="connsiteX79" fmla="*/ 7945 w 10000"/>
                <a:gd name="connsiteY79" fmla="*/ 8615 h 10000"/>
                <a:gd name="connsiteX80" fmla="*/ 7920 w 10000"/>
                <a:gd name="connsiteY80" fmla="*/ 8378 h 10000"/>
                <a:gd name="connsiteX81" fmla="*/ 7804 w 10000"/>
                <a:gd name="connsiteY81" fmla="*/ 8368 h 10000"/>
                <a:gd name="connsiteX82" fmla="*/ 7766 w 10000"/>
                <a:gd name="connsiteY82" fmla="*/ 8245 h 10000"/>
                <a:gd name="connsiteX83" fmla="*/ 7573 w 10000"/>
                <a:gd name="connsiteY83" fmla="*/ 8216 h 10000"/>
                <a:gd name="connsiteX84" fmla="*/ 7509 w 10000"/>
                <a:gd name="connsiteY84" fmla="*/ 8027 h 10000"/>
                <a:gd name="connsiteX85" fmla="*/ 7188 w 10000"/>
                <a:gd name="connsiteY85" fmla="*/ 7846 h 10000"/>
                <a:gd name="connsiteX86" fmla="*/ 6841 w 10000"/>
                <a:gd name="connsiteY86" fmla="*/ 7818 h 10000"/>
                <a:gd name="connsiteX87" fmla="*/ 6932 w 10000"/>
                <a:gd name="connsiteY87" fmla="*/ 7609 h 10000"/>
                <a:gd name="connsiteX88" fmla="*/ 6906 w 10000"/>
                <a:gd name="connsiteY88" fmla="*/ 7457 h 10000"/>
                <a:gd name="connsiteX89" fmla="*/ 7201 w 10000"/>
                <a:gd name="connsiteY89" fmla="*/ 7467 h 10000"/>
                <a:gd name="connsiteX90" fmla="*/ 7266 w 10000"/>
                <a:gd name="connsiteY90" fmla="*/ 7514 h 10000"/>
                <a:gd name="connsiteX91" fmla="*/ 7445 w 10000"/>
                <a:gd name="connsiteY91" fmla="*/ 7419 h 10000"/>
                <a:gd name="connsiteX92" fmla="*/ 7496 w 10000"/>
                <a:gd name="connsiteY92" fmla="*/ 7078 h 10000"/>
                <a:gd name="connsiteX93" fmla="*/ 7419 w 10000"/>
                <a:gd name="connsiteY93" fmla="*/ 6822 h 10000"/>
                <a:gd name="connsiteX94" fmla="*/ 7638 w 10000"/>
                <a:gd name="connsiteY94" fmla="*/ 6613 h 10000"/>
                <a:gd name="connsiteX95" fmla="*/ 7573 w 10000"/>
                <a:gd name="connsiteY95" fmla="*/ 6414 h 10000"/>
                <a:gd name="connsiteX96" fmla="*/ 7715 w 10000"/>
                <a:gd name="connsiteY96" fmla="*/ 6224 h 10000"/>
                <a:gd name="connsiteX97" fmla="*/ 7804 w 10000"/>
                <a:gd name="connsiteY97" fmla="*/ 6328 h 10000"/>
                <a:gd name="connsiteX98" fmla="*/ 7958 w 10000"/>
                <a:gd name="connsiteY98" fmla="*/ 6281 h 10000"/>
                <a:gd name="connsiteX99" fmla="*/ 7945 w 10000"/>
                <a:gd name="connsiteY99" fmla="*/ 5987 h 10000"/>
                <a:gd name="connsiteX100" fmla="*/ 8036 w 10000"/>
                <a:gd name="connsiteY100" fmla="*/ 5882 h 10000"/>
                <a:gd name="connsiteX101" fmla="*/ 8010 w 10000"/>
                <a:gd name="connsiteY101" fmla="*/ 5740 h 10000"/>
                <a:gd name="connsiteX102" fmla="*/ 8215 w 10000"/>
                <a:gd name="connsiteY102" fmla="*/ 5655 h 10000"/>
                <a:gd name="connsiteX103" fmla="*/ 8228 w 10000"/>
                <a:gd name="connsiteY103" fmla="*/ 5465 h 10000"/>
                <a:gd name="connsiteX104" fmla="*/ 8383 w 10000"/>
                <a:gd name="connsiteY104" fmla="*/ 5285 h 10000"/>
                <a:gd name="connsiteX105" fmla="*/ 8664 w 10000"/>
                <a:gd name="connsiteY105" fmla="*/ 5266 h 10000"/>
                <a:gd name="connsiteX106" fmla="*/ 8639 w 10000"/>
                <a:gd name="connsiteY106" fmla="*/ 5019 h 10000"/>
                <a:gd name="connsiteX107" fmla="*/ 8845 w 10000"/>
                <a:gd name="connsiteY107" fmla="*/ 4753 h 10000"/>
                <a:gd name="connsiteX108" fmla="*/ 8845 w 10000"/>
                <a:gd name="connsiteY108" fmla="*/ 4469 h 10000"/>
                <a:gd name="connsiteX109" fmla="*/ 8819 w 10000"/>
                <a:gd name="connsiteY109" fmla="*/ 4156 h 10000"/>
                <a:gd name="connsiteX110" fmla="*/ 8755 w 10000"/>
                <a:gd name="connsiteY110" fmla="*/ 4061 h 10000"/>
                <a:gd name="connsiteX111" fmla="*/ 8909 w 10000"/>
                <a:gd name="connsiteY111" fmla="*/ 3928 h 10000"/>
                <a:gd name="connsiteX112" fmla="*/ 8921 w 10000"/>
                <a:gd name="connsiteY112" fmla="*/ 3767 h 10000"/>
                <a:gd name="connsiteX113" fmla="*/ 9076 w 10000"/>
                <a:gd name="connsiteY113" fmla="*/ 3577 h 10000"/>
                <a:gd name="connsiteX114" fmla="*/ 8998 w 10000"/>
                <a:gd name="connsiteY114" fmla="*/ 3283 h 10000"/>
                <a:gd name="connsiteX115" fmla="*/ 9140 w 10000"/>
                <a:gd name="connsiteY115" fmla="*/ 3207 h 10000"/>
                <a:gd name="connsiteX116" fmla="*/ 9140 w 10000"/>
                <a:gd name="connsiteY116" fmla="*/ 3112 h 10000"/>
                <a:gd name="connsiteX117" fmla="*/ 9383 w 10000"/>
                <a:gd name="connsiteY117" fmla="*/ 3046 h 10000"/>
                <a:gd name="connsiteX118" fmla="*/ 9396 w 10000"/>
                <a:gd name="connsiteY118" fmla="*/ 2903 h 10000"/>
                <a:gd name="connsiteX119" fmla="*/ 9859 w 10000"/>
                <a:gd name="connsiteY119" fmla="*/ 2808 h 10000"/>
                <a:gd name="connsiteX120" fmla="*/ 10000 w 10000"/>
                <a:gd name="connsiteY120" fmla="*/ 2571 h 10000"/>
                <a:gd name="connsiteX121" fmla="*/ 9679 w 10000"/>
                <a:gd name="connsiteY121" fmla="*/ 2429 h 10000"/>
                <a:gd name="connsiteX122" fmla="*/ 9564 w 10000"/>
                <a:gd name="connsiteY122" fmla="*/ 2239 h 10000"/>
                <a:gd name="connsiteX123" fmla="*/ 9243 w 10000"/>
                <a:gd name="connsiteY123" fmla="*/ 2163 h 10000"/>
                <a:gd name="connsiteX124" fmla="*/ 9179 w 10000"/>
                <a:gd name="connsiteY124" fmla="*/ 1670 h 10000"/>
                <a:gd name="connsiteX125" fmla="*/ 9089 w 10000"/>
                <a:gd name="connsiteY125" fmla="*/ 1651 h 10000"/>
                <a:gd name="connsiteX126" fmla="*/ 9062 w 10000"/>
                <a:gd name="connsiteY126" fmla="*/ 1205 h 10000"/>
                <a:gd name="connsiteX127" fmla="*/ 8998 w 10000"/>
                <a:gd name="connsiteY127" fmla="*/ 1053 h 10000"/>
                <a:gd name="connsiteX128" fmla="*/ 9153 w 10000"/>
                <a:gd name="connsiteY128" fmla="*/ 1025 h 10000"/>
                <a:gd name="connsiteX129" fmla="*/ 8909 w 10000"/>
                <a:gd name="connsiteY129" fmla="*/ 797 h 10000"/>
                <a:gd name="connsiteX130" fmla="*/ 8870 w 10000"/>
                <a:gd name="connsiteY130" fmla="*/ 503 h 10000"/>
                <a:gd name="connsiteX131" fmla="*/ 8626 w 10000"/>
                <a:gd name="connsiteY131" fmla="*/ 370 h 10000"/>
                <a:gd name="connsiteX132" fmla="*/ 8460 w 10000"/>
                <a:gd name="connsiteY132" fmla="*/ 218 h 10000"/>
                <a:gd name="connsiteX133" fmla="*/ 8318 w 10000"/>
                <a:gd name="connsiteY133" fmla="*/ 209 h 10000"/>
                <a:gd name="connsiteX134" fmla="*/ 8113 w 10000"/>
                <a:gd name="connsiteY134" fmla="*/ 0 h 10000"/>
                <a:gd name="connsiteX135" fmla="*/ 7907 w 10000"/>
                <a:gd name="connsiteY135" fmla="*/ 142 h 10000"/>
                <a:gd name="connsiteX136" fmla="*/ 7689 w 10000"/>
                <a:gd name="connsiteY136" fmla="*/ 152 h 10000"/>
                <a:gd name="connsiteX0" fmla="*/ 7689 w 10000"/>
                <a:gd name="connsiteY0" fmla="*/ 152 h 10000"/>
                <a:gd name="connsiteX1" fmla="*/ 7560 w 10000"/>
                <a:gd name="connsiteY1" fmla="*/ 408 h 10000"/>
                <a:gd name="connsiteX2" fmla="*/ 7279 w 10000"/>
                <a:gd name="connsiteY2" fmla="*/ 436 h 10000"/>
                <a:gd name="connsiteX3" fmla="*/ 6996 w 10000"/>
                <a:gd name="connsiteY3" fmla="*/ 731 h 10000"/>
                <a:gd name="connsiteX4" fmla="*/ 6675 w 10000"/>
                <a:gd name="connsiteY4" fmla="*/ 560 h 10000"/>
                <a:gd name="connsiteX5" fmla="*/ 5660 w 10000"/>
                <a:gd name="connsiteY5" fmla="*/ 531 h 10000"/>
                <a:gd name="connsiteX6" fmla="*/ 5596 w 10000"/>
                <a:gd name="connsiteY6" fmla="*/ 455 h 10000"/>
                <a:gd name="connsiteX7" fmla="*/ 5481 w 10000"/>
                <a:gd name="connsiteY7" fmla="*/ 569 h 10000"/>
                <a:gd name="connsiteX8" fmla="*/ 1809 w 10000"/>
                <a:gd name="connsiteY8" fmla="*/ 531 h 10000"/>
                <a:gd name="connsiteX9" fmla="*/ 1822 w 10000"/>
                <a:gd name="connsiteY9" fmla="*/ 1556 h 10000"/>
                <a:gd name="connsiteX10" fmla="*/ 1205 w 10000"/>
                <a:gd name="connsiteY10" fmla="*/ 1565 h 10000"/>
                <a:gd name="connsiteX11" fmla="*/ 1269 w 10000"/>
                <a:gd name="connsiteY11" fmla="*/ 3776 h 10000"/>
                <a:gd name="connsiteX12" fmla="*/ 692 w 10000"/>
                <a:gd name="connsiteY12" fmla="*/ 3767 h 10000"/>
                <a:gd name="connsiteX13" fmla="*/ 666 w 10000"/>
                <a:gd name="connsiteY13" fmla="*/ 3985 h 10000"/>
                <a:gd name="connsiteX14" fmla="*/ 499 w 10000"/>
                <a:gd name="connsiteY14" fmla="*/ 4118 h 10000"/>
                <a:gd name="connsiteX15" fmla="*/ 448 w 10000"/>
                <a:gd name="connsiteY15" fmla="*/ 4288 h 10000"/>
                <a:gd name="connsiteX16" fmla="*/ 320 w 10000"/>
                <a:gd name="connsiteY16" fmla="*/ 4288 h 10000"/>
                <a:gd name="connsiteX17" fmla="*/ 358 w 10000"/>
                <a:gd name="connsiteY17" fmla="*/ 4440 h 10000"/>
                <a:gd name="connsiteX18" fmla="*/ 422 w 10000"/>
                <a:gd name="connsiteY18" fmla="*/ 4545 h 10000"/>
                <a:gd name="connsiteX19" fmla="*/ 281 w 10000"/>
                <a:gd name="connsiteY19" fmla="*/ 4611 h 10000"/>
                <a:gd name="connsiteX20" fmla="*/ 165 w 10000"/>
                <a:gd name="connsiteY20" fmla="*/ 4782 h 10000"/>
                <a:gd name="connsiteX21" fmla="*/ 256 w 10000"/>
                <a:gd name="connsiteY21" fmla="*/ 5000 h 10000"/>
                <a:gd name="connsiteX22" fmla="*/ 11 w 10000"/>
                <a:gd name="connsiteY22" fmla="*/ 5190 h 10000"/>
                <a:gd name="connsiteX23" fmla="*/ 114 w 10000"/>
                <a:gd name="connsiteY23" fmla="*/ 5361 h 10000"/>
                <a:gd name="connsiteX24" fmla="*/ 333 w 10000"/>
                <a:gd name="connsiteY24" fmla="*/ 5313 h 10000"/>
                <a:gd name="connsiteX25" fmla="*/ 397 w 10000"/>
                <a:gd name="connsiteY25" fmla="*/ 5598 h 10000"/>
                <a:gd name="connsiteX26" fmla="*/ 512 w 10000"/>
                <a:gd name="connsiteY26" fmla="*/ 5674 h 10000"/>
                <a:gd name="connsiteX27" fmla="*/ 371 w 10000"/>
                <a:gd name="connsiteY27" fmla="*/ 5721 h 10000"/>
                <a:gd name="connsiteX28" fmla="*/ 422 w 10000"/>
                <a:gd name="connsiteY28" fmla="*/ 5882 h 10000"/>
                <a:gd name="connsiteX29" fmla="*/ 1167 w 10000"/>
                <a:gd name="connsiteY29" fmla="*/ 6774 h 10000"/>
                <a:gd name="connsiteX30" fmla="*/ 1013 w 10000"/>
                <a:gd name="connsiteY30" fmla="*/ 7144 h 10000"/>
                <a:gd name="connsiteX31" fmla="*/ 1116 w 10000"/>
                <a:gd name="connsiteY31" fmla="*/ 7211 h 10000"/>
                <a:gd name="connsiteX32" fmla="*/ 1039 w 10000"/>
                <a:gd name="connsiteY32" fmla="*/ 7315 h 10000"/>
                <a:gd name="connsiteX33" fmla="*/ 1475 w 10000"/>
                <a:gd name="connsiteY33" fmla="*/ 7343 h 10000"/>
                <a:gd name="connsiteX34" fmla="*/ 1475 w 10000"/>
                <a:gd name="connsiteY34" fmla="*/ 7410 h 10000"/>
                <a:gd name="connsiteX35" fmla="*/ 1462 w 10000"/>
                <a:gd name="connsiteY35" fmla="*/ 7562 h 10000"/>
                <a:gd name="connsiteX36" fmla="*/ 1924 w 10000"/>
                <a:gd name="connsiteY36" fmla="*/ 7619 h 10000"/>
                <a:gd name="connsiteX37" fmla="*/ 1924 w 10000"/>
                <a:gd name="connsiteY37" fmla="*/ 7742 h 10000"/>
                <a:gd name="connsiteX38" fmla="*/ 2169 w 10000"/>
                <a:gd name="connsiteY38" fmla="*/ 7837 h 10000"/>
                <a:gd name="connsiteX39" fmla="*/ 2092 w 10000"/>
                <a:gd name="connsiteY39" fmla="*/ 7979 h 10000"/>
                <a:gd name="connsiteX40" fmla="*/ 2438 w 10000"/>
                <a:gd name="connsiteY40" fmla="*/ 8102 h 10000"/>
                <a:gd name="connsiteX41" fmla="*/ 2643 w 10000"/>
                <a:gd name="connsiteY41" fmla="*/ 8330 h 10000"/>
                <a:gd name="connsiteX42" fmla="*/ 2836 w 10000"/>
                <a:gd name="connsiteY42" fmla="*/ 8416 h 10000"/>
                <a:gd name="connsiteX43" fmla="*/ 2758 w 10000"/>
                <a:gd name="connsiteY43" fmla="*/ 8491 h 10000"/>
                <a:gd name="connsiteX44" fmla="*/ 2862 w 10000"/>
                <a:gd name="connsiteY44" fmla="*/ 8577 h 10000"/>
                <a:gd name="connsiteX45" fmla="*/ 2849 w 10000"/>
                <a:gd name="connsiteY45" fmla="*/ 8700 h 10000"/>
                <a:gd name="connsiteX46" fmla="*/ 3041 w 10000"/>
                <a:gd name="connsiteY46" fmla="*/ 8710 h 10000"/>
                <a:gd name="connsiteX47" fmla="*/ 3260 w 10000"/>
                <a:gd name="connsiteY47" fmla="*/ 8843 h 10000"/>
                <a:gd name="connsiteX48" fmla="*/ 3311 w 10000"/>
                <a:gd name="connsiteY48" fmla="*/ 9051 h 10000"/>
                <a:gd name="connsiteX49" fmla="*/ 3362 w 10000"/>
                <a:gd name="connsiteY49" fmla="*/ 9127 h 10000"/>
                <a:gd name="connsiteX50" fmla="*/ 3632 w 10000"/>
                <a:gd name="connsiteY50" fmla="*/ 9307 h 10000"/>
                <a:gd name="connsiteX51" fmla="*/ 3632 w 10000"/>
                <a:gd name="connsiteY51" fmla="*/ 9440 h 10000"/>
                <a:gd name="connsiteX52" fmla="*/ 4030 w 10000"/>
                <a:gd name="connsiteY52" fmla="*/ 9583 h 10000"/>
                <a:gd name="connsiteX53" fmla="*/ 4248 w 10000"/>
                <a:gd name="connsiteY53" fmla="*/ 9431 h 10000"/>
                <a:gd name="connsiteX54" fmla="*/ 4518 w 10000"/>
                <a:gd name="connsiteY54" fmla="*/ 9545 h 10000"/>
                <a:gd name="connsiteX55" fmla="*/ 4736 w 10000"/>
                <a:gd name="connsiteY55" fmla="*/ 9374 h 10000"/>
                <a:gd name="connsiteX56" fmla="*/ 4980 w 10000"/>
                <a:gd name="connsiteY56" fmla="*/ 9649 h 10000"/>
                <a:gd name="connsiteX57" fmla="*/ 5326 w 10000"/>
                <a:gd name="connsiteY57" fmla="*/ 9801 h 10000"/>
                <a:gd name="connsiteX58" fmla="*/ 5365 w 10000"/>
                <a:gd name="connsiteY58" fmla="*/ 9934 h 10000"/>
                <a:gd name="connsiteX59" fmla="*/ 5507 w 10000"/>
                <a:gd name="connsiteY59" fmla="*/ 9953 h 10000"/>
                <a:gd name="connsiteX60" fmla="*/ 5711 w 10000"/>
                <a:gd name="connsiteY60" fmla="*/ 9829 h 10000"/>
                <a:gd name="connsiteX61" fmla="*/ 5969 w 10000"/>
                <a:gd name="connsiteY61" fmla="*/ 9905 h 10000"/>
                <a:gd name="connsiteX62" fmla="*/ 6058 w 10000"/>
                <a:gd name="connsiteY62" fmla="*/ 9839 h 10000"/>
                <a:gd name="connsiteX63" fmla="*/ 6149 w 10000"/>
                <a:gd name="connsiteY63" fmla="*/ 9829 h 10000"/>
                <a:gd name="connsiteX64" fmla="*/ 6328 w 10000"/>
                <a:gd name="connsiteY64" fmla="*/ 10000 h 10000"/>
                <a:gd name="connsiteX65" fmla="*/ 6495 w 10000"/>
                <a:gd name="connsiteY65" fmla="*/ 9858 h 10000"/>
                <a:gd name="connsiteX66" fmla="*/ 6700 w 10000"/>
                <a:gd name="connsiteY66" fmla="*/ 9867 h 10000"/>
                <a:gd name="connsiteX67" fmla="*/ 6855 w 10000"/>
                <a:gd name="connsiteY67" fmla="*/ 9791 h 10000"/>
                <a:gd name="connsiteX68" fmla="*/ 7073 w 10000"/>
                <a:gd name="connsiteY68" fmla="*/ 9867 h 10000"/>
                <a:gd name="connsiteX69" fmla="*/ 7355 w 10000"/>
                <a:gd name="connsiteY69" fmla="*/ 9630 h 10000"/>
                <a:gd name="connsiteX70" fmla="*/ 7458 w 10000"/>
                <a:gd name="connsiteY70" fmla="*/ 9630 h 10000"/>
                <a:gd name="connsiteX71" fmla="*/ 7638 w 10000"/>
                <a:gd name="connsiteY71" fmla="*/ 9440 h 10000"/>
                <a:gd name="connsiteX72" fmla="*/ 8408 w 10000"/>
                <a:gd name="connsiteY72" fmla="*/ 9431 h 10000"/>
                <a:gd name="connsiteX73" fmla="*/ 8575 w 10000"/>
                <a:gd name="connsiteY73" fmla="*/ 9355 h 10000"/>
                <a:gd name="connsiteX74" fmla="*/ 8562 w 10000"/>
                <a:gd name="connsiteY74" fmla="*/ 9260 h 10000"/>
                <a:gd name="connsiteX75" fmla="*/ 8511 w 10000"/>
                <a:gd name="connsiteY75" fmla="*/ 9051 h 10000"/>
                <a:gd name="connsiteX76" fmla="*/ 8190 w 10000"/>
                <a:gd name="connsiteY76" fmla="*/ 8985 h 10000"/>
                <a:gd name="connsiteX77" fmla="*/ 8036 w 10000"/>
                <a:gd name="connsiteY77" fmla="*/ 8653 h 10000"/>
                <a:gd name="connsiteX78" fmla="*/ 7945 w 10000"/>
                <a:gd name="connsiteY78" fmla="*/ 8615 h 10000"/>
                <a:gd name="connsiteX79" fmla="*/ 7920 w 10000"/>
                <a:gd name="connsiteY79" fmla="*/ 8378 h 10000"/>
                <a:gd name="connsiteX80" fmla="*/ 7804 w 10000"/>
                <a:gd name="connsiteY80" fmla="*/ 8368 h 10000"/>
                <a:gd name="connsiteX81" fmla="*/ 7766 w 10000"/>
                <a:gd name="connsiteY81" fmla="*/ 8245 h 10000"/>
                <a:gd name="connsiteX82" fmla="*/ 7573 w 10000"/>
                <a:gd name="connsiteY82" fmla="*/ 8216 h 10000"/>
                <a:gd name="connsiteX83" fmla="*/ 7509 w 10000"/>
                <a:gd name="connsiteY83" fmla="*/ 8027 h 10000"/>
                <a:gd name="connsiteX84" fmla="*/ 7188 w 10000"/>
                <a:gd name="connsiteY84" fmla="*/ 7846 h 10000"/>
                <a:gd name="connsiteX85" fmla="*/ 6841 w 10000"/>
                <a:gd name="connsiteY85" fmla="*/ 7818 h 10000"/>
                <a:gd name="connsiteX86" fmla="*/ 6932 w 10000"/>
                <a:gd name="connsiteY86" fmla="*/ 7609 h 10000"/>
                <a:gd name="connsiteX87" fmla="*/ 6906 w 10000"/>
                <a:gd name="connsiteY87" fmla="*/ 7457 h 10000"/>
                <a:gd name="connsiteX88" fmla="*/ 7201 w 10000"/>
                <a:gd name="connsiteY88" fmla="*/ 7467 h 10000"/>
                <a:gd name="connsiteX89" fmla="*/ 7266 w 10000"/>
                <a:gd name="connsiteY89" fmla="*/ 7514 h 10000"/>
                <a:gd name="connsiteX90" fmla="*/ 7445 w 10000"/>
                <a:gd name="connsiteY90" fmla="*/ 7419 h 10000"/>
                <a:gd name="connsiteX91" fmla="*/ 7496 w 10000"/>
                <a:gd name="connsiteY91" fmla="*/ 7078 h 10000"/>
                <a:gd name="connsiteX92" fmla="*/ 7419 w 10000"/>
                <a:gd name="connsiteY92" fmla="*/ 6822 h 10000"/>
                <a:gd name="connsiteX93" fmla="*/ 7638 w 10000"/>
                <a:gd name="connsiteY93" fmla="*/ 6613 h 10000"/>
                <a:gd name="connsiteX94" fmla="*/ 7573 w 10000"/>
                <a:gd name="connsiteY94" fmla="*/ 6414 h 10000"/>
                <a:gd name="connsiteX95" fmla="*/ 7715 w 10000"/>
                <a:gd name="connsiteY95" fmla="*/ 6224 h 10000"/>
                <a:gd name="connsiteX96" fmla="*/ 7804 w 10000"/>
                <a:gd name="connsiteY96" fmla="*/ 6328 h 10000"/>
                <a:gd name="connsiteX97" fmla="*/ 7958 w 10000"/>
                <a:gd name="connsiteY97" fmla="*/ 6281 h 10000"/>
                <a:gd name="connsiteX98" fmla="*/ 7945 w 10000"/>
                <a:gd name="connsiteY98" fmla="*/ 5987 h 10000"/>
                <a:gd name="connsiteX99" fmla="*/ 8036 w 10000"/>
                <a:gd name="connsiteY99" fmla="*/ 5882 h 10000"/>
                <a:gd name="connsiteX100" fmla="*/ 8010 w 10000"/>
                <a:gd name="connsiteY100" fmla="*/ 5740 h 10000"/>
                <a:gd name="connsiteX101" fmla="*/ 8215 w 10000"/>
                <a:gd name="connsiteY101" fmla="*/ 5655 h 10000"/>
                <a:gd name="connsiteX102" fmla="*/ 8228 w 10000"/>
                <a:gd name="connsiteY102" fmla="*/ 5465 h 10000"/>
                <a:gd name="connsiteX103" fmla="*/ 8383 w 10000"/>
                <a:gd name="connsiteY103" fmla="*/ 5285 h 10000"/>
                <a:gd name="connsiteX104" fmla="*/ 8664 w 10000"/>
                <a:gd name="connsiteY104" fmla="*/ 5266 h 10000"/>
                <a:gd name="connsiteX105" fmla="*/ 8639 w 10000"/>
                <a:gd name="connsiteY105" fmla="*/ 5019 h 10000"/>
                <a:gd name="connsiteX106" fmla="*/ 8845 w 10000"/>
                <a:gd name="connsiteY106" fmla="*/ 4753 h 10000"/>
                <a:gd name="connsiteX107" fmla="*/ 8845 w 10000"/>
                <a:gd name="connsiteY107" fmla="*/ 4469 h 10000"/>
                <a:gd name="connsiteX108" fmla="*/ 8819 w 10000"/>
                <a:gd name="connsiteY108" fmla="*/ 4156 h 10000"/>
                <a:gd name="connsiteX109" fmla="*/ 8755 w 10000"/>
                <a:gd name="connsiteY109" fmla="*/ 4061 h 10000"/>
                <a:gd name="connsiteX110" fmla="*/ 8909 w 10000"/>
                <a:gd name="connsiteY110" fmla="*/ 3928 h 10000"/>
                <a:gd name="connsiteX111" fmla="*/ 8921 w 10000"/>
                <a:gd name="connsiteY111" fmla="*/ 3767 h 10000"/>
                <a:gd name="connsiteX112" fmla="*/ 9076 w 10000"/>
                <a:gd name="connsiteY112" fmla="*/ 3577 h 10000"/>
                <a:gd name="connsiteX113" fmla="*/ 8998 w 10000"/>
                <a:gd name="connsiteY113" fmla="*/ 3283 h 10000"/>
                <a:gd name="connsiteX114" fmla="*/ 9140 w 10000"/>
                <a:gd name="connsiteY114" fmla="*/ 3207 h 10000"/>
                <a:gd name="connsiteX115" fmla="*/ 9140 w 10000"/>
                <a:gd name="connsiteY115" fmla="*/ 3112 h 10000"/>
                <a:gd name="connsiteX116" fmla="*/ 9383 w 10000"/>
                <a:gd name="connsiteY116" fmla="*/ 3046 h 10000"/>
                <a:gd name="connsiteX117" fmla="*/ 9396 w 10000"/>
                <a:gd name="connsiteY117" fmla="*/ 2903 h 10000"/>
                <a:gd name="connsiteX118" fmla="*/ 9859 w 10000"/>
                <a:gd name="connsiteY118" fmla="*/ 2808 h 10000"/>
                <a:gd name="connsiteX119" fmla="*/ 10000 w 10000"/>
                <a:gd name="connsiteY119" fmla="*/ 2571 h 10000"/>
                <a:gd name="connsiteX120" fmla="*/ 9679 w 10000"/>
                <a:gd name="connsiteY120" fmla="*/ 2429 h 10000"/>
                <a:gd name="connsiteX121" fmla="*/ 9564 w 10000"/>
                <a:gd name="connsiteY121" fmla="*/ 2239 h 10000"/>
                <a:gd name="connsiteX122" fmla="*/ 9243 w 10000"/>
                <a:gd name="connsiteY122" fmla="*/ 2163 h 10000"/>
                <a:gd name="connsiteX123" fmla="*/ 9179 w 10000"/>
                <a:gd name="connsiteY123" fmla="*/ 1670 h 10000"/>
                <a:gd name="connsiteX124" fmla="*/ 9089 w 10000"/>
                <a:gd name="connsiteY124" fmla="*/ 1651 h 10000"/>
                <a:gd name="connsiteX125" fmla="*/ 9062 w 10000"/>
                <a:gd name="connsiteY125" fmla="*/ 1205 h 10000"/>
                <a:gd name="connsiteX126" fmla="*/ 8998 w 10000"/>
                <a:gd name="connsiteY126" fmla="*/ 1053 h 10000"/>
                <a:gd name="connsiteX127" fmla="*/ 9153 w 10000"/>
                <a:gd name="connsiteY127" fmla="*/ 1025 h 10000"/>
                <a:gd name="connsiteX128" fmla="*/ 8909 w 10000"/>
                <a:gd name="connsiteY128" fmla="*/ 797 h 10000"/>
                <a:gd name="connsiteX129" fmla="*/ 8870 w 10000"/>
                <a:gd name="connsiteY129" fmla="*/ 503 h 10000"/>
                <a:gd name="connsiteX130" fmla="*/ 8626 w 10000"/>
                <a:gd name="connsiteY130" fmla="*/ 370 h 10000"/>
                <a:gd name="connsiteX131" fmla="*/ 8460 w 10000"/>
                <a:gd name="connsiteY131" fmla="*/ 218 h 10000"/>
                <a:gd name="connsiteX132" fmla="*/ 8318 w 10000"/>
                <a:gd name="connsiteY132" fmla="*/ 209 h 10000"/>
                <a:gd name="connsiteX133" fmla="*/ 8113 w 10000"/>
                <a:gd name="connsiteY133" fmla="*/ 0 h 10000"/>
                <a:gd name="connsiteX134" fmla="*/ 7907 w 10000"/>
                <a:gd name="connsiteY134" fmla="*/ 142 h 10000"/>
                <a:gd name="connsiteX135" fmla="*/ 7689 w 10000"/>
                <a:gd name="connsiteY135" fmla="*/ 152 h 10000"/>
                <a:gd name="connsiteX0" fmla="*/ 7689 w 10000"/>
                <a:gd name="connsiteY0" fmla="*/ 152 h 10000"/>
                <a:gd name="connsiteX1" fmla="*/ 7560 w 10000"/>
                <a:gd name="connsiteY1" fmla="*/ 408 h 10000"/>
                <a:gd name="connsiteX2" fmla="*/ 7279 w 10000"/>
                <a:gd name="connsiteY2" fmla="*/ 436 h 10000"/>
                <a:gd name="connsiteX3" fmla="*/ 6996 w 10000"/>
                <a:gd name="connsiteY3" fmla="*/ 731 h 10000"/>
                <a:gd name="connsiteX4" fmla="*/ 6675 w 10000"/>
                <a:gd name="connsiteY4" fmla="*/ 560 h 10000"/>
                <a:gd name="connsiteX5" fmla="*/ 5660 w 10000"/>
                <a:gd name="connsiteY5" fmla="*/ 531 h 10000"/>
                <a:gd name="connsiteX6" fmla="*/ 5596 w 10000"/>
                <a:gd name="connsiteY6" fmla="*/ 455 h 10000"/>
                <a:gd name="connsiteX7" fmla="*/ 5481 w 10000"/>
                <a:gd name="connsiteY7" fmla="*/ 569 h 10000"/>
                <a:gd name="connsiteX8" fmla="*/ 1809 w 10000"/>
                <a:gd name="connsiteY8" fmla="*/ 531 h 10000"/>
                <a:gd name="connsiteX9" fmla="*/ 1822 w 10000"/>
                <a:gd name="connsiteY9" fmla="*/ 1556 h 10000"/>
                <a:gd name="connsiteX10" fmla="*/ 1205 w 10000"/>
                <a:gd name="connsiteY10" fmla="*/ 1565 h 10000"/>
                <a:gd name="connsiteX11" fmla="*/ 1269 w 10000"/>
                <a:gd name="connsiteY11" fmla="*/ 3776 h 10000"/>
                <a:gd name="connsiteX12" fmla="*/ 692 w 10000"/>
                <a:gd name="connsiteY12" fmla="*/ 3767 h 10000"/>
                <a:gd name="connsiteX13" fmla="*/ 666 w 10000"/>
                <a:gd name="connsiteY13" fmla="*/ 3985 h 10000"/>
                <a:gd name="connsiteX14" fmla="*/ 499 w 10000"/>
                <a:gd name="connsiteY14" fmla="*/ 4118 h 10000"/>
                <a:gd name="connsiteX15" fmla="*/ 448 w 10000"/>
                <a:gd name="connsiteY15" fmla="*/ 4288 h 10000"/>
                <a:gd name="connsiteX16" fmla="*/ 320 w 10000"/>
                <a:gd name="connsiteY16" fmla="*/ 4288 h 10000"/>
                <a:gd name="connsiteX17" fmla="*/ 358 w 10000"/>
                <a:gd name="connsiteY17" fmla="*/ 4440 h 10000"/>
                <a:gd name="connsiteX18" fmla="*/ 422 w 10000"/>
                <a:gd name="connsiteY18" fmla="*/ 4545 h 10000"/>
                <a:gd name="connsiteX19" fmla="*/ 281 w 10000"/>
                <a:gd name="connsiteY19" fmla="*/ 4611 h 10000"/>
                <a:gd name="connsiteX20" fmla="*/ 165 w 10000"/>
                <a:gd name="connsiteY20" fmla="*/ 4782 h 10000"/>
                <a:gd name="connsiteX21" fmla="*/ 256 w 10000"/>
                <a:gd name="connsiteY21" fmla="*/ 5000 h 10000"/>
                <a:gd name="connsiteX22" fmla="*/ 11 w 10000"/>
                <a:gd name="connsiteY22" fmla="*/ 5190 h 10000"/>
                <a:gd name="connsiteX23" fmla="*/ 114 w 10000"/>
                <a:gd name="connsiteY23" fmla="*/ 5361 h 10000"/>
                <a:gd name="connsiteX24" fmla="*/ 333 w 10000"/>
                <a:gd name="connsiteY24" fmla="*/ 5313 h 10000"/>
                <a:gd name="connsiteX25" fmla="*/ 397 w 10000"/>
                <a:gd name="connsiteY25" fmla="*/ 5598 h 10000"/>
                <a:gd name="connsiteX26" fmla="*/ 512 w 10000"/>
                <a:gd name="connsiteY26" fmla="*/ 5674 h 10000"/>
                <a:gd name="connsiteX27" fmla="*/ 371 w 10000"/>
                <a:gd name="connsiteY27" fmla="*/ 5721 h 10000"/>
                <a:gd name="connsiteX28" fmla="*/ 1167 w 10000"/>
                <a:gd name="connsiteY28" fmla="*/ 6774 h 10000"/>
                <a:gd name="connsiteX29" fmla="*/ 1013 w 10000"/>
                <a:gd name="connsiteY29" fmla="*/ 7144 h 10000"/>
                <a:gd name="connsiteX30" fmla="*/ 1116 w 10000"/>
                <a:gd name="connsiteY30" fmla="*/ 7211 h 10000"/>
                <a:gd name="connsiteX31" fmla="*/ 1039 w 10000"/>
                <a:gd name="connsiteY31" fmla="*/ 7315 h 10000"/>
                <a:gd name="connsiteX32" fmla="*/ 1475 w 10000"/>
                <a:gd name="connsiteY32" fmla="*/ 7343 h 10000"/>
                <a:gd name="connsiteX33" fmla="*/ 1475 w 10000"/>
                <a:gd name="connsiteY33" fmla="*/ 7410 h 10000"/>
                <a:gd name="connsiteX34" fmla="*/ 1462 w 10000"/>
                <a:gd name="connsiteY34" fmla="*/ 7562 h 10000"/>
                <a:gd name="connsiteX35" fmla="*/ 1924 w 10000"/>
                <a:gd name="connsiteY35" fmla="*/ 7619 h 10000"/>
                <a:gd name="connsiteX36" fmla="*/ 1924 w 10000"/>
                <a:gd name="connsiteY36" fmla="*/ 7742 h 10000"/>
                <a:gd name="connsiteX37" fmla="*/ 2169 w 10000"/>
                <a:gd name="connsiteY37" fmla="*/ 7837 h 10000"/>
                <a:gd name="connsiteX38" fmla="*/ 2092 w 10000"/>
                <a:gd name="connsiteY38" fmla="*/ 7979 h 10000"/>
                <a:gd name="connsiteX39" fmla="*/ 2438 w 10000"/>
                <a:gd name="connsiteY39" fmla="*/ 8102 h 10000"/>
                <a:gd name="connsiteX40" fmla="*/ 2643 w 10000"/>
                <a:gd name="connsiteY40" fmla="*/ 8330 h 10000"/>
                <a:gd name="connsiteX41" fmla="*/ 2836 w 10000"/>
                <a:gd name="connsiteY41" fmla="*/ 8416 h 10000"/>
                <a:gd name="connsiteX42" fmla="*/ 2758 w 10000"/>
                <a:gd name="connsiteY42" fmla="*/ 8491 h 10000"/>
                <a:gd name="connsiteX43" fmla="*/ 2862 w 10000"/>
                <a:gd name="connsiteY43" fmla="*/ 8577 h 10000"/>
                <a:gd name="connsiteX44" fmla="*/ 2849 w 10000"/>
                <a:gd name="connsiteY44" fmla="*/ 8700 h 10000"/>
                <a:gd name="connsiteX45" fmla="*/ 3041 w 10000"/>
                <a:gd name="connsiteY45" fmla="*/ 8710 h 10000"/>
                <a:gd name="connsiteX46" fmla="*/ 3260 w 10000"/>
                <a:gd name="connsiteY46" fmla="*/ 8843 h 10000"/>
                <a:gd name="connsiteX47" fmla="*/ 3311 w 10000"/>
                <a:gd name="connsiteY47" fmla="*/ 9051 h 10000"/>
                <a:gd name="connsiteX48" fmla="*/ 3362 w 10000"/>
                <a:gd name="connsiteY48" fmla="*/ 9127 h 10000"/>
                <a:gd name="connsiteX49" fmla="*/ 3632 w 10000"/>
                <a:gd name="connsiteY49" fmla="*/ 9307 h 10000"/>
                <a:gd name="connsiteX50" fmla="*/ 3632 w 10000"/>
                <a:gd name="connsiteY50" fmla="*/ 9440 h 10000"/>
                <a:gd name="connsiteX51" fmla="*/ 4030 w 10000"/>
                <a:gd name="connsiteY51" fmla="*/ 9583 h 10000"/>
                <a:gd name="connsiteX52" fmla="*/ 4248 w 10000"/>
                <a:gd name="connsiteY52" fmla="*/ 9431 h 10000"/>
                <a:gd name="connsiteX53" fmla="*/ 4518 w 10000"/>
                <a:gd name="connsiteY53" fmla="*/ 9545 h 10000"/>
                <a:gd name="connsiteX54" fmla="*/ 4736 w 10000"/>
                <a:gd name="connsiteY54" fmla="*/ 9374 h 10000"/>
                <a:gd name="connsiteX55" fmla="*/ 4980 w 10000"/>
                <a:gd name="connsiteY55" fmla="*/ 9649 h 10000"/>
                <a:gd name="connsiteX56" fmla="*/ 5326 w 10000"/>
                <a:gd name="connsiteY56" fmla="*/ 9801 h 10000"/>
                <a:gd name="connsiteX57" fmla="*/ 5365 w 10000"/>
                <a:gd name="connsiteY57" fmla="*/ 9934 h 10000"/>
                <a:gd name="connsiteX58" fmla="*/ 5507 w 10000"/>
                <a:gd name="connsiteY58" fmla="*/ 9953 h 10000"/>
                <a:gd name="connsiteX59" fmla="*/ 5711 w 10000"/>
                <a:gd name="connsiteY59" fmla="*/ 9829 h 10000"/>
                <a:gd name="connsiteX60" fmla="*/ 5969 w 10000"/>
                <a:gd name="connsiteY60" fmla="*/ 9905 h 10000"/>
                <a:gd name="connsiteX61" fmla="*/ 6058 w 10000"/>
                <a:gd name="connsiteY61" fmla="*/ 9839 h 10000"/>
                <a:gd name="connsiteX62" fmla="*/ 6149 w 10000"/>
                <a:gd name="connsiteY62" fmla="*/ 9829 h 10000"/>
                <a:gd name="connsiteX63" fmla="*/ 6328 w 10000"/>
                <a:gd name="connsiteY63" fmla="*/ 10000 h 10000"/>
                <a:gd name="connsiteX64" fmla="*/ 6495 w 10000"/>
                <a:gd name="connsiteY64" fmla="*/ 9858 h 10000"/>
                <a:gd name="connsiteX65" fmla="*/ 6700 w 10000"/>
                <a:gd name="connsiteY65" fmla="*/ 9867 h 10000"/>
                <a:gd name="connsiteX66" fmla="*/ 6855 w 10000"/>
                <a:gd name="connsiteY66" fmla="*/ 9791 h 10000"/>
                <a:gd name="connsiteX67" fmla="*/ 7073 w 10000"/>
                <a:gd name="connsiteY67" fmla="*/ 9867 h 10000"/>
                <a:gd name="connsiteX68" fmla="*/ 7355 w 10000"/>
                <a:gd name="connsiteY68" fmla="*/ 9630 h 10000"/>
                <a:gd name="connsiteX69" fmla="*/ 7458 w 10000"/>
                <a:gd name="connsiteY69" fmla="*/ 9630 h 10000"/>
                <a:gd name="connsiteX70" fmla="*/ 7638 w 10000"/>
                <a:gd name="connsiteY70" fmla="*/ 9440 h 10000"/>
                <a:gd name="connsiteX71" fmla="*/ 8408 w 10000"/>
                <a:gd name="connsiteY71" fmla="*/ 9431 h 10000"/>
                <a:gd name="connsiteX72" fmla="*/ 8575 w 10000"/>
                <a:gd name="connsiteY72" fmla="*/ 9355 h 10000"/>
                <a:gd name="connsiteX73" fmla="*/ 8562 w 10000"/>
                <a:gd name="connsiteY73" fmla="*/ 9260 h 10000"/>
                <a:gd name="connsiteX74" fmla="*/ 8511 w 10000"/>
                <a:gd name="connsiteY74" fmla="*/ 9051 h 10000"/>
                <a:gd name="connsiteX75" fmla="*/ 8190 w 10000"/>
                <a:gd name="connsiteY75" fmla="*/ 8985 h 10000"/>
                <a:gd name="connsiteX76" fmla="*/ 8036 w 10000"/>
                <a:gd name="connsiteY76" fmla="*/ 8653 h 10000"/>
                <a:gd name="connsiteX77" fmla="*/ 7945 w 10000"/>
                <a:gd name="connsiteY77" fmla="*/ 8615 h 10000"/>
                <a:gd name="connsiteX78" fmla="*/ 7920 w 10000"/>
                <a:gd name="connsiteY78" fmla="*/ 8378 h 10000"/>
                <a:gd name="connsiteX79" fmla="*/ 7804 w 10000"/>
                <a:gd name="connsiteY79" fmla="*/ 8368 h 10000"/>
                <a:gd name="connsiteX80" fmla="*/ 7766 w 10000"/>
                <a:gd name="connsiteY80" fmla="*/ 8245 h 10000"/>
                <a:gd name="connsiteX81" fmla="*/ 7573 w 10000"/>
                <a:gd name="connsiteY81" fmla="*/ 8216 h 10000"/>
                <a:gd name="connsiteX82" fmla="*/ 7509 w 10000"/>
                <a:gd name="connsiteY82" fmla="*/ 8027 h 10000"/>
                <a:gd name="connsiteX83" fmla="*/ 7188 w 10000"/>
                <a:gd name="connsiteY83" fmla="*/ 7846 h 10000"/>
                <a:gd name="connsiteX84" fmla="*/ 6841 w 10000"/>
                <a:gd name="connsiteY84" fmla="*/ 7818 h 10000"/>
                <a:gd name="connsiteX85" fmla="*/ 6932 w 10000"/>
                <a:gd name="connsiteY85" fmla="*/ 7609 h 10000"/>
                <a:gd name="connsiteX86" fmla="*/ 6906 w 10000"/>
                <a:gd name="connsiteY86" fmla="*/ 7457 h 10000"/>
                <a:gd name="connsiteX87" fmla="*/ 7201 w 10000"/>
                <a:gd name="connsiteY87" fmla="*/ 7467 h 10000"/>
                <a:gd name="connsiteX88" fmla="*/ 7266 w 10000"/>
                <a:gd name="connsiteY88" fmla="*/ 7514 h 10000"/>
                <a:gd name="connsiteX89" fmla="*/ 7445 w 10000"/>
                <a:gd name="connsiteY89" fmla="*/ 7419 h 10000"/>
                <a:gd name="connsiteX90" fmla="*/ 7496 w 10000"/>
                <a:gd name="connsiteY90" fmla="*/ 7078 h 10000"/>
                <a:gd name="connsiteX91" fmla="*/ 7419 w 10000"/>
                <a:gd name="connsiteY91" fmla="*/ 6822 h 10000"/>
                <a:gd name="connsiteX92" fmla="*/ 7638 w 10000"/>
                <a:gd name="connsiteY92" fmla="*/ 6613 h 10000"/>
                <a:gd name="connsiteX93" fmla="*/ 7573 w 10000"/>
                <a:gd name="connsiteY93" fmla="*/ 6414 h 10000"/>
                <a:gd name="connsiteX94" fmla="*/ 7715 w 10000"/>
                <a:gd name="connsiteY94" fmla="*/ 6224 h 10000"/>
                <a:gd name="connsiteX95" fmla="*/ 7804 w 10000"/>
                <a:gd name="connsiteY95" fmla="*/ 6328 h 10000"/>
                <a:gd name="connsiteX96" fmla="*/ 7958 w 10000"/>
                <a:gd name="connsiteY96" fmla="*/ 6281 h 10000"/>
                <a:gd name="connsiteX97" fmla="*/ 7945 w 10000"/>
                <a:gd name="connsiteY97" fmla="*/ 5987 h 10000"/>
                <a:gd name="connsiteX98" fmla="*/ 8036 w 10000"/>
                <a:gd name="connsiteY98" fmla="*/ 5882 h 10000"/>
                <a:gd name="connsiteX99" fmla="*/ 8010 w 10000"/>
                <a:gd name="connsiteY99" fmla="*/ 5740 h 10000"/>
                <a:gd name="connsiteX100" fmla="*/ 8215 w 10000"/>
                <a:gd name="connsiteY100" fmla="*/ 5655 h 10000"/>
                <a:gd name="connsiteX101" fmla="*/ 8228 w 10000"/>
                <a:gd name="connsiteY101" fmla="*/ 5465 h 10000"/>
                <a:gd name="connsiteX102" fmla="*/ 8383 w 10000"/>
                <a:gd name="connsiteY102" fmla="*/ 5285 h 10000"/>
                <a:gd name="connsiteX103" fmla="*/ 8664 w 10000"/>
                <a:gd name="connsiteY103" fmla="*/ 5266 h 10000"/>
                <a:gd name="connsiteX104" fmla="*/ 8639 w 10000"/>
                <a:gd name="connsiteY104" fmla="*/ 5019 h 10000"/>
                <a:gd name="connsiteX105" fmla="*/ 8845 w 10000"/>
                <a:gd name="connsiteY105" fmla="*/ 4753 h 10000"/>
                <a:gd name="connsiteX106" fmla="*/ 8845 w 10000"/>
                <a:gd name="connsiteY106" fmla="*/ 4469 h 10000"/>
                <a:gd name="connsiteX107" fmla="*/ 8819 w 10000"/>
                <a:gd name="connsiteY107" fmla="*/ 4156 h 10000"/>
                <a:gd name="connsiteX108" fmla="*/ 8755 w 10000"/>
                <a:gd name="connsiteY108" fmla="*/ 4061 h 10000"/>
                <a:gd name="connsiteX109" fmla="*/ 8909 w 10000"/>
                <a:gd name="connsiteY109" fmla="*/ 3928 h 10000"/>
                <a:gd name="connsiteX110" fmla="*/ 8921 w 10000"/>
                <a:gd name="connsiteY110" fmla="*/ 3767 h 10000"/>
                <a:gd name="connsiteX111" fmla="*/ 9076 w 10000"/>
                <a:gd name="connsiteY111" fmla="*/ 3577 h 10000"/>
                <a:gd name="connsiteX112" fmla="*/ 8998 w 10000"/>
                <a:gd name="connsiteY112" fmla="*/ 3283 h 10000"/>
                <a:gd name="connsiteX113" fmla="*/ 9140 w 10000"/>
                <a:gd name="connsiteY113" fmla="*/ 3207 h 10000"/>
                <a:gd name="connsiteX114" fmla="*/ 9140 w 10000"/>
                <a:gd name="connsiteY114" fmla="*/ 3112 h 10000"/>
                <a:gd name="connsiteX115" fmla="*/ 9383 w 10000"/>
                <a:gd name="connsiteY115" fmla="*/ 3046 h 10000"/>
                <a:gd name="connsiteX116" fmla="*/ 9396 w 10000"/>
                <a:gd name="connsiteY116" fmla="*/ 2903 h 10000"/>
                <a:gd name="connsiteX117" fmla="*/ 9859 w 10000"/>
                <a:gd name="connsiteY117" fmla="*/ 2808 h 10000"/>
                <a:gd name="connsiteX118" fmla="*/ 10000 w 10000"/>
                <a:gd name="connsiteY118" fmla="*/ 2571 h 10000"/>
                <a:gd name="connsiteX119" fmla="*/ 9679 w 10000"/>
                <a:gd name="connsiteY119" fmla="*/ 2429 h 10000"/>
                <a:gd name="connsiteX120" fmla="*/ 9564 w 10000"/>
                <a:gd name="connsiteY120" fmla="*/ 2239 h 10000"/>
                <a:gd name="connsiteX121" fmla="*/ 9243 w 10000"/>
                <a:gd name="connsiteY121" fmla="*/ 2163 h 10000"/>
                <a:gd name="connsiteX122" fmla="*/ 9179 w 10000"/>
                <a:gd name="connsiteY122" fmla="*/ 1670 h 10000"/>
                <a:gd name="connsiteX123" fmla="*/ 9089 w 10000"/>
                <a:gd name="connsiteY123" fmla="*/ 1651 h 10000"/>
                <a:gd name="connsiteX124" fmla="*/ 9062 w 10000"/>
                <a:gd name="connsiteY124" fmla="*/ 1205 h 10000"/>
                <a:gd name="connsiteX125" fmla="*/ 8998 w 10000"/>
                <a:gd name="connsiteY125" fmla="*/ 1053 h 10000"/>
                <a:gd name="connsiteX126" fmla="*/ 9153 w 10000"/>
                <a:gd name="connsiteY126" fmla="*/ 1025 h 10000"/>
                <a:gd name="connsiteX127" fmla="*/ 8909 w 10000"/>
                <a:gd name="connsiteY127" fmla="*/ 797 h 10000"/>
                <a:gd name="connsiteX128" fmla="*/ 8870 w 10000"/>
                <a:gd name="connsiteY128" fmla="*/ 503 h 10000"/>
                <a:gd name="connsiteX129" fmla="*/ 8626 w 10000"/>
                <a:gd name="connsiteY129" fmla="*/ 370 h 10000"/>
                <a:gd name="connsiteX130" fmla="*/ 8460 w 10000"/>
                <a:gd name="connsiteY130" fmla="*/ 218 h 10000"/>
                <a:gd name="connsiteX131" fmla="*/ 8318 w 10000"/>
                <a:gd name="connsiteY131" fmla="*/ 209 h 10000"/>
                <a:gd name="connsiteX132" fmla="*/ 8113 w 10000"/>
                <a:gd name="connsiteY132" fmla="*/ 0 h 10000"/>
                <a:gd name="connsiteX133" fmla="*/ 7907 w 10000"/>
                <a:gd name="connsiteY133" fmla="*/ 142 h 10000"/>
                <a:gd name="connsiteX134" fmla="*/ 7689 w 10000"/>
                <a:gd name="connsiteY134" fmla="*/ 152 h 10000"/>
                <a:gd name="connsiteX0" fmla="*/ 7689 w 10000"/>
                <a:gd name="connsiteY0" fmla="*/ 152 h 10000"/>
                <a:gd name="connsiteX1" fmla="*/ 7560 w 10000"/>
                <a:gd name="connsiteY1" fmla="*/ 408 h 10000"/>
                <a:gd name="connsiteX2" fmla="*/ 7279 w 10000"/>
                <a:gd name="connsiteY2" fmla="*/ 436 h 10000"/>
                <a:gd name="connsiteX3" fmla="*/ 6996 w 10000"/>
                <a:gd name="connsiteY3" fmla="*/ 731 h 10000"/>
                <a:gd name="connsiteX4" fmla="*/ 6675 w 10000"/>
                <a:gd name="connsiteY4" fmla="*/ 560 h 10000"/>
                <a:gd name="connsiteX5" fmla="*/ 5660 w 10000"/>
                <a:gd name="connsiteY5" fmla="*/ 531 h 10000"/>
                <a:gd name="connsiteX6" fmla="*/ 5596 w 10000"/>
                <a:gd name="connsiteY6" fmla="*/ 455 h 10000"/>
                <a:gd name="connsiteX7" fmla="*/ 5481 w 10000"/>
                <a:gd name="connsiteY7" fmla="*/ 569 h 10000"/>
                <a:gd name="connsiteX8" fmla="*/ 1809 w 10000"/>
                <a:gd name="connsiteY8" fmla="*/ 531 h 10000"/>
                <a:gd name="connsiteX9" fmla="*/ 1822 w 10000"/>
                <a:gd name="connsiteY9" fmla="*/ 1556 h 10000"/>
                <a:gd name="connsiteX10" fmla="*/ 1205 w 10000"/>
                <a:gd name="connsiteY10" fmla="*/ 1565 h 10000"/>
                <a:gd name="connsiteX11" fmla="*/ 1269 w 10000"/>
                <a:gd name="connsiteY11" fmla="*/ 3776 h 10000"/>
                <a:gd name="connsiteX12" fmla="*/ 692 w 10000"/>
                <a:gd name="connsiteY12" fmla="*/ 3767 h 10000"/>
                <a:gd name="connsiteX13" fmla="*/ 666 w 10000"/>
                <a:gd name="connsiteY13" fmla="*/ 3985 h 10000"/>
                <a:gd name="connsiteX14" fmla="*/ 499 w 10000"/>
                <a:gd name="connsiteY14" fmla="*/ 4118 h 10000"/>
                <a:gd name="connsiteX15" fmla="*/ 448 w 10000"/>
                <a:gd name="connsiteY15" fmla="*/ 4288 h 10000"/>
                <a:gd name="connsiteX16" fmla="*/ 320 w 10000"/>
                <a:gd name="connsiteY16" fmla="*/ 4288 h 10000"/>
                <a:gd name="connsiteX17" fmla="*/ 358 w 10000"/>
                <a:gd name="connsiteY17" fmla="*/ 4440 h 10000"/>
                <a:gd name="connsiteX18" fmla="*/ 422 w 10000"/>
                <a:gd name="connsiteY18" fmla="*/ 4545 h 10000"/>
                <a:gd name="connsiteX19" fmla="*/ 281 w 10000"/>
                <a:gd name="connsiteY19" fmla="*/ 4611 h 10000"/>
                <a:gd name="connsiteX20" fmla="*/ 165 w 10000"/>
                <a:gd name="connsiteY20" fmla="*/ 4782 h 10000"/>
                <a:gd name="connsiteX21" fmla="*/ 256 w 10000"/>
                <a:gd name="connsiteY21" fmla="*/ 5000 h 10000"/>
                <a:gd name="connsiteX22" fmla="*/ 11 w 10000"/>
                <a:gd name="connsiteY22" fmla="*/ 5190 h 10000"/>
                <a:gd name="connsiteX23" fmla="*/ 114 w 10000"/>
                <a:gd name="connsiteY23" fmla="*/ 5361 h 10000"/>
                <a:gd name="connsiteX24" fmla="*/ 333 w 10000"/>
                <a:gd name="connsiteY24" fmla="*/ 5313 h 10000"/>
                <a:gd name="connsiteX25" fmla="*/ 397 w 10000"/>
                <a:gd name="connsiteY25" fmla="*/ 5598 h 10000"/>
                <a:gd name="connsiteX26" fmla="*/ 512 w 10000"/>
                <a:gd name="connsiteY26" fmla="*/ 5674 h 10000"/>
                <a:gd name="connsiteX27" fmla="*/ 1167 w 10000"/>
                <a:gd name="connsiteY27" fmla="*/ 6774 h 10000"/>
                <a:gd name="connsiteX28" fmla="*/ 1013 w 10000"/>
                <a:gd name="connsiteY28" fmla="*/ 7144 h 10000"/>
                <a:gd name="connsiteX29" fmla="*/ 1116 w 10000"/>
                <a:gd name="connsiteY29" fmla="*/ 7211 h 10000"/>
                <a:gd name="connsiteX30" fmla="*/ 1039 w 10000"/>
                <a:gd name="connsiteY30" fmla="*/ 7315 h 10000"/>
                <a:gd name="connsiteX31" fmla="*/ 1475 w 10000"/>
                <a:gd name="connsiteY31" fmla="*/ 7343 h 10000"/>
                <a:gd name="connsiteX32" fmla="*/ 1475 w 10000"/>
                <a:gd name="connsiteY32" fmla="*/ 7410 h 10000"/>
                <a:gd name="connsiteX33" fmla="*/ 1462 w 10000"/>
                <a:gd name="connsiteY33" fmla="*/ 7562 h 10000"/>
                <a:gd name="connsiteX34" fmla="*/ 1924 w 10000"/>
                <a:gd name="connsiteY34" fmla="*/ 7619 h 10000"/>
                <a:gd name="connsiteX35" fmla="*/ 1924 w 10000"/>
                <a:gd name="connsiteY35" fmla="*/ 7742 h 10000"/>
                <a:gd name="connsiteX36" fmla="*/ 2169 w 10000"/>
                <a:gd name="connsiteY36" fmla="*/ 7837 h 10000"/>
                <a:gd name="connsiteX37" fmla="*/ 2092 w 10000"/>
                <a:gd name="connsiteY37" fmla="*/ 7979 h 10000"/>
                <a:gd name="connsiteX38" fmla="*/ 2438 w 10000"/>
                <a:gd name="connsiteY38" fmla="*/ 8102 h 10000"/>
                <a:gd name="connsiteX39" fmla="*/ 2643 w 10000"/>
                <a:gd name="connsiteY39" fmla="*/ 8330 h 10000"/>
                <a:gd name="connsiteX40" fmla="*/ 2836 w 10000"/>
                <a:gd name="connsiteY40" fmla="*/ 8416 h 10000"/>
                <a:gd name="connsiteX41" fmla="*/ 2758 w 10000"/>
                <a:gd name="connsiteY41" fmla="*/ 8491 h 10000"/>
                <a:gd name="connsiteX42" fmla="*/ 2862 w 10000"/>
                <a:gd name="connsiteY42" fmla="*/ 8577 h 10000"/>
                <a:gd name="connsiteX43" fmla="*/ 2849 w 10000"/>
                <a:gd name="connsiteY43" fmla="*/ 8700 h 10000"/>
                <a:gd name="connsiteX44" fmla="*/ 3041 w 10000"/>
                <a:gd name="connsiteY44" fmla="*/ 8710 h 10000"/>
                <a:gd name="connsiteX45" fmla="*/ 3260 w 10000"/>
                <a:gd name="connsiteY45" fmla="*/ 8843 h 10000"/>
                <a:gd name="connsiteX46" fmla="*/ 3311 w 10000"/>
                <a:gd name="connsiteY46" fmla="*/ 9051 h 10000"/>
                <a:gd name="connsiteX47" fmla="*/ 3362 w 10000"/>
                <a:gd name="connsiteY47" fmla="*/ 9127 h 10000"/>
                <a:gd name="connsiteX48" fmla="*/ 3632 w 10000"/>
                <a:gd name="connsiteY48" fmla="*/ 9307 h 10000"/>
                <a:gd name="connsiteX49" fmla="*/ 3632 w 10000"/>
                <a:gd name="connsiteY49" fmla="*/ 9440 h 10000"/>
                <a:gd name="connsiteX50" fmla="*/ 4030 w 10000"/>
                <a:gd name="connsiteY50" fmla="*/ 9583 h 10000"/>
                <a:gd name="connsiteX51" fmla="*/ 4248 w 10000"/>
                <a:gd name="connsiteY51" fmla="*/ 9431 h 10000"/>
                <a:gd name="connsiteX52" fmla="*/ 4518 w 10000"/>
                <a:gd name="connsiteY52" fmla="*/ 9545 h 10000"/>
                <a:gd name="connsiteX53" fmla="*/ 4736 w 10000"/>
                <a:gd name="connsiteY53" fmla="*/ 9374 h 10000"/>
                <a:gd name="connsiteX54" fmla="*/ 4980 w 10000"/>
                <a:gd name="connsiteY54" fmla="*/ 9649 h 10000"/>
                <a:gd name="connsiteX55" fmla="*/ 5326 w 10000"/>
                <a:gd name="connsiteY55" fmla="*/ 9801 h 10000"/>
                <a:gd name="connsiteX56" fmla="*/ 5365 w 10000"/>
                <a:gd name="connsiteY56" fmla="*/ 9934 h 10000"/>
                <a:gd name="connsiteX57" fmla="*/ 5507 w 10000"/>
                <a:gd name="connsiteY57" fmla="*/ 9953 h 10000"/>
                <a:gd name="connsiteX58" fmla="*/ 5711 w 10000"/>
                <a:gd name="connsiteY58" fmla="*/ 9829 h 10000"/>
                <a:gd name="connsiteX59" fmla="*/ 5969 w 10000"/>
                <a:gd name="connsiteY59" fmla="*/ 9905 h 10000"/>
                <a:gd name="connsiteX60" fmla="*/ 6058 w 10000"/>
                <a:gd name="connsiteY60" fmla="*/ 9839 h 10000"/>
                <a:gd name="connsiteX61" fmla="*/ 6149 w 10000"/>
                <a:gd name="connsiteY61" fmla="*/ 9829 h 10000"/>
                <a:gd name="connsiteX62" fmla="*/ 6328 w 10000"/>
                <a:gd name="connsiteY62" fmla="*/ 10000 h 10000"/>
                <a:gd name="connsiteX63" fmla="*/ 6495 w 10000"/>
                <a:gd name="connsiteY63" fmla="*/ 9858 h 10000"/>
                <a:gd name="connsiteX64" fmla="*/ 6700 w 10000"/>
                <a:gd name="connsiteY64" fmla="*/ 9867 h 10000"/>
                <a:gd name="connsiteX65" fmla="*/ 6855 w 10000"/>
                <a:gd name="connsiteY65" fmla="*/ 9791 h 10000"/>
                <a:gd name="connsiteX66" fmla="*/ 7073 w 10000"/>
                <a:gd name="connsiteY66" fmla="*/ 9867 h 10000"/>
                <a:gd name="connsiteX67" fmla="*/ 7355 w 10000"/>
                <a:gd name="connsiteY67" fmla="*/ 9630 h 10000"/>
                <a:gd name="connsiteX68" fmla="*/ 7458 w 10000"/>
                <a:gd name="connsiteY68" fmla="*/ 9630 h 10000"/>
                <a:gd name="connsiteX69" fmla="*/ 7638 w 10000"/>
                <a:gd name="connsiteY69" fmla="*/ 9440 h 10000"/>
                <a:gd name="connsiteX70" fmla="*/ 8408 w 10000"/>
                <a:gd name="connsiteY70" fmla="*/ 9431 h 10000"/>
                <a:gd name="connsiteX71" fmla="*/ 8575 w 10000"/>
                <a:gd name="connsiteY71" fmla="*/ 9355 h 10000"/>
                <a:gd name="connsiteX72" fmla="*/ 8562 w 10000"/>
                <a:gd name="connsiteY72" fmla="*/ 9260 h 10000"/>
                <a:gd name="connsiteX73" fmla="*/ 8511 w 10000"/>
                <a:gd name="connsiteY73" fmla="*/ 9051 h 10000"/>
                <a:gd name="connsiteX74" fmla="*/ 8190 w 10000"/>
                <a:gd name="connsiteY74" fmla="*/ 8985 h 10000"/>
                <a:gd name="connsiteX75" fmla="*/ 8036 w 10000"/>
                <a:gd name="connsiteY75" fmla="*/ 8653 h 10000"/>
                <a:gd name="connsiteX76" fmla="*/ 7945 w 10000"/>
                <a:gd name="connsiteY76" fmla="*/ 8615 h 10000"/>
                <a:gd name="connsiteX77" fmla="*/ 7920 w 10000"/>
                <a:gd name="connsiteY77" fmla="*/ 8378 h 10000"/>
                <a:gd name="connsiteX78" fmla="*/ 7804 w 10000"/>
                <a:gd name="connsiteY78" fmla="*/ 8368 h 10000"/>
                <a:gd name="connsiteX79" fmla="*/ 7766 w 10000"/>
                <a:gd name="connsiteY79" fmla="*/ 8245 h 10000"/>
                <a:gd name="connsiteX80" fmla="*/ 7573 w 10000"/>
                <a:gd name="connsiteY80" fmla="*/ 8216 h 10000"/>
                <a:gd name="connsiteX81" fmla="*/ 7509 w 10000"/>
                <a:gd name="connsiteY81" fmla="*/ 8027 h 10000"/>
                <a:gd name="connsiteX82" fmla="*/ 7188 w 10000"/>
                <a:gd name="connsiteY82" fmla="*/ 7846 h 10000"/>
                <a:gd name="connsiteX83" fmla="*/ 6841 w 10000"/>
                <a:gd name="connsiteY83" fmla="*/ 7818 h 10000"/>
                <a:gd name="connsiteX84" fmla="*/ 6932 w 10000"/>
                <a:gd name="connsiteY84" fmla="*/ 7609 h 10000"/>
                <a:gd name="connsiteX85" fmla="*/ 6906 w 10000"/>
                <a:gd name="connsiteY85" fmla="*/ 7457 h 10000"/>
                <a:gd name="connsiteX86" fmla="*/ 7201 w 10000"/>
                <a:gd name="connsiteY86" fmla="*/ 7467 h 10000"/>
                <a:gd name="connsiteX87" fmla="*/ 7266 w 10000"/>
                <a:gd name="connsiteY87" fmla="*/ 7514 h 10000"/>
                <a:gd name="connsiteX88" fmla="*/ 7445 w 10000"/>
                <a:gd name="connsiteY88" fmla="*/ 7419 h 10000"/>
                <a:gd name="connsiteX89" fmla="*/ 7496 w 10000"/>
                <a:gd name="connsiteY89" fmla="*/ 7078 h 10000"/>
                <a:gd name="connsiteX90" fmla="*/ 7419 w 10000"/>
                <a:gd name="connsiteY90" fmla="*/ 6822 h 10000"/>
                <a:gd name="connsiteX91" fmla="*/ 7638 w 10000"/>
                <a:gd name="connsiteY91" fmla="*/ 6613 h 10000"/>
                <a:gd name="connsiteX92" fmla="*/ 7573 w 10000"/>
                <a:gd name="connsiteY92" fmla="*/ 6414 h 10000"/>
                <a:gd name="connsiteX93" fmla="*/ 7715 w 10000"/>
                <a:gd name="connsiteY93" fmla="*/ 6224 h 10000"/>
                <a:gd name="connsiteX94" fmla="*/ 7804 w 10000"/>
                <a:gd name="connsiteY94" fmla="*/ 6328 h 10000"/>
                <a:gd name="connsiteX95" fmla="*/ 7958 w 10000"/>
                <a:gd name="connsiteY95" fmla="*/ 6281 h 10000"/>
                <a:gd name="connsiteX96" fmla="*/ 7945 w 10000"/>
                <a:gd name="connsiteY96" fmla="*/ 5987 h 10000"/>
                <a:gd name="connsiteX97" fmla="*/ 8036 w 10000"/>
                <a:gd name="connsiteY97" fmla="*/ 5882 h 10000"/>
                <a:gd name="connsiteX98" fmla="*/ 8010 w 10000"/>
                <a:gd name="connsiteY98" fmla="*/ 5740 h 10000"/>
                <a:gd name="connsiteX99" fmla="*/ 8215 w 10000"/>
                <a:gd name="connsiteY99" fmla="*/ 5655 h 10000"/>
                <a:gd name="connsiteX100" fmla="*/ 8228 w 10000"/>
                <a:gd name="connsiteY100" fmla="*/ 5465 h 10000"/>
                <a:gd name="connsiteX101" fmla="*/ 8383 w 10000"/>
                <a:gd name="connsiteY101" fmla="*/ 5285 h 10000"/>
                <a:gd name="connsiteX102" fmla="*/ 8664 w 10000"/>
                <a:gd name="connsiteY102" fmla="*/ 5266 h 10000"/>
                <a:gd name="connsiteX103" fmla="*/ 8639 w 10000"/>
                <a:gd name="connsiteY103" fmla="*/ 5019 h 10000"/>
                <a:gd name="connsiteX104" fmla="*/ 8845 w 10000"/>
                <a:gd name="connsiteY104" fmla="*/ 4753 h 10000"/>
                <a:gd name="connsiteX105" fmla="*/ 8845 w 10000"/>
                <a:gd name="connsiteY105" fmla="*/ 4469 h 10000"/>
                <a:gd name="connsiteX106" fmla="*/ 8819 w 10000"/>
                <a:gd name="connsiteY106" fmla="*/ 4156 h 10000"/>
                <a:gd name="connsiteX107" fmla="*/ 8755 w 10000"/>
                <a:gd name="connsiteY107" fmla="*/ 4061 h 10000"/>
                <a:gd name="connsiteX108" fmla="*/ 8909 w 10000"/>
                <a:gd name="connsiteY108" fmla="*/ 3928 h 10000"/>
                <a:gd name="connsiteX109" fmla="*/ 8921 w 10000"/>
                <a:gd name="connsiteY109" fmla="*/ 3767 h 10000"/>
                <a:gd name="connsiteX110" fmla="*/ 9076 w 10000"/>
                <a:gd name="connsiteY110" fmla="*/ 3577 h 10000"/>
                <a:gd name="connsiteX111" fmla="*/ 8998 w 10000"/>
                <a:gd name="connsiteY111" fmla="*/ 3283 h 10000"/>
                <a:gd name="connsiteX112" fmla="*/ 9140 w 10000"/>
                <a:gd name="connsiteY112" fmla="*/ 3207 h 10000"/>
                <a:gd name="connsiteX113" fmla="*/ 9140 w 10000"/>
                <a:gd name="connsiteY113" fmla="*/ 3112 h 10000"/>
                <a:gd name="connsiteX114" fmla="*/ 9383 w 10000"/>
                <a:gd name="connsiteY114" fmla="*/ 3046 h 10000"/>
                <a:gd name="connsiteX115" fmla="*/ 9396 w 10000"/>
                <a:gd name="connsiteY115" fmla="*/ 2903 h 10000"/>
                <a:gd name="connsiteX116" fmla="*/ 9859 w 10000"/>
                <a:gd name="connsiteY116" fmla="*/ 2808 h 10000"/>
                <a:gd name="connsiteX117" fmla="*/ 10000 w 10000"/>
                <a:gd name="connsiteY117" fmla="*/ 2571 h 10000"/>
                <a:gd name="connsiteX118" fmla="*/ 9679 w 10000"/>
                <a:gd name="connsiteY118" fmla="*/ 2429 h 10000"/>
                <a:gd name="connsiteX119" fmla="*/ 9564 w 10000"/>
                <a:gd name="connsiteY119" fmla="*/ 2239 h 10000"/>
                <a:gd name="connsiteX120" fmla="*/ 9243 w 10000"/>
                <a:gd name="connsiteY120" fmla="*/ 2163 h 10000"/>
                <a:gd name="connsiteX121" fmla="*/ 9179 w 10000"/>
                <a:gd name="connsiteY121" fmla="*/ 1670 h 10000"/>
                <a:gd name="connsiteX122" fmla="*/ 9089 w 10000"/>
                <a:gd name="connsiteY122" fmla="*/ 1651 h 10000"/>
                <a:gd name="connsiteX123" fmla="*/ 9062 w 10000"/>
                <a:gd name="connsiteY123" fmla="*/ 1205 h 10000"/>
                <a:gd name="connsiteX124" fmla="*/ 8998 w 10000"/>
                <a:gd name="connsiteY124" fmla="*/ 1053 h 10000"/>
                <a:gd name="connsiteX125" fmla="*/ 9153 w 10000"/>
                <a:gd name="connsiteY125" fmla="*/ 1025 h 10000"/>
                <a:gd name="connsiteX126" fmla="*/ 8909 w 10000"/>
                <a:gd name="connsiteY126" fmla="*/ 797 h 10000"/>
                <a:gd name="connsiteX127" fmla="*/ 8870 w 10000"/>
                <a:gd name="connsiteY127" fmla="*/ 503 h 10000"/>
                <a:gd name="connsiteX128" fmla="*/ 8626 w 10000"/>
                <a:gd name="connsiteY128" fmla="*/ 370 h 10000"/>
                <a:gd name="connsiteX129" fmla="*/ 8460 w 10000"/>
                <a:gd name="connsiteY129" fmla="*/ 218 h 10000"/>
                <a:gd name="connsiteX130" fmla="*/ 8318 w 10000"/>
                <a:gd name="connsiteY130" fmla="*/ 209 h 10000"/>
                <a:gd name="connsiteX131" fmla="*/ 8113 w 10000"/>
                <a:gd name="connsiteY131" fmla="*/ 0 h 10000"/>
                <a:gd name="connsiteX132" fmla="*/ 7907 w 10000"/>
                <a:gd name="connsiteY132" fmla="*/ 142 h 10000"/>
                <a:gd name="connsiteX133" fmla="*/ 7689 w 10000"/>
                <a:gd name="connsiteY133" fmla="*/ 152 h 10000"/>
                <a:gd name="connsiteX0" fmla="*/ 7689 w 10000"/>
                <a:gd name="connsiteY0" fmla="*/ 152 h 10000"/>
                <a:gd name="connsiteX1" fmla="*/ 7560 w 10000"/>
                <a:gd name="connsiteY1" fmla="*/ 408 h 10000"/>
                <a:gd name="connsiteX2" fmla="*/ 7279 w 10000"/>
                <a:gd name="connsiteY2" fmla="*/ 436 h 10000"/>
                <a:gd name="connsiteX3" fmla="*/ 6996 w 10000"/>
                <a:gd name="connsiteY3" fmla="*/ 731 h 10000"/>
                <a:gd name="connsiteX4" fmla="*/ 6675 w 10000"/>
                <a:gd name="connsiteY4" fmla="*/ 560 h 10000"/>
                <a:gd name="connsiteX5" fmla="*/ 5660 w 10000"/>
                <a:gd name="connsiteY5" fmla="*/ 531 h 10000"/>
                <a:gd name="connsiteX6" fmla="*/ 5596 w 10000"/>
                <a:gd name="connsiteY6" fmla="*/ 455 h 10000"/>
                <a:gd name="connsiteX7" fmla="*/ 5481 w 10000"/>
                <a:gd name="connsiteY7" fmla="*/ 569 h 10000"/>
                <a:gd name="connsiteX8" fmla="*/ 1809 w 10000"/>
                <a:gd name="connsiteY8" fmla="*/ 531 h 10000"/>
                <a:gd name="connsiteX9" fmla="*/ 1822 w 10000"/>
                <a:gd name="connsiteY9" fmla="*/ 1556 h 10000"/>
                <a:gd name="connsiteX10" fmla="*/ 1205 w 10000"/>
                <a:gd name="connsiteY10" fmla="*/ 1565 h 10000"/>
                <a:gd name="connsiteX11" fmla="*/ 1269 w 10000"/>
                <a:gd name="connsiteY11" fmla="*/ 3776 h 10000"/>
                <a:gd name="connsiteX12" fmla="*/ 692 w 10000"/>
                <a:gd name="connsiteY12" fmla="*/ 3767 h 10000"/>
                <a:gd name="connsiteX13" fmla="*/ 666 w 10000"/>
                <a:gd name="connsiteY13" fmla="*/ 3985 h 10000"/>
                <a:gd name="connsiteX14" fmla="*/ 499 w 10000"/>
                <a:gd name="connsiteY14" fmla="*/ 4118 h 10000"/>
                <a:gd name="connsiteX15" fmla="*/ 448 w 10000"/>
                <a:gd name="connsiteY15" fmla="*/ 4288 h 10000"/>
                <a:gd name="connsiteX16" fmla="*/ 320 w 10000"/>
                <a:gd name="connsiteY16" fmla="*/ 4288 h 10000"/>
                <a:gd name="connsiteX17" fmla="*/ 358 w 10000"/>
                <a:gd name="connsiteY17" fmla="*/ 4440 h 10000"/>
                <a:gd name="connsiteX18" fmla="*/ 422 w 10000"/>
                <a:gd name="connsiteY18" fmla="*/ 4545 h 10000"/>
                <a:gd name="connsiteX19" fmla="*/ 281 w 10000"/>
                <a:gd name="connsiteY19" fmla="*/ 4611 h 10000"/>
                <a:gd name="connsiteX20" fmla="*/ 165 w 10000"/>
                <a:gd name="connsiteY20" fmla="*/ 4782 h 10000"/>
                <a:gd name="connsiteX21" fmla="*/ 256 w 10000"/>
                <a:gd name="connsiteY21" fmla="*/ 5000 h 10000"/>
                <a:gd name="connsiteX22" fmla="*/ 11 w 10000"/>
                <a:gd name="connsiteY22" fmla="*/ 5190 h 10000"/>
                <a:gd name="connsiteX23" fmla="*/ 114 w 10000"/>
                <a:gd name="connsiteY23" fmla="*/ 5361 h 10000"/>
                <a:gd name="connsiteX24" fmla="*/ 333 w 10000"/>
                <a:gd name="connsiteY24" fmla="*/ 5313 h 10000"/>
                <a:gd name="connsiteX25" fmla="*/ 397 w 10000"/>
                <a:gd name="connsiteY25" fmla="*/ 5598 h 10000"/>
                <a:gd name="connsiteX26" fmla="*/ 1167 w 10000"/>
                <a:gd name="connsiteY26" fmla="*/ 6774 h 10000"/>
                <a:gd name="connsiteX27" fmla="*/ 1013 w 10000"/>
                <a:gd name="connsiteY27" fmla="*/ 7144 h 10000"/>
                <a:gd name="connsiteX28" fmla="*/ 1116 w 10000"/>
                <a:gd name="connsiteY28" fmla="*/ 7211 h 10000"/>
                <a:gd name="connsiteX29" fmla="*/ 1039 w 10000"/>
                <a:gd name="connsiteY29" fmla="*/ 7315 h 10000"/>
                <a:gd name="connsiteX30" fmla="*/ 1475 w 10000"/>
                <a:gd name="connsiteY30" fmla="*/ 7343 h 10000"/>
                <a:gd name="connsiteX31" fmla="*/ 1475 w 10000"/>
                <a:gd name="connsiteY31" fmla="*/ 7410 h 10000"/>
                <a:gd name="connsiteX32" fmla="*/ 1462 w 10000"/>
                <a:gd name="connsiteY32" fmla="*/ 7562 h 10000"/>
                <a:gd name="connsiteX33" fmla="*/ 1924 w 10000"/>
                <a:gd name="connsiteY33" fmla="*/ 7619 h 10000"/>
                <a:gd name="connsiteX34" fmla="*/ 1924 w 10000"/>
                <a:gd name="connsiteY34" fmla="*/ 7742 h 10000"/>
                <a:gd name="connsiteX35" fmla="*/ 2169 w 10000"/>
                <a:gd name="connsiteY35" fmla="*/ 7837 h 10000"/>
                <a:gd name="connsiteX36" fmla="*/ 2092 w 10000"/>
                <a:gd name="connsiteY36" fmla="*/ 7979 h 10000"/>
                <a:gd name="connsiteX37" fmla="*/ 2438 w 10000"/>
                <a:gd name="connsiteY37" fmla="*/ 8102 h 10000"/>
                <a:gd name="connsiteX38" fmla="*/ 2643 w 10000"/>
                <a:gd name="connsiteY38" fmla="*/ 8330 h 10000"/>
                <a:gd name="connsiteX39" fmla="*/ 2836 w 10000"/>
                <a:gd name="connsiteY39" fmla="*/ 8416 h 10000"/>
                <a:gd name="connsiteX40" fmla="*/ 2758 w 10000"/>
                <a:gd name="connsiteY40" fmla="*/ 8491 h 10000"/>
                <a:gd name="connsiteX41" fmla="*/ 2862 w 10000"/>
                <a:gd name="connsiteY41" fmla="*/ 8577 h 10000"/>
                <a:gd name="connsiteX42" fmla="*/ 2849 w 10000"/>
                <a:gd name="connsiteY42" fmla="*/ 8700 h 10000"/>
                <a:gd name="connsiteX43" fmla="*/ 3041 w 10000"/>
                <a:gd name="connsiteY43" fmla="*/ 8710 h 10000"/>
                <a:gd name="connsiteX44" fmla="*/ 3260 w 10000"/>
                <a:gd name="connsiteY44" fmla="*/ 8843 h 10000"/>
                <a:gd name="connsiteX45" fmla="*/ 3311 w 10000"/>
                <a:gd name="connsiteY45" fmla="*/ 9051 h 10000"/>
                <a:gd name="connsiteX46" fmla="*/ 3362 w 10000"/>
                <a:gd name="connsiteY46" fmla="*/ 9127 h 10000"/>
                <a:gd name="connsiteX47" fmla="*/ 3632 w 10000"/>
                <a:gd name="connsiteY47" fmla="*/ 9307 h 10000"/>
                <a:gd name="connsiteX48" fmla="*/ 3632 w 10000"/>
                <a:gd name="connsiteY48" fmla="*/ 9440 h 10000"/>
                <a:gd name="connsiteX49" fmla="*/ 4030 w 10000"/>
                <a:gd name="connsiteY49" fmla="*/ 9583 h 10000"/>
                <a:gd name="connsiteX50" fmla="*/ 4248 w 10000"/>
                <a:gd name="connsiteY50" fmla="*/ 9431 h 10000"/>
                <a:gd name="connsiteX51" fmla="*/ 4518 w 10000"/>
                <a:gd name="connsiteY51" fmla="*/ 9545 h 10000"/>
                <a:gd name="connsiteX52" fmla="*/ 4736 w 10000"/>
                <a:gd name="connsiteY52" fmla="*/ 9374 h 10000"/>
                <a:gd name="connsiteX53" fmla="*/ 4980 w 10000"/>
                <a:gd name="connsiteY53" fmla="*/ 9649 h 10000"/>
                <a:gd name="connsiteX54" fmla="*/ 5326 w 10000"/>
                <a:gd name="connsiteY54" fmla="*/ 9801 h 10000"/>
                <a:gd name="connsiteX55" fmla="*/ 5365 w 10000"/>
                <a:gd name="connsiteY55" fmla="*/ 9934 h 10000"/>
                <a:gd name="connsiteX56" fmla="*/ 5507 w 10000"/>
                <a:gd name="connsiteY56" fmla="*/ 9953 h 10000"/>
                <a:gd name="connsiteX57" fmla="*/ 5711 w 10000"/>
                <a:gd name="connsiteY57" fmla="*/ 9829 h 10000"/>
                <a:gd name="connsiteX58" fmla="*/ 5969 w 10000"/>
                <a:gd name="connsiteY58" fmla="*/ 9905 h 10000"/>
                <a:gd name="connsiteX59" fmla="*/ 6058 w 10000"/>
                <a:gd name="connsiteY59" fmla="*/ 9839 h 10000"/>
                <a:gd name="connsiteX60" fmla="*/ 6149 w 10000"/>
                <a:gd name="connsiteY60" fmla="*/ 9829 h 10000"/>
                <a:gd name="connsiteX61" fmla="*/ 6328 w 10000"/>
                <a:gd name="connsiteY61" fmla="*/ 10000 h 10000"/>
                <a:gd name="connsiteX62" fmla="*/ 6495 w 10000"/>
                <a:gd name="connsiteY62" fmla="*/ 9858 h 10000"/>
                <a:gd name="connsiteX63" fmla="*/ 6700 w 10000"/>
                <a:gd name="connsiteY63" fmla="*/ 9867 h 10000"/>
                <a:gd name="connsiteX64" fmla="*/ 6855 w 10000"/>
                <a:gd name="connsiteY64" fmla="*/ 9791 h 10000"/>
                <a:gd name="connsiteX65" fmla="*/ 7073 w 10000"/>
                <a:gd name="connsiteY65" fmla="*/ 9867 h 10000"/>
                <a:gd name="connsiteX66" fmla="*/ 7355 w 10000"/>
                <a:gd name="connsiteY66" fmla="*/ 9630 h 10000"/>
                <a:gd name="connsiteX67" fmla="*/ 7458 w 10000"/>
                <a:gd name="connsiteY67" fmla="*/ 9630 h 10000"/>
                <a:gd name="connsiteX68" fmla="*/ 7638 w 10000"/>
                <a:gd name="connsiteY68" fmla="*/ 9440 h 10000"/>
                <a:gd name="connsiteX69" fmla="*/ 8408 w 10000"/>
                <a:gd name="connsiteY69" fmla="*/ 9431 h 10000"/>
                <a:gd name="connsiteX70" fmla="*/ 8575 w 10000"/>
                <a:gd name="connsiteY70" fmla="*/ 9355 h 10000"/>
                <a:gd name="connsiteX71" fmla="*/ 8562 w 10000"/>
                <a:gd name="connsiteY71" fmla="*/ 9260 h 10000"/>
                <a:gd name="connsiteX72" fmla="*/ 8511 w 10000"/>
                <a:gd name="connsiteY72" fmla="*/ 9051 h 10000"/>
                <a:gd name="connsiteX73" fmla="*/ 8190 w 10000"/>
                <a:gd name="connsiteY73" fmla="*/ 8985 h 10000"/>
                <a:gd name="connsiteX74" fmla="*/ 8036 w 10000"/>
                <a:gd name="connsiteY74" fmla="*/ 8653 h 10000"/>
                <a:gd name="connsiteX75" fmla="*/ 7945 w 10000"/>
                <a:gd name="connsiteY75" fmla="*/ 8615 h 10000"/>
                <a:gd name="connsiteX76" fmla="*/ 7920 w 10000"/>
                <a:gd name="connsiteY76" fmla="*/ 8378 h 10000"/>
                <a:gd name="connsiteX77" fmla="*/ 7804 w 10000"/>
                <a:gd name="connsiteY77" fmla="*/ 8368 h 10000"/>
                <a:gd name="connsiteX78" fmla="*/ 7766 w 10000"/>
                <a:gd name="connsiteY78" fmla="*/ 8245 h 10000"/>
                <a:gd name="connsiteX79" fmla="*/ 7573 w 10000"/>
                <a:gd name="connsiteY79" fmla="*/ 8216 h 10000"/>
                <a:gd name="connsiteX80" fmla="*/ 7509 w 10000"/>
                <a:gd name="connsiteY80" fmla="*/ 8027 h 10000"/>
                <a:gd name="connsiteX81" fmla="*/ 7188 w 10000"/>
                <a:gd name="connsiteY81" fmla="*/ 7846 h 10000"/>
                <a:gd name="connsiteX82" fmla="*/ 6841 w 10000"/>
                <a:gd name="connsiteY82" fmla="*/ 7818 h 10000"/>
                <a:gd name="connsiteX83" fmla="*/ 6932 w 10000"/>
                <a:gd name="connsiteY83" fmla="*/ 7609 h 10000"/>
                <a:gd name="connsiteX84" fmla="*/ 6906 w 10000"/>
                <a:gd name="connsiteY84" fmla="*/ 7457 h 10000"/>
                <a:gd name="connsiteX85" fmla="*/ 7201 w 10000"/>
                <a:gd name="connsiteY85" fmla="*/ 7467 h 10000"/>
                <a:gd name="connsiteX86" fmla="*/ 7266 w 10000"/>
                <a:gd name="connsiteY86" fmla="*/ 7514 h 10000"/>
                <a:gd name="connsiteX87" fmla="*/ 7445 w 10000"/>
                <a:gd name="connsiteY87" fmla="*/ 7419 h 10000"/>
                <a:gd name="connsiteX88" fmla="*/ 7496 w 10000"/>
                <a:gd name="connsiteY88" fmla="*/ 7078 h 10000"/>
                <a:gd name="connsiteX89" fmla="*/ 7419 w 10000"/>
                <a:gd name="connsiteY89" fmla="*/ 6822 h 10000"/>
                <a:gd name="connsiteX90" fmla="*/ 7638 w 10000"/>
                <a:gd name="connsiteY90" fmla="*/ 6613 h 10000"/>
                <a:gd name="connsiteX91" fmla="*/ 7573 w 10000"/>
                <a:gd name="connsiteY91" fmla="*/ 6414 h 10000"/>
                <a:gd name="connsiteX92" fmla="*/ 7715 w 10000"/>
                <a:gd name="connsiteY92" fmla="*/ 6224 h 10000"/>
                <a:gd name="connsiteX93" fmla="*/ 7804 w 10000"/>
                <a:gd name="connsiteY93" fmla="*/ 6328 h 10000"/>
                <a:gd name="connsiteX94" fmla="*/ 7958 w 10000"/>
                <a:gd name="connsiteY94" fmla="*/ 6281 h 10000"/>
                <a:gd name="connsiteX95" fmla="*/ 7945 w 10000"/>
                <a:gd name="connsiteY95" fmla="*/ 5987 h 10000"/>
                <a:gd name="connsiteX96" fmla="*/ 8036 w 10000"/>
                <a:gd name="connsiteY96" fmla="*/ 5882 h 10000"/>
                <a:gd name="connsiteX97" fmla="*/ 8010 w 10000"/>
                <a:gd name="connsiteY97" fmla="*/ 5740 h 10000"/>
                <a:gd name="connsiteX98" fmla="*/ 8215 w 10000"/>
                <a:gd name="connsiteY98" fmla="*/ 5655 h 10000"/>
                <a:gd name="connsiteX99" fmla="*/ 8228 w 10000"/>
                <a:gd name="connsiteY99" fmla="*/ 5465 h 10000"/>
                <a:gd name="connsiteX100" fmla="*/ 8383 w 10000"/>
                <a:gd name="connsiteY100" fmla="*/ 5285 h 10000"/>
                <a:gd name="connsiteX101" fmla="*/ 8664 w 10000"/>
                <a:gd name="connsiteY101" fmla="*/ 5266 h 10000"/>
                <a:gd name="connsiteX102" fmla="*/ 8639 w 10000"/>
                <a:gd name="connsiteY102" fmla="*/ 5019 h 10000"/>
                <a:gd name="connsiteX103" fmla="*/ 8845 w 10000"/>
                <a:gd name="connsiteY103" fmla="*/ 4753 h 10000"/>
                <a:gd name="connsiteX104" fmla="*/ 8845 w 10000"/>
                <a:gd name="connsiteY104" fmla="*/ 4469 h 10000"/>
                <a:gd name="connsiteX105" fmla="*/ 8819 w 10000"/>
                <a:gd name="connsiteY105" fmla="*/ 4156 h 10000"/>
                <a:gd name="connsiteX106" fmla="*/ 8755 w 10000"/>
                <a:gd name="connsiteY106" fmla="*/ 4061 h 10000"/>
                <a:gd name="connsiteX107" fmla="*/ 8909 w 10000"/>
                <a:gd name="connsiteY107" fmla="*/ 3928 h 10000"/>
                <a:gd name="connsiteX108" fmla="*/ 8921 w 10000"/>
                <a:gd name="connsiteY108" fmla="*/ 3767 h 10000"/>
                <a:gd name="connsiteX109" fmla="*/ 9076 w 10000"/>
                <a:gd name="connsiteY109" fmla="*/ 3577 h 10000"/>
                <a:gd name="connsiteX110" fmla="*/ 8998 w 10000"/>
                <a:gd name="connsiteY110" fmla="*/ 3283 h 10000"/>
                <a:gd name="connsiteX111" fmla="*/ 9140 w 10000"/>
                <a:gd name="connsiteY111" fmla="*/ 3207 h 10000"/>
                <a:gd name="connsiteX112" fmla="*/ 9140 w 10000"/>
                <a:gd name="connsiteY112" fmla="*/ 3112 h 10000"/>
                <a:gd name="connsiteX113" fmla="*/ 9383 w 10000"/>
                <a:gd name="connsiteY113" fmla="*/ 3046 h 10000"/>
                <a:gd name="connsiteX114" fmla="*/ 9396 w 10000"/>
                <a:gd name="connsiteY114" fmla="*/ 2903 h 10000"/>
                <a:gd name="connsiteX115" fmla="*/ 9859 w 10000"/>
                <a:gd name="connsiteY115" fmla="*/ 2808 h 10000"/>
                <a:gd name="connsiteX116" fmla="*/ 10000 w 10000"/>
                <a:gd name="connsiteY116" fmla="*/ 2571 h 10000"/>
                <a:gd name="connsiteX117" fmla="*/ 9679 w 10000"/>
                <a:gd name="connsiteY117" fmla="*/ 2429 h 10000"/>
                <a:gd name="connsiteX118" fmla="*/ 9564 w 10000"/>
                <a:gd name="connsiteY118" fmla="*/ 2239 h 10000"/>
                <a:gd name="connsiteX119" fmla="*/ 9243 w 10000"/>
                <a:gd name="connsiteY119" fmla="*/ 2163 h 10000"/>
                <a:gd name="connsiteX120" fmla="*/ 9179 w 10000"/>
                <a:gd name="connsiteY120" fmla="*/ 1670 h 10000"/>
                <a:gd name="connsiteX121" fmla="*/ 9089 w 10000"/>
                <a:gd name="connsiteY121" fmla="*/ 1651 h 10000"/>
                <a:gd name="connsiteX122" fmla="*/ 9062 w 10000"/>
                <a:gd name="connsiteY122" fmla="*/ 1205 h 10000"/>
                <a:gd name="connsiteX123" fmla="*/ 8998 w 10000"/>
                <a:gd name="connsiteY123" fmla="*/ 1053 h 10000"/>
                <a:gd name="connsiteX124" fmla="*/ 9153 w 10000"/>
                <a:gd name="connsiteY124" fmla="*/ 1025 h 10000"/>
                <a:gd name="connsiteX125" fmla="*/ 8909 w 10000"/>
                <a:gd name="connsiteY125" fmla="*/ 797 h 10000"/>
                <a:gd name="connsiteX126" fmla="*/ 8870 w 10000"/>
                <a:gd name="connsiteY126" fmla="*/ 503 h 10000"/>
                <a:gd name="connsiteX127" fmla="*/ 8626 w 10000"/>
                <a:gd name="connsiteY127" fmla="*/ 370 h 10000"/>
                <a:gd name="connsiteX128" fmla="*/ 8460 w 10000"/>
                <a:gd name="connsiteY128" fmla="*/ 218 h 10000"/>
                <a:gd name="connsiteX129" fmla="*/ 8318 w 10000"/>
                <a:gd name="connsiteY129" fmla="*/ 209 h 10000"/>
                <a:gd name="connsiteX130" fmla="*/ 8113 w 10000"/>
                <a:gd name="connsiteY130" fmla="*/ 0 h 10000"/>
                <a:gd name="connsiteX131" fmla="*/ 7907 w 10000"/>
                <a:gd name="connsiteY131" fmla="*/ 142 h 10000"/>
                <a:gd name="connsiteX132" fmla="*/ 7689 w 10000"/>
                <a:gd name="connsiteY132" fmla="*/ 152 h 10000"/>
                <a:gd name="connsiteX0" fmla="*/ 7689 w 10000"/>
                <a:gd name="connsiteY0" fmla="*/ 152 h 10000"/>
                <a:gd name="connsiteX1" fmla="*/ 7560 w 10000"/>
                <a:gd name="connsiteY1" fmla="*/ 408 h 10000"/>
                <a:gd name="connsiteX2" fmla="*/ 7279 w 10000"/>
                <a:gd name="connsiteY2" fmla="*/ 436 h 10000"/>
                <a:gd name="connsiteX3" fmla="*/ 6996 w 10000"/>
                <a:gd name="connsiteY3" fmla="*/ 731 h 10000"/>
                <a:gd name="connsiteX4" fmla="*/ 6675 w 10000"/>
                <a:gd name="connsiteY4" fmla="*/ 560 h 10000"/>
                <a:gd name="connsiteX5" fmla="*/ 5660 w 10000"/>
                <a:gd name="connsiteY5" fmla="*/ 531 h 10000"/>
                <a:gd name="connsiteX6" fmla="*/ 5596 w 10000"/>
                <a:gd name="connsiteY6" fmla="*/ 455 h 10000"/>
                <a:gd name="connsiteX7" fmla="*/ 5481 w 10000"/>
                <a:gd name="connsiteY7" fmla="*/ 569 h 10000"/>
                <a:gd name="connsiteX8" fmla="*/ 1809 w 10000"/>
                <a:gd name="connsiteY8" fmla="*/ 531 h 10000"/>
                <a:gd name="connsiteX9" fmla="*/ 1822 w 10000"/>
                <a:gd name="connsiteY9" fmla="*/ 1556 h 10000"/>
                <a:gd name="connsiteX10" fmla="*/ 1205 w 10000"/>
                <a:gd name="connsiteY10" fmla="*/ 1565 h 10000"/>
                <a:gd name="connsiteX11" fmla="*/ 1269 w 10000"/>
                <a:gd name="connsiteY11" fmla="*/ 3776 h 10000"/>
                <a:gd name="connsiteX12" fmla="*/ 692 w 10000"/>
                <a:gd name="connsiteY12" fmla="*/ 3767 h 10000"/>
                <a:gd name="connsiteX13" fmla="*/ 666 w 10000"/>
                <a:gd name="connsiteY13" fmla="*/ 3985 h 10000"/>
                <a:gd name="connsiteX14" fmla="*/ 499 w 10000"/>
                <a:gd name="connsiteY14" fmla="*/ 4118 h 10000"/>
                <a:gd name="connsiteX15" fmla="*/ 448 w 10000"/>
                <a:gd name="connsiteY15" fmla="*/ 4288 h 10000"/>
                <a:gd name="connsiteX16" fmla="*/ 320 w 10000"/>
                <a:gd name="connsiteY16" fmla="*/ 4288 h 10000"/>
                <a:gd name="connsiteX17" fmla="*/ 358 w 10000"/>
                <a:gd name="connsiteY17" fmla="*/ 4440 h 10000"/>
                <a:gd name="connsiteX18" fmla="*/ 422 w 10000"/>
                <a:gd name="connsiteY18" fmla="*/ 4545 h 10000"/>
                <a:gd name="connsiteX19" fmla="*/ 281 w 10000"/>
                <a:gd name="connsiteY19" fmla="*/ 4611 h 10000"/>
                <a:gd name="connsiteX20" fmla="*/ 165 w 10000"/>
                <a:gd name="connsiteY20" fmla="*/ 4782 h 10000"/>
                <a:gd name="connsiteX21" fmla="*/ 256 w 10000"/>
                <a:gd name="connsiteY21" fmla="*/ 5000 h 10000"/>
                <a:gd name="connsiteX22" fmla="*/ 11 w 10000"/>
                <a:gd name="connsiteY22" fmla="*/ 5190 h 10000"/>
                <a:gd name="connsiteX23" fmla="*/ 114 w 10000"/>
                <a:gd name="connsiteY23" fmla="*/ 5361 h 10000"/>
                <a:gd name="connsiteX24" fmla="*/ 333 w 10000"/>
                <a:gd name="connsiteY24" fmla="*/ 5313 h 10000"/>
                <a:gd name="connsiteX25" fmla="*/ 1167 w 10000"/>
                <a:gd name="connsiteY25" fmla="*/ 6774 h 10000"/>
                <a:gd name="connsiteX26" fmla="*/ 1013 w 10000"/>
                <a:gd name="connsiteY26" fmla="*/ 7144 h 10000"/>
                <a:gd name="connsiteX27" fmla="*/ 1116 w 10000"/>
                <a:gd name="connsiteY27" fmla="*/ 7211 h 10000"/>
                <a:gd name="connsiteX28" fmla="*/ 1039 w 10000"/>
                <a:gd name="connsiteY28" fmla="*/ 7315 h 10000"/>
                <a:gd name="connsiteX29" fmla="*/ 1475 w 10000"/>
                <a:gd name="connsiteY29" fmla="*/ 7343 h 10000"/>
                <a:gd name="connsiteX30" fmla="*/ 1475 w 10000"/>
                <a:gd name="connsiteY30" fmla="*/ 7410 h 10000"/>
                <a:gd name="connsiteX31" fmla="*/ 1462 w 10000"/>
                <a:gd name="connsiteY31" fmla="*/ 7562 h 10000"/>
                <a:gd name="connsiteX32" fmla="*/ 1924 w 10000"/>
                <a:gd name="connsiteY32" fmla="*/ 7619 h 10000"/>
                <a:gd name="connsiteX33" fmla="*/ 1924 w 10000"/>
                <a:gd name="connsiteY33" fmla="*/ 7742 h 10000"/>
                <a:gd name="connsiteX34" fmla="*/ 2169 w 10000"/>
                <a:gd name="connsiteY34" fmla="*/ 7837 h 10000"/>
                <a:gd name="connsiteX35" fmla="*/ 2092 w 10000"/>
                <a:gd name="connsiteY35" fmla="*/ 7979 h 10000"/>
                <a:gd name="connsiteX36" fmla="*/ 2438 w 10000"/>
                <a:gd name="connsiteY36" fmla="*/ 8102 h 10000"/>
                <a:gd name="connsiteX37" fmla="*/ 2643 w 10000"/>
                <a:gd name="connsiteY37" fmla="*/ 8330 h 10000"/>
                <a:gd name="connsiteX38" fmla="*/ 2836 w 10000"/>
                <a:gd name="connsiteY38" fmla="*/ 8416 h 10000"/>
                <a:gd name="connsiteX39" fmla="*/ 2758 w 10000"/>
                <a:gd name="connsiteY39" fmla="*/ 8491 h 10000"/>
                <a:gd name="connsiteX40" fmla="*/ 2862 w 10000"/>
                <a:gd name="connsiteY40" fmla="*/ 8577 h 10000"/>
                <a:gd name="connsiteX41" fmla="*/ 2849 w 10000"/>
                <a:gd name="connsiteY41" fmla="*/ 8700 h 10000"/>
                <a:gd name="connsiteX42" fmla="*/ 3041 w 10000"/>
                <a:gd name="connsiteY42" fmla="*/ 8710 h 10000"/>
                <a:gd name="connsiteX43" fmla="*/ 3260 w 10000"/>
                <a:gd name="connsiteY43" fmla="*/ 8843 h 10000"/>
                <a:gd name="connsiteX44" fmla="*/ 3311 w 10000"/>
                <a:gd name="connsiteY44" fmla="*/ 9051 h 10000"/>
                <a:gd name="connsiteX45" fmla="*/ 3362 w 10000"/>
                <a:gd name="connsiteY45" fmla="*/ 9127 h 10000"/>
                <a:gd name="connsiteX46" fmla="*/ 3632 w 10000"/>
                <a:gd name="connsiteY46" fmla="*/ 9307 h 10000"/>
                <a:gd name="connsiteX47" fmla="*/ 3632 w 10000"/>
                <a:gd name="connsiteY47" fmla="*/ 9440 h 10000"/>
                <a:gd name="connsiteX48" fmla="*/ 4030 w 10000"/>
                <a:gd name="connsiteY48" fmla="*/ 9583 h 10000"/>
                <a:gd name="connsiteX49" fmla="*/ 4248 w 10000"/>
                <a:gd name="connsiteY49" fmla="*/ 9431 h 10000"/>
                <a:gd name="connsiteX50" fmla="*/ 4518 w 10000"/>
                <a:gd name="connsiteY50" fmla="*/ 9545 h 10000"/>
                <a:gd name="connsiteX51" fmla="*/ 4736 w 10000"/>
                <a:gd name="connsiteY51" fmla="*/ 9374 h 10000"/>
                <a:gd name="connsiteX52" fmla="*/ 4980 w 10000"/>
                <a:gd name="connsiteY52" fmla="*/ 9649 h 10000"/>
                <a:gd name="connsiteX53" fmla="*/ 5326 w 10000"/>
                <a:gd name="connsiteY53" fmla="*/ 9801 h 10000"/>
                <a:gd name="connsiteX54" fmla="*/ 5365 w 10000"/>
                <a:gd name="connsiteY54" fmla="*/ 9934 h 10000"/>
                <a:gd name="connsiteX55" fmla="*/ 5507 w 10000"/>
                <a:gd name="connsiteY55" fmla="*/ 9953 h 10000"/>
                <a:gd name="connsiteX56" fmla="*/ 5711 w 10000"/>
                <a:gd name="connsiteY56" fmla="*/ 9829 h 10000"/>
                <a:gd name="connsiteX57" fmla="*/ 5969 w 10000"/>
                <a:gd name="connsiteY57" fmla="*/ 9905 h 10000"/>
                <a:gd name="connsiteX58" fmla="*/ 6058 w 10000"/>
                <a:gd name="connsiteY58" fmla="*/ 9839 h 10000"/>
                <a:gd name="connsiteX59" fmla="*/ 6149 w 10000"/>
                <a:gd name="connsiteY59" fmla="*/ 9829 h 10000"/>
                <a:gd name="connsiteX60" fmla="*/ 6328 w 10000"/>
                <a:gd name="connsiteY60" fmla="*/ 10000 h 10000"/>
                <a:gd name="connsiteX61" fmla="*/ 6495 w 10000"/>
                <a:gd name="connsiteY61" fmla="*/ 9858 h 10000"/>
                <a:gd name="connsiteX62" fmla="*/ 6700 w 10000"/>
                <a:gd name="connsiteY62" fmla="*/ 9867 h 10000"/>
                <a:gd name="connsiteX63" fmla="*/ 6855 w 10000"/>
                <a:gd name="connsiteY63" fmla="*/ 9791 h 10000"/>
                <a:gd name="connsiteX64" fmla="*/ 7073 w 10000"/>
                <a:gd name="connsiteY64" fmla="*/ 9867 h 10000"/>
                <a:gd name="connsiteX65" fmla="*/ 7355 w 10000"/>
                <a:gd name="connsiteY65" fmla="*/ 9630 h 10000"/>
                <a:gd name="connsiteX66" fmla="*/ 7458 w 10000"/>
                <a:gd name="connsiteY66" fmla="*/ 9630 h 10000"/>
                <a:gd name="connsiteX67" fmla="*/ 7638 w 10000"/>
                <a:gd name="connsiteY67" fmla="*/ 9440 h 10000"/>
                <a:gd name="connsiteX68" fmla="*/ 8408 w 10000"/>
                <a:gd name="connsiteY68" fmla="*/ 9431 h 10000"/>
                <a:gd name="connsiteX69" fmla="*/ 8575 w 10000"/>
                <a:gd name="connsiteY69" fmla="*/ 9355 h 10000"/>
                <a:gd name="connsiteX70" fmla="*/ 8562 w 10000"/>
                <a:gd name="connsiteY70" fmla="*/ 9260 h 10000"/>
                <a:gd name="connsiteX71" fmla="*/ 8511 w 10000"/>
                <a:gd name="connsiteY71" fmla="*/ 9051 h 10000"/>
                <a:gd name="connsiteX72" fmla="*/ 8190 w 10000"/>
                <a:gd name="connsiteY72" fmla="*/ 8985 h 10000"/>
                <a:gd name="connsiteX73" fmla="*/ 8036 w 10000"/>
                <a:gd name="connsiteY73" fmla="*/ 8653 h 10000"/>
                <a:gd name="connsiteX74" fmla="*/ 7945 w 10000"/>
                <a:gd name="connsiteY74" fmla="*/ 8615 h 10000"/>
                <a:gd name="connsiteX75" fmla="*/ 7920 w 10000"/>
                <a:gd name="connsiteY75" fmla="*/ 8378 h 10000"/>
                <a:gd name="connsiteX76" fmla="*/ 7804 w 10000"/>
                <a:gd name="connsiteY76" fmla="*/ 8368 h 10000"/>
                <a:gd name="connsiteX77" fmla="*/ 7766 w 10000"/>
                <a:gd name="connsiteY77" fmla="*/ 8245 h 10000"/>
                <a:gd name="connsiteX78" fmla="*/ 7573 w 10000"/>
                <a:gd name="connsiteY78" fmla="*/ 8216 h 10000"/>
                <a:gd name="connsiteX79" fmla="*/ 7509 w 10000"/>
                <a:gd name="connsiteY79" fmla="*/ 8027 h 10000"/>
                <a:gd name="connsiteX80" fmla="*/ 7188 w 10000"/>
                <a:gd name="connsiteY80" fmla="*/ 7846 h 10000"/>
                <a:gd name="connsiteX81" fmla="*/ 6841 w 10000"/>
                <a:gd name="connsiteY81" fmla="*/ 7818 h 10000"/>
                <a:gd name="connsiteX82" fmla="*/ 6932 w 10000"/>
                <a:gd name="connsiteY82" fmla="*/ 7609 h 10000"/>
                <a:gd name="connsiteX83" fmla="*/ 6906 w 10000"/>
                <a:gd name="connsiteY83" fmla="*/ 7457 h 10000"/>
                <a:gd name="connsiteX84" fmla="*/ 7201 w 10000"/>
                <a:gd name="connsiteY84" fmla="*/ 7467 h 10000"/>
                <a:gd name="connsiteX85" fmla="*/ 7266 w 10000"/>
                <a:gd name="connsiteY85" fmla="*/ 7514 h 10000"/>
                <a:gd name="connsiteX86" fmla="*/ 7445 w 10000"/>
                <a:gd name="connsiteY86" fmla="*/ 7419 h 10000"/>
                <a:gd name="connsiteX87" fmla="*/ 7496 w 10000"/>
                <a:gd name="connsiteY87" fmla="*/ 7078 h 10000"/>
                <a:gd name="connsiteX88" fmla="*/ 7419 w 10000"/>
                <a:gd name="connsiteY88" fmla="*/ 6822 h 10000"/>
                <a:gd name="connsiteX89" fmla="*/ 7638 w 10000"/>
                <a:gd name="connsiteY89" fmla="*/ 6613 h 10000"/>
                <a:gd name="connsiteX90" fmla="*/ 7573 w 10000"/>
                <a:gd name="connsiteY90" fmla="*/ 6414 h 10000"/>
                <a:gd name="connsiteX91" fmla="*/ 7715 w 10000"/>
                <a:gd name="connsiteY91" fmla="*/ 6224 h 10000"/>
                <a:gd name="connsiteX92" fmla="*/ 7804 w 10000"/>
                <a:gd name="connsiteY92" fmla="*/ 6328 h 10000"/>
                <a:gd name="connsiteX93" fmla="*/ 7958 w 10000"/>
                <a:gd name="connsiteY93" fmla="*/ 6281 h 10000"/>
                <a:gd name="connsiteX94" fmla="*/ 7945 w 10000"/>
                <a:gd name="connsiteY94" fmla="*/ 5987 h 10000"/>
                <a:gd name="connsiteX95" fmla="*/ 8036 w 10000"/>
                <a:gd name="connsiteY95" fmla="*/ 5882 h 10000"/>
                <a:gd name="connsiteX96" fmla="*/ 8010 w 10000"/>
                <a:gd name="connsiteY96" fmla="*/ 5740 h 10000"/>
                <a:gd name="connsiteX97" fmla="*/ 8215 w 10000"/>
                <a:gd name="connsiteY97" fmla="*/ 5655 h 10000"/>
                <a:gd name="connsiteX98" fmla="*/ 8228 w 10000"/>
                <a:gd name="connsiteY98" fmla="*/ 5465 h 10000"/>
                <a:gd name="connsiteX99" fmla="*/ 8383 w 10000"/>
                <a:gd name="connsiteY99" fmla="*/ 5285 h 10000"/>
                <a:gd name="connsiteX100" fmla="*/ 8664 w 10000"/>
                <a:gd name="connsiteY100" fmla="*/ 5266 h 10000"/>
                <a:gd name="connsiteX101" fmla="*/ 8639 w 10000"/>
                <a:gd name="connsiteY101" fmla="*/ 5019 h 10000"/>
                <a:gd name="connsiteX102" fmla="*/ 8845 w 10000"/>
                <a:gd name="connsiteY102" fmla="*/ 4753 h 10000"/>
                <a:gd name="connsiteX103" fmla="*/ 8845 w 10000"/>
                <a:gd name="connsiteY103" fmla="*/ 4469 h 10000"/>
                <a:gd name="connsiteX104" fmla="*/ 8819 w 10000"/>
                <a:gd name="connsiteY104" fmla="*/ 4156 h 10000"/>
                <a:gd name="connsiteX105" fmla="*/ 8755 w 10000"/>
                <a:gd name="connsiteY105" fmla="*/ 4061 h 10000"/>
                <a:gd name="connsiteX106" fmla="*/ 8909 w 10000"/>
                <a:gd name="connsiteY106" fmla="*/ 3928 h 10000"/>
                <a:gd name="connsiteX107" fmla="*/ 8921 w 10000"/>
                <a:gd name="connsiteY107" fmla="*/ 3767 h 10000"/>
                <a:gd name="connsiteX108" fmla="*/ 9076 w 10000"/>
                <a:gd name="connsiteY108" fmla="*/ 3577 h 10000"/>
                <a:gd name="connsiteX109" fmla="*/ 8998 w 10000"/>
                <a:gd name="connsiteY109" fmla="*/ 3283 h 10000"/>
                <a:gd name="connsiteX110" fmla="*/ 9140 w 10000"/>
                <a:gd name="connsiteY110" fmla="*/ 3207 h 10000"/>
                <a:gd name="connsiteX111" fmla="*/ 9140 w 10000"/>
                <a:gd name="connsiteY111" fmla="*/ 3112 h 10000"/>
                <a:gd name="connsiteX112" fmla="*/ 9383 w 10000"/>
                <a:gd name="connsiteY112" fmla="*/ 3046 h 10000"/>
                <a:gd name="connsiteX113" fmla="*/ 9396 w 10000"/>
                <a:gd name="connsiteY113" fmla="*/ 2903 h 10000"/>
                <a:gd name="connsiteX114" fmla="*/ 9859 w 10000"/>
                <a:gd name="connsiteY114" fmla="*/ 2808 h 10000"/>
                <a:gd name="connsiteX115" fmla="*/ 10000 w 10000"/>
                <a:gd name="connsiteY115" fmla="*/ 2571 h 10000"/>
                <a:gd name="connsiteX116" fmla="*/ 9679 w 10000"/>
                <a:gd name="connsiteY116" fmla="*/ 2429 h 10000"/>
                <a:gd name="connsiteX117" fmla="*/ 9564 w 10000"/>
                <a:gd name="connsiteY117" fmla="*/ 2239 h 10000"/>
                <a:gd name="connsiteX118" fmla="*/ 9243 w 10000"/>
                <a:gd name="connsiteY118" fmla="*/ 2163 h 10000"/>
                <a:gd name="connsiteX119" fmla="*/ 9179 w 10000"/>
                <a:gd name="connsiteY119" fmla="*/ 1670 h 10000"/>
                <a:gd name="connsiteX120" fmla="*/ 9089 w 10000"/>
                <a:gd name="connsiteY120" fmla="*/ 1651 h 10000"/>
                <a:gd name="connsiteX121" fmla="*/ 9062 w 10000"/>
                <a:gd name="connsiteY121" fmla="*/ 1205 h 10000"/>
                <a:gd name="connsiteX122" fmla="*/ 8998 w 10000"/>
                <a:gd name="connsiteY122" fmla="*/ 1053 h 10000"/>
                <a:gd name="connsiteX123" fmla="*/ 9153 w 10000"/>
                <a:gd name="connsiteY123" fmla="*/ 1025 h 10000"/>
                <a:gd name="connsiteX124" fmla="*/ 8909 w 10000"/>
                <a:gd name="connsiteY124" fmla="*/ 797 h 10000"/>
                <a:gd name="connsiteX125" fmla="*/ 8870 w 10000"/>
                <a:gd name="connsiteY125" fmla="*/ 503 h 10000"/>
                <a:gd name="connsiteX126" fmla="*/ 8626 w 10000"/>
                <a:gd name="connsiteY126" fmla="*/ 370 h 10000"/>
                <a:gd name="connsiteX127" fmla="*/ 8460 w 10000"/>
                <a:gd name="connsiteY127" fmla="*/ 218 h 10000"/>
                <a:gd name="connsiteX128" fmla="*/ 8318 w 10000"/>
                <a:gd name="connsiteY128" fmla="*/ 209 h 10000"/>
                <a:gd name="connsiteX129" fmla="*/ 8113 w 10000"/>
                <a:gd name="connsiteY129" fmla="*/ 0 h 10000"/>
                <a:gd name="connsiteX130" fmla="*/ 7907 w 10000"/>
                <a:gd name="connsiteY130" fmla="*/ 142 h 10000"/>
                <a:gd name="connsiteX131" fmla="*/ 7689 w 10000"/>
                <a:gd name="connsiteY131" fmla="*/ 152 h 10000"/>
                <a:gd name="connsiteX0" fmla="*/ 7714 w 10025"/>
                <a:gd name="connsiteY0" fmla="*/ 152 h 10000"/>
                <a:gd name="connsiteX1" fmla="*/ 7585 w 10025"/>
                <a:gd name="connsiteY1" fmla="*/ 408 h 10000"/>
                <a:gd name="connsiteX2" fmla="*/ 7304 w 10025"/>
                <a:gd name="connsiteY2" fmla="*/ 436 h 10000"/>
                <a:gd name="connsiteX3" fmla="*/ 7021 w 10025"/>
                <a:gd name="connsiteY3" fmla="*/ 731 h 10000"/>
                <a:gd name="connsiteX4" fmla="*/ 6700 w 10025"/>
                <a:gd name="connsiteY4" fmla="*/ 560 h 10000"/>
                <a:gd name="connsiteX5" fmla="*/ 5685 w 10025"/>
                <a:gd name="connsiteY5" fmla="*/ 531 h 10000"/>
                <a:gd name="connsiteX6" fmla="*/ 5621 w 10025"/>
                <a:gd name="connsiteY6" fmla="*/ 455 h 10000"/>
                <a:gd name="connsiteX7" fmla="*/ 5506 w 10025"/>
                <a:gd name="connsiteY7" fmla="*/ 569 h 10000"/>
                <a:gd name="connsiteX8" fmla="*/ 1834 w 10025"/>
                <a:gd name="connsiteY8" fmla="*/ 531 h 10000"/>
                <a:gd name="connsiteX9" fmla="*/ 1847 w 10025"/>
                <a:gd name="connsiteY9" fmla="*/ 1556 h 10000"/>
                <a:gd name="connsiteX10" fmla="*/ 1230 w 10025"/>
                <a:gd name="connsiteY10" fmla="*/ 1565 h 10000"/>
                <a:gd name="connsiteX11" fmla="*/ 1294 w 10025"/>
                <a:gd name="connsiteY11" fmla="*/ 3776 h 10000"/>
                <a:gd name="connsiteX12" fmla="*/ 717 w 10025"/>
                <a:gd name="connsiteY12" fmla="*/ 3767 h 10000"/>
                <a:gd name="connsiteX13" fmla="*/ 691 w 10025"/>
                <a:gd name="connsiteY13" fmla="*/ 3985 h 10000"/>
                <a:gd name="connsiteX14" fmla="*/ 524 w 10025"/>
                <a:gd name="connsiteY14" fmla="*/ 4118 h 10000"/>
                <a:gd name="connsiteX15" fmla="*/ 473 w 10025"/>
                <a:gd name="connsiteY15" fmla="*/ 4288 h 10000"/>
                <a:gd name="connsiteX16" fmla="*/ 345 w 10025"/>
                <a:gd name="connsiteY16" fmla="*/ 4288 h 10000"/>
                <a:gd name="connsiteX17" fmla="*/ 383 w 10025"/>
                <a:gd name="connsiteY17" fmla="*/ 4440 h 10000"/>
                <a:gd name="connsiteX18" fmla="*/ 447 w 10025"/>
                <a:gd name="connsiteY18" fmla="*/ 4545 h 10000"/>
                <a:gd name="connsiteX19" fmla="*/ 306 w 10025"/>
                <a:gd name="connsiteY19" fmla="*/ 4611 h 10000"/>
                <a:gd name="connsiteX20" fmla="*/ 190 w 10025"/>
                <a:gd name="connsiteY20" fmla="*/ 4782 h 10000"/>
                <a:gd name="connsiteX21" fmla="*/ 281 w 10025"/>
                <a:gd name="connsiteY21" fmla="*/ 5000 h 10000"/>
                <a:gd name="connsiteX22" fmla="*/ 36 w 10025"/>
                <a:gd name="connsiteY22" fmla="*/ 5190 h 10000"/>
                <a:gd name="connsiteX23" fmla="*/ 139 w 10025"/>
                <a:gd name="connsiteY23" fmla="*/ 5361 h 10000"/>
                <a:gd name="connsiteX24" fmla="*/ 1192 w 10025"/>
                <a:gd name="connsiteY24" fmla="*/ 6774 h 10000"/>
                <a:gd name="connsiteX25" fmla="*/ 1038 w 10025"/>
                <a:gd name="connsiteY25" fmla="*/ 7144 h 10000"/>
                <a:gd name="connsiteX26" fmla="*/ 1141 w 10025"/>
                <a:gd name="connsiteY26" fmla="*/ 7211 h 10000"/>
                <a:gd name="connsiteX27" fmla="*/ 1064 w 10025"/>
                <a:gd name="connsiteY27" fmla="*/ 7315 h 10000"/>
                <a:gd name="connsiteX28" fmla="*/ 1500 w 10025"/>
                <a:gd name="connsiteY28" fmla="*/ 7343 h 10000"/>
                <a:gd name="connsiteX29" fmla="*/ 1500 w 10025"/>
                <a:gd name="connsiteY29" fmla="*/ 7410 h 10000"/>
                <a:gd name="connsiteX30" fmla="*/ 1487 w 10025"/>
                <a:gd name="connsiteY30" fmla="*/ 7562 h 10000"/>
                <a:gd name="connsiteX31" fmla="*/ 1949 w 10025"/>
                <a:gd name="connsiteY31" fmla="*/ 7619 h 10000"/>
                <a:gd name="connsiteX32" fmla="*/ 1949 w 10025"/>
                <a:gd name="connsiteY32" fmla="*/ 7742 h 10000"/>
                <a:gd name="connsiteX33" fmla="*/ 2194 w 10025"/>
                <a:gd name="connsiteY33" fmla="*/ 7837 h 10000"/>
                <a:gd name="connsiteX34" fmla="*/ 2117 w 10025"/>
                <a:gd name="connsiteY34" fmla="*/ 7979 h 10000"/>
                <a:gd name="connsiteX35" fmla="*/ 2463 w 10025"/>
                <a:gd name="connsiteY35" fmla="*/ 8102 h 10000"/>
                <a:gd name="connsiteX36" fmla="*/ 2668 w 10025"/>
                <a:gd name="connsiteY36" fmla="*/ 8330 h 10000"/>
                <a:gd name="connsiteX37" fmla="*/ 2861 w 10025"/>
                <a:gd name="connsiteY37" fmla="*/ 8416 h 10000"/>
                <a:gd name="connsiteX38" fmla="*/ 2783 w 10025"/>
                <a:gd name="connsiteY38" fmla="*/ 8491 h 10000"/>
                <a:gd name="connsiteX39" fmla="*/ 2887 w 10025"/>
                <a:gd name="connsiteY39" fmla="*/ 8577 h 10000"/>
                <a:gd name="connsiteX40" fmla="*/ 2874 w 10025"/>
                <a:gd name="connsiteY40" fmla="*/ 8700 h 10000"/>
                <a:gd name="connsiteX41" fmla="*/ 3066 w 10025"/>
                <a:gd name="connsiteY41" fmla="*/ 8710 h 10000"/>
                <a:gd name="connsiteX42" fmla="*/ 3285 w 10025"/>
                <a:gd name="connsiteY42" fmla="*/ 8843 h 10000"/>
                <a:gd name="connsiteX43" fmla="*/ 3336 w 10025"/>
                <a:gd name="connsiteY43" fmla="*/ 9051 h 10000"/>
                <a:gd name="connsiteX44" fmla="*/ 3387 w 10025"/>
                <a:gd name="connsiteY44" fmla="*/ 9127 h 10000"/>
                <a:gd name="connsiteX45" fmla="*/ 3657 w 10025"/>
                <a:gd name="connsiteY45" fmla="*/ 9307 h 10000"/>
                <a:gd name="connsiteX46" fmla="*/ 3657 w 10025"/>
                <a:gd name="connsiteY46" fmla="*/ 9440 h 10000"/>
                <a:gd name="connsiteX47" fmla="*/ 4055 w 10025"/>
                <a:gd name="connsiteY47" fmla="*/ 9583 h 10000"/>
                <a:gd name="connsiteX48" fmla="*/ 4273 w 10025"/>
                <a:gd name="connsiteY48" fmla="*/ 9431 h 10000"/>
                <a:gd name="connsiteX49" fmla="*/ 4543 w 10025"/>
                <a:gd name="connsiteY49" fmla="*/ 9545 h 10000"/>
                <a:gd name="connsiteX50" fmla="*/ 4761 w 10025"/>
                <a:gd name="connsiteY50" fmla="*/ 9374 h 10000"/>
                <a:gd name="connsiteX51" fmla="*/ 5005 w 10025"/>
                <a:gd name="connsiteY51" fmla="*/ 9649 h 10000"/>
                <a:gd name="connsiteX52" fmla="*/ 5351 w 10025"/>
                <a:gd name="connsiteY52" fmla="*/ 9801 h 10000"/>
                <a:gd name="connsiteX53" fmla="*/ 5390 w 10025"/>
                <a:gd name="connsiteY53" fmla="*/ 9934 h 10000"/>
                <a:gd name="connsiteX54" fmla="*/ 5532 w 10025"/>
                <a:gd name="connsiteY54" fmla="*/ 9953 h 10000"/>
                <a:gd name="connsiteX55" fmla="*/ 5736 w 10025"/>
                <a:gd name="connsiteY55" fmla="*/ 9829 h 10000"/>
                <a:gd name="connsiteX56" fmla="*/ 5994 w 10025"/>
                <a:gd name="connsiteY56" fmla="*/ 9905 h 10000"/>
                <a:gd name="connsiteX57" fmla="*/ 6083 w 10025"/>
                <a:gd name="connsiteY57" fmla="*/ 9839 h 10000"/>
                <a:gd name="connsiteX58" fmla="*/ 6174 w 10025"/>
                <a:gd name="connsiteY58" fmla="*/ 9829 h 10000"/>
                <a:gd name="connsiteX59" fmla="*/ 6353 w 10025"/>
                <a:gd name="connsiteY59" fmla="*/ 10000 h 10000"/>
                <a:gd name="connsiteX60" fmla="*/ 6520 w 10025"/>
                <a:gd name="connsiteY60" fmla="*/ 9858 h 10000"/>
                <a:gd name="connsiteX61" fmla="*/ 6725 w 10025"/>
                <a:gd name="connsiteY61" fmla="*/ 9867 h 10000"/>
                <a:gd name="connsiteX62" fmla="*/ 6880 w 10025"/>
                <a:gd name="connsiteY62" fmla="*/ 9791 h 10000"/>
                <a:gd name="connsiteX63" fmla="*/ 7098 w 10025"/>
                <a:gd name="connsiteY63" fmla="*/ 9867 h 10000"/>
                <a:gd name="connsiteX64" fmla="*/ 7380 w 10025"/>
                <a:gd name="connsiteY64" fmla="*/ 9630 h 10000"/>
                <a:gd name="connsiteX65" fmla="*/ 7483 w 10025"/>
                <a:gd name="connsiteY65" fmla="*/ 9630 h 10000"/>
                <a:gd name="connsiteX66" fmla="*/ 7663 w 10025"/>
                <a:gd name="connsiteY66" fmla="*/ 9440 h 10000"/>
                <a:gd name="connsiteX67" fmla="*/ 8433 w 10025"/>
                <a:gd name="connsiteY67" fmla="*/ 9431 h 10000"/>
                <a:gd name="connsiteX68" fmla="*/ 8600 w 10025"/>
                <a:gd name="connsiteY68" fmla="*/ 9355 h 10000"/>
                <a:gd name="connsiteX69" fmla="*/ 8587 w 10025"/>
                <a:gd name="connsiteY69" fmla="*/ 9260 h 10000"/>
                <a:gd name="connsiteX70" fmla="*/ 8536 w 10025"/>
                <a:gd name="connsiteY70" fmla="*/ 9051 h 10000"/>
                <a:gd name="connsiteX71" fmla="*/ 8215 w 10025"/>
                <a:gd name="connsiteY71" fmla="*/ 8985 h 10000"/>
                <a:gd name="connsiteX72" fmla="*/ 8061 w 10025"/>
                <a:gd name="connsiteY72" fmla="*/ 8653 h 10000"/>
                <a:gd name="connsiteX73" fmla="*/ 7970 w 10025"/>
                <a:gd name="connsiteY73" fmla="*/ 8615 h 10000"/>
                <a:gd name="connsiteX74" fmla="*/ 7945 w 10025"/>
                <a:gd name="connsiteY74" fmla="*/ 8378 h 10000"/>
                <a:gd name="connsiteX75" fmla="*/ 7829 w 10025"/>
                <a:gd name="connsiteY75" fmla="*/ 8368 h 10000"/>
                <a:gd name="connsiteX76" fmla="*/ 7791 w 10025"/>
                <a:gd name="connsiteY76" fmla="*/ 8245 h 10000"/>
                <a:gd name="connsiteX77" fmla="*/ 7598 w 10025"/>
                <a:gd name="connsiteY77" fmla="*/ 8216 h 10000"/>
                <a:gd name="connsiteX78" fmla="*/ 7534 w 10025"/>
                <a:gd name="connsiteY78" fmla="*/ 8027 h 10000"/>
                <a:gd name="connsiteX79" fmla="*/ 7213 w 10025"/>
                <a:gd name="connsiteY79" fmla="*/ 7846 h 10000"/>
                <a:gd name="connsiteX80" fmla="*/ 6866 w 10025"/>
                <a:gd name="connsiteY80" fmla="*/ 7818 h 10000"/>
                <a:gd name="connsiteX81" fmla="*/ 6957 w 10025"/>
                <a:gd name="connsiteY81" fmla="*/ 7609 h 10000"/>
                <a:gd name="connsiteX82" fmla="*/ 6931 w 10025"/>
                <a:gd name="connsiteY82" fmla="*/ 7457 h 10000"/>
                <a:gd name="connsiteX83" fmla="*/ 7226 w 10025"/>
                <a:gd name="connsiteY83" fmla="*/ 7467 h 10000"/>
                <a:gd name="connsiteX84" fmla="*/ 7291 w 10025"/>
                <a:gd name="connsiteY84" fmla="*/ 7514 h 10000"/>
                <a:gd name="connsiteX85" fmla="*/ 7470 w 10025"/>
                <a:gd name="connsiteY85" fmla="*/ 7419 h 10000"/>
                <a:gd name="connsiteX86" fmla="*/ 7521 w 10025"/>
                <a:gd name="connsiteY86" fmla="*/ 7078 h 10000"/>
                <a:gd name="connsiteX87" fmla="*/ 7444 w 10025"/>
                <a:gd name="connsiteY87" fmla="*/ 6822 h 10000"/>
                <a:gd name="connsiteX88" fmla="*/ 7663 w 10025"/>
                <a:gd name="connsiteY88" fmla="*/ 6613 h 10000"/>
                <a:gd name="connsiteX89" fmla="*/ 7598 w 10025"/>
                <a:gd name="connsiteY89" fmla="*/ 6414 h 10000"/>
                <a:gd name="connsiteX90" fmla="*/ 7740 w 10025"/>
                <a:gd name="connsiteY90" fmla="*/ 6224 h 10000"/>
                <a:gd name="connsiteX91" fmla="*/ 7829 w 10025"/>
                <a:gd name="connsiteY91" fmla="*/ 6328 h 10000"/>
                <a:gd name="connsiteX92" fmla="*/ 7983 w 10025"/>
                <a:gd name="connsiteY92" fmla="*/ 6281 h 10000"/>
                <a:gd name="connsiteX93" fmla="*/ 7970 w 10025"/>
                <a:gd name="connsiteY93" fmla="*/ 5987 h 10000"/>
                <a:gd name="connsiteX94" fmla="*/ 8061 w 10025"/>
                <a:gd name="connsiteY94" fmla="*/ 5882 h 10000"/>
                <a:gd name="connsiteX95" fmla="*/ 8035 w 10025"/>
                <a:gd name="connsiteY95" fmla="*/ 5740 h 10000"/>
                <a:gd name="connsiteX96" fmla="*/ 8240 w 10025"/>
                <a:gd name="connsiteY96" fmla="*/ 5655 h 10000"/>
                <a:gd name="connsiteX97" fmla="*/ 8253 w 10025"/>
                <a:gd name="connsiteY97" fmla="*/ 5465 h 10000"/>
                <a:gd name="connsiteX98" fmla="*/ 8408 w 10025"/>
                <a:gd name="connsiteY98" fmla="*/ 5285 h 10000"/>
                <a:gd name="connsiteX99" fmla="*/ 8689 w 10025"/>
                <a:gd name="connsiteY99" fmla="*/ 5266 h 10000"/>
                <a:gd name="connsiteX100" fmla="*/ 8664 w 10025"/>
                <a:gd name="connsiteY100" fmla="*/ 5019 h 10000"/>
                <a:gd name="connsiteX101" fmla="*/ 8870 w 10025"/>
                <a:gd name="connsiteY101" fmla="*/ 4753 h 10000"/>
                <a:gd name="connsiteX102" fmla="*/ 8870 w 10025"/>
                <a:gd name="connsiteY102" fmla="*/ 4469 h 10000"/>
                <a:gd name="connsiteX103" fmla="*/ 8844 w 10025"/>
                <a:gd name="connsiteY103" fmla="*/ 4156 h 10000"/>
                <a:gd name="connsiteX104" fmla="*/ 8780 w 10025"/>
                <a:gd name="connsiteY104" fmla="*/ 4061 h 10000"/>
                <a:gd name="connsiteX105" fmla="*/ 8934 w 10025"/>
                <a:gd name="connsiteY105" fmla="*/ 3928 h 10000"/>
                <a:gd name="connsiteX106" fmla="*/ 8946 w 10025"/>
                <a:gd name="connsiteY106" fmla="*/ 3767 h 10000"/>
                <a:gd name="connsiteX107" fmla="*/ 9101 w 10025"/>
                <a:gd name="connsiteY107" fmla="*/ 3577 h 10000"/>
                <a:gd name="connsiteX108" fmla="*/ 9023 w 10025"/>
                <a:gd name="connsiteY108" fmla="*/ 3283 h 10000"/>
                <a:gd name="connsiteX109" fmla="*/ 9165 w 10025"/>
                <a:gd name="connsiteY109" fmla="*/ 3207 h 10000"/>
                <a:gd name="connsiteX110" fmla="*/ 9165 w 10025"/>
                <a:gd name="connsiteY110" fmla="*/ 3112 h 10000"/>
                <a:gd name="connsiteX111" fmla="*/ 9408 w 10025"/>
                <a:gd name="connsiteY111" fmla="*/ 3046 h 10000"/>
                <a:gd name="connsiteX112" fmla="*/ 9421 w 10025"/>
                <a:gd name="connsiteY112" fmla="*/ 2903 h 10000"/>
                <a:gd name="connsiteX113" fmla="*/ 9884 w 10025"/>
                <a:gd name="connsiteY113" fmla="*/ 2808 h 10000"/>
                <a:gd name="connsiteX114" fmla="*/ 10025 w 10025"/>
                <a:gd name="connsiteY114" fmla="*/ 2571 h 10000"/>
                <a:gd name="connsiteX115" fmla="*/ 9704 w 10025"/>
                <a:gd name="connsiteY115" fmla="*/ 2429 h 10000"/>
                <a:gd name="connsiteX116" fmla="*/ 9589 w 10025"/>
                <a:gd name="connsiteY116" fmla="*/ 2239 h 10000"/>
                <a:gd name="connsiteX117" fmla="*/ 9268 w 10025"/>
                <a:gd name="connsiteY117" fmla="*/ 2163 h 10000"/>
                <a:gd name="connsiteX118" fmla="*/ 9204 w 10025"/>
                <a:gd name="connsiteY118" fmla="*/ 1670 h 10000"/>
                <a:gd name="connsiteX119" fmla="*/ 9114 w 10025"/>
                <a:gd name="connsiteY119" fmla="*/ 1651 h 10000"/>
                <a:gd name="connsiteX120" fmla="*/ 9087 w 10025"/>
                <a:gd name="connsiteY120" fmla="*/ 1205 h 10000"/>
                <a:gd name="connsiteX121" fmla="*/ 9023 w 10025"/>
                <a:gd name="connsiteY121" fmla="*/ 1053 h 10000"/>
                <a:gd name="connsiteX122" fmla="*/ 9178 w 10025"/>
                <a:gd name="connsiteY122" fmla="*/ 1025 h 10000"/>
                <a:gd name="connsiteX123" fmla="*/ 8934 w 10025"/>
                <a:gd name="connsiteY123" fmla="*/ 797 h 10000"/>
                <a:gd name="connsiteX124" fmla="*/ 8895 w 10025"/>
                <a:gd name="connsiteY124" fmla="*/ 503 h 10000"/>
                <a:gd name="connsiteX125" fmla="*/ 8651 w 10025"/>
                <a:gd name="connsiteY125" fmla="*/ 370 h 10000"/>
                <a:gd name="connsiteX126" fmla="*/ 8485 w 10025"/>
                <a:gd name="connsiteY126" fmla="*/ 218 h 10000"/>
                <a:gd name="connsiteX127" fmla="*/ 8343 w 10025"/>
                <a:gd name="connsiteY127" fmla="*/ 209 h 10000"/>
                <a:gd name="connsiteX128" fmla="*/ 8138 w 10025"/>
                <a:gd name="connsiteY128" fmla="*/ 0 h 10000"/>
                <a:gd name="connsiteX129" fmla="*/ 7932 w 10025"/>
                <a:gd name="connsiteY129" fmla="*/ 142 h 10000"/>
                <a:gd name="connsiteX130" fmla="*/ 7714 w 10025"/>
                <a:gd name="connsiteY130" fmla="*/ 152 h 10000"/>
                <a:gd name="connsiteX0" fmla="*/ 7620 w 9931"/>
                <a:gd name="connsiteY0" fmla="*/ 152 h 10000"/>
                <a:gd name="connsiteX1" fmla="*/ 7491 w 9931"/>
                <a:gd name="connsiteY1" fmla="*/ 408 h 10000"/>
                <a:gd name="connsiteX2" fmla="*/ 7210 w 9931"/>
                <a:gd name="connsiteY2" fmla="*/ 436 h 10000"/>
                <a:gd name="connsiteX3" fmla="*/ 6927 w 9931"/>
                <a:gd name="connsiteY3" fmla="*/ 731 h 10000"/>
                <a:gd name="connsiteX4" fmla="*/ 6606 w 9931"/>
                <a:gd name="connsiteY4" fmla="*/ 560 h 10000"/>
                <a:gd name="connsiteX5" fmla="*/ 5591 w 9931"/>
                <a:gd name="connsiteY5" fmla="*/ 531 h 10000"/>
                <a:gd name="connsiteX6" fmla="*/ 5527 w 9931"/>
                <a:gd name="connsiteY6" fmla="*/ 455 h 10000"/>
                <a:gd name="connsiteX7" fmla="*/ 5412 w 9931"/>
                <a:gd name="connsiteY7" fmla="*/ 569 h 10000"/>
                <a:gd name="connsiteX8" fmla="*/ 1740 w 9931"/>
                <a:gd name="connsiteY8" fmla="*/ 531 h 10000"/>
                <a:gd name="connsiteX9" fmla="*/ 1753 w 9931"/>
                <a:gd name="connsiteY9" fmla="*/ 1556 h 10000"/>
                <a:gd name="connsiteX10" fmla="*/ 1136 w 9931"/>
                <a:gd name="connsiteY10" fmla="*/ 1565 h 10000"/>
                <a:gd name="connsiteX11" fmla="*/ 1200 w 9931"/>
                <a:gd name="connsiteY11" fmla="*/ 3776 h 10000"/>
                <a:gd name="connsiteX12" fmla="*/ 623 w 9931"/>
                <a:gd name="connsiteY12" fmla="*/ 3767 h 10000"/>
                <a:gd name="connsiteX13" fmla="*/ 597 w 9931"/>
                <a:gd name="connsiteY13" fmla="*/ 3985 h 10000"/>
                <a:gd name="connsiteX14" fmla="*/ 430 w 9931"/>
                <a:gd name="connsiteY14" fmla="*/ 4118 h 10000"/>
                <a:gd name="connsiteX15" fmla="*/ 379 w 9931"/>
                <a:gd name="connsiteY15" fmla="*/ 4288 h 10000"/>
                <a:gd name="connsiteX16" fmla="*/ 251 w 9931"/>
                <a:gd name="connsiteY16" fmla="*/ 4288 h 10000"/>
                <a:gd name="connsiteX17" fmla="*/ 289 w 9931"/>
                <a:gd name="connsiteY17" fmla="*/ 4440 h 10000"/>
                <a:gd name="connsiteX18" fmla="*/ 353 w 9931"/>
                <a:gd name="connsiteY18" fmla="*/ 4545 h 10000"/>
                <a:gd name="connsiteX19" fmla="*/ 212 w 9931"/>
                <a:gd name="connsiteY19" fmla="*/ 4611 h 10000"/>
                <a:gd name="connsiteX20" fmla="*/ 96 w 9931"/>
                <a:gd name="connsiteY20" fmla="*/ 4782 h 10000"/>
                <a:gd name="connsiteX21" fmla="*/ 187 w 9931"/>
                <a:gd name="connsiteY21" fmla="*/ 5000 h 10000"/>
                <a:gd name="connsiteX22" fmla="*/ 45 w 9931"/>
                <a:gd name="connsiteY22" fmla="*/ 5361 h 10000"/>
                <a:gd name="connsiteX23" fmla="*/ 1098 w 9931"/>
                <a:gd name="connsiteY23" fmla="*/ 6774 h 10000"/>
                <a:gd name="connsiteX24" fmla="*/ 944 w 9931"/>
                <a:gd name="connsiteY24" fmla="*/ 7144 h 10000"/>
                <a:gd name="connsiteX25" fmla="*/ 1047 w 9931"/>
                <a:gd name="connsiteY25" fmla="*/ 7211 h 10000"/>
                <a:gd name="connsiteX26" fmla="*/ 970 w 9931"/>
                <a:gd name="connsiteY26" fmla="*/ 7315 h 10000"/>
                <a:gd name="connsiteX27" fmla="*/ 1406 w 9931"/>
                <a:gd name="connsiteY27" fmla="*/ 7343 h 10000"/>
                <a:gd name="connsiteX28" fmla="*/ 1406 w 9931"/>
                <a:gd name="connsiteY28" fmla="*/ 7410 h 10000"/>
                <a:gd name="connsiteX29" fmla="*/ 1393 w 9931"/>
                <a:gd name="connsiteY29" fmla="*/ 7562 h 10000"/>
                <a:gd name="connsiteX30" fmla="*/ 1855 w 9931"/>
                <a:gd name="connsiteY30" fmla="*/ 7619 h 10000"/>
                <a:gd name="connsiteX31" fmla="*/ 1855 w 9931"/>
                <a:gd name="connsiteY31" fmla="*/ 7742 h 10000"/>
                <a:gd name="connsiteX32" fmla="*/ 2100 w 9931"/>
                <a:gd name="connsiteY32" fmla="*/ 7837 h 10000"/>
                <a:gd name="connsiteX33" fmla="*/ 2023 w 9931"/>
                <a:gd name="connsiteY33" fmla="*/ 7979 h 10000"/>
                <a:gd name="connsiteX34" fmla="*/ 2369 w 9931"/>
                <a:gd name="connsiteY34" fmla="*/ 8102 h 10000"/>
                <a:gd name="connsiteX35" fmla="*/ 2574 w 9931"/>
                <a:gd name="connsiteY35" fmla="*/ 8330 h 10000"/>
                <a:gd name="connsiteX36" fmla="*/ 2767 w 9931"/>
                <a:gd name="connsiteY36" fmla="*/ 8416 h 10000"/>
                <a:gd name="connsiteX37" fmla="*/ 2689 w 9931"/>
                <a:gd name="connsiteY37" fmla="*/ 8491 h 10000"/>
                <a:gd name="connsiteX38" fmla="*/ 2793 w 9931"/>
                <a:gd name="connsiteY38" fmla="*/ 8577 h 10000"/>
                <a:gd name="connsiteX39" fmla="*/ 2780 w 9931"/>
                <a:gd name="connsiteY39" fmla="*/ 8700 h 10000"/>
                <a:gd name="connsiteX40" fmla="*/ 2972 w 9931"/>
                <a:gd name="connsiteY40" fmla="*/ 8710 h 10000"/>
                <a:gd name="connsiteX41" fmla="*/ 3191 w 9931"/>
                <a:gd name="connsiteY41" fmla="*/ 8843 h 10000"/>
                <a:gd name="connsiteX42" fmla="*/ 3242 w 9931"/>
                <a:gd name="connsiteY42" fmla="*/ 9051 h 10000"/>
                <a:gd name="connsiteX43" fmla="*/ 3293 w 9931"/>
                <a:gd name="connsiteY43" fmla="*/ 9127 h 10000"/>
                <a:gd name="connsiteX44" fmla="*/ 3563 w 9931"/>
                <a:gd name="connsiteY44" fmla="*/ 9307 h 10000"/>
                <a:gd name="connsiteX45" fmla="*/ 3563 w 9931"/>
                <a:gd name="connsiteY45" fmla="*/ 9440 h 10000"/>
                <a:gd name="connsiteX46" fmla="*/ 3961 w 9931"/>
                <a:gd name="connsiteY46" fmla="*/ 9583 h 10000"/>
                <a:gd name="connsiteX47" fmla="*/ 4179 w 9931"/>
                <a:gd name="connsiteY47" fmla="*/ 9431 h 10000"/>
                <a:gd name="connsiteX48" fmla="*/ 4449 w 9931"/>
                <a:gd name="connsiteY48" fmla="*/ 9545 h 10000"/>
                <a:gd name="connsiteX49" fmla="*/ 4667 w 9931"/>
                <a:gd name="connsiteY49" fmla="*/ 9374 h 10000"/>
                <a:gd name="connsiteX50" fmla="*/ 4911 w 9931"/>
                <a:gd name="connsiteY50" fmla="*/ 9649 h 10000"/>
                <a:gd name="connsiteX51" fmla="*/ 5257 w 9931"/>
                <a:gd name="connsiteY51" fmla="*/ 9801 h 10000"/>
                <a:gd name="connsiteX52" fmla="*/ 5296 w 9931"/>
                <a:gd name="connsiteY52" fmla="*/ 9934 h 10000"/>
                <a:gd name="connsiteX53" fmla="*/ 5438 w 9931"/>
                <a:gd name="connsiteY53" fmla="*/ 9953 h 10000"/>
                <a:gd name="connsiteX54" fmla="*/ 5642 w 9931"/>
                <a:gd name="connsiteY54" fmla="*/ 9829 h 10000"/>
                <a:gd name="connsiteX55" fmla="*/ 5900 w 9931"/>
                <a:gd name="connsiteY55" fmla="*/ 9905 h 10000"/>
                <a:gd name="connsiteX56" fmla="*/ 5989 w 9931"/>
                <a:gd name="connsiteY56" fmla="*/ 9839 h 10000"/>
                <a:gd name="connsiteX57" fmla="*/ 6080 w 9931"/>
                <a:gd name="connsiteY57" fmla="*/ 9829 h 10000"/>
                <a:gd name="connsiteX58" fmla="*/ 6259 w 9931"/>
                <a:gd name="connsiteY58" fmla="*/ 10000 h 10000"/>
                <a:gd name="connsiteX59" fmla="*/ 6426 w 9931"/>
                <a:gd name="connsiteY59" fmla="*/ 9858 h 10000"/>
                <a:gd name="connsiteX60" fmla="*/ 6631 w 9931"/>
                <a:gd name="connsiteY60" fmla="*/ 9867 h 10000"/>
                <a:gd name="connsiteX61" fmla="*/ 6786 w 9931"/>
                <a:gd name="connsiteY61" fmla="*/ 9791 h 10000"/>
                <a:gd name="connsiteX62" fmla="*/ 7004 w 9931"/>
                <a:gd name="connsiteY62" fmla="*/ 9867 h 10000"/>
                <a:gd name="connsiteX63" fmla="*/ 7286 w 9931"/>
                <a:gd name="connsiteY63" fmla="*/ 9630 h 10000"/>
                <a:gd name="connsiteX64" fmla="*/ 7389 w 9931"/>
                <a:gd name="connsiteY64" fmla="*/ 9630 h 10000"/>
                <a:gd name="connsiteX65" fmla="*/ 7569 w 9931"/>
                <a:gd name="connsiteY65" fmla="*/ 9440 h 10000"/>
                <a:gd name="connsiteX66" fmla="*/ 8339 w 9931"/>
                <a:gd name="connsiteY66" fmla="*/ 9431 h 10000"/>
                <a:gd name="connsiteX67" fmla="*/ 8506 w 9931"/>
                <a:gd name="connsiteY67" fmla="*/ 9355 h 10000"/>
                <a:gd name="connsiteX68" fmla="*/ 8493 w 9931"/>
                <a:gd name="connsiteY68" fmla="*/ 9260 h 10000"/>
                <a:gd name="connsiteX69" fmla="*/ 8442 w 9931"/>
                <a:gd name="connsiteY69" fmla="*/ 9051 h 10000"/>
                <a:gd name="connsiteX70" fmla="*/ 8121 w 9931"/>
                <a:gd name="connsiteY70" fmla="*/ 8985 h 10000"/>
                <a:gd name="connsiteX71" fmla="*/ 7967 w 9931"/>
                <a:gd name="connsiteY71" fmla="*/ 8653 h 10000"/>
                <a:gd name="connsiteX72" fmla="*/ 7876 w 9931"/>
                <a:gd name="connsiteY72" fmla="*/ 8615 h 10000"/>
                <a:gd name="connsiteX73" fmla="*/ 7851 w 9931"/>
                <a:gd name="connsiteY73" fmla="*/ 8378 h 10000"/>
                <a:gd name="connsiteX74" fmla="*/ 7735 w 9931"/>
                <a:gd name="connsiteY74" fmla="*/ 8368 h 10000"/>
                <a:gd name="connsiteX75" fmla="*/ 7697 w 9931"/>
                <a:gd name="connsiteY75" fmla="*/ 8245 h 10000"/>
                <a:gd name="connsiteX76" fmla="*/ 7504 w 9931"/>
                <a:gd name="connsiteY76" fmla="*/ 8216 h 10000"/>
                <a:gd name="connsiteX77" fmla="*/ 7440 w 9931"/>
                <a:gd name="connsiteY77" fmla="*/ 8027 h 10000"/>
                <a:gd name="connsiteX78" fmla="*/ 7119 w 9931"/>
                <a:gd name="connsiteY78" fmla="*/ 7846 h 10000"/>
                <a:gd name="connsiteX79" fmla="*/ 6772 w 9931"/>
                <a:gd name="connsiteY79" fmla="*/ 7818 h 10000"/>
                <a:gd name="connsiteX80" fmla="*/ 6863 w 9931"/>
                <a:gd name="connsiteY80" fmla="*/ 7609 h 10000"/>
                <a:gd name="connsiteX81" fmla="*/ 6837 w 9931"/>
                <a:gd name="connsiteY81" fmla="*/ 7457 h 10000"/>
                <a:gd name="connsiteX82" fmla="*/ 7132 w 9931"/>
                <a:gd name="connsiteY82" fmla="*/ 7467 h 10000"/>
                <a:gd name="connsiteX83" fmla="*/ 7197 w 9931"/>
                <a:gd name="connsiteY83" fmla="*/ 7514 h 10000"/>
                <a:gd name="connsiteX84" fmla="*/ 7376 w 9931"/>
                <a:gd name="connsiteY84" fmla="*/ 7419 h 10000"/>
                <a:gd name="connsiteX85" fmla="*/ 7427 w 9931"/>
                <a:gd name="connsiteY85" fmla="*/ 7078 h 10000"/>
                <a:gd name="connsiteX86" fmla="*/ 7350 w 9931"/>
                <a:gd name="connsiteY86" fmla="*/ 6822 h 10000"/>
                <a:gd name="connsiteX87" fmla="*/ 7569 w 9931"/>
                <a:gd name="connsiteY87" fmla="*/ 6613 h 10000"/>
                <a:gd name="connsiteX88" fmla="*/ 7504 w 9931"/>
                <a:gd name="connsiteY88" fmla="*/ 6414 h 10000"/>
                <a:gd name="connsiteX89" fmla="*/ 7646 w 9931"/>
                <a:gd name="connsiteY89" fmla="*/ 6224 h 10000"/>
                <a:gd name="connsiteX90" fmla="*/ 7735 w 9931"/>
                <a:gd name="connsiteY90" fmla="*/ 6328 h 10000"/>
                <a:gd name="connsiteX91" fmla="*/ 7889 w 9931"/>
                <a:gd name="connsiteY91" fmla="*/ 6281 h 10000"/>
                <a:gd name="connsiteX92" fmla="*/ 7876 w 9931"/>
                <a:gd name="connsiteY92" fmla="*/ 5987 h 10000"/>
                <a:gd name="connsiteX93" fmla="*/ 7967 w 9931"/>
                <a:gd name="connsiteY93" fmla="*/ 5882 h 10000"/>
                <a:gd name="connsiteX94" fmla="*/ 7941 w 9931"/>
                <a:gd name="connsiteY94" fmla="*/ 5740 h 10000"/>
                <a:gd name="connsiteX95" fmla="*/ 8146 w 9931"/>
                <a:gd name="connsiteY95" fmla="*/ 5655 h 10000"/>
                <a:gd name="connsiteX96" fmla="*/ 8159 w 9931"/>
                <a:gd name="connsiteY96" fmla="*/ 5465 h 10000"/>
                <a:gd name="connsiteX97" fmla="*/ 8314 w 9931"/>
                <a:gd name="connsiteY97" fmla="*/ 5285 h 10000"/>
                <a:gd name="connsiteX98" fmla="*/ 8595 w 9931"/>
                <a:gd name="connsiteY98" fmla="*/ 5266 h 10000"/>
                <a:gd name="connsiteX99" fmla="*/ 8570 w 9931"/>
                <a:gd name="connsiteY99" fmla="*/ 5019 h 10000"/>
                <a:gd name="connsiteX100" fmla="*/ 8776 w 9931"/>
                <a:gd name="connsiteY100" fmla="*/ 4753 h 10000"/>
                <a:gd name="connsiteX101" fmla="*/ 8776 w 9931"/>
                <a:gd name="connsiteY101" fmla="*/ 4469 h 10000"/>
                <a:gd name="connsiteX102" fmla="*/ 8750 w 9931"/>
                <a:gd name="connsiteY102" fmla="*/ 4156 h 10000"/>
                <a:gd name="connsiteX103" fmla="*/ 8686 w 9931"/>
                <a:gd name="connsiteY103" fmla="*/ 4061 h 10000"/>
                <a:gd name="connsiteX104" fmla="*/ 8840 w 9931"/>
                <a:gd name="connsiteY104" fmla="*/ 3928 h 10000"/>
                <a:gd name="connsiteX105" fmla="*/ 8852 w 9931"/>
                <a:gd name="connsiteY105" fmla="*/ 3767 h 10000"/>
                <a:gd name="connsiteX106" fmla="*/ 9007 w 9931"/>
                <a:gd name="connsiteY106" fmla="*/ 3577 h 10000"/>
                <a:gd name="connsiteX107" fmla="*/ 8929 w 9931"/>
                <a:gd name="connsiteY107" fmla="*/ 3283 h 10000"/>
                <a:gd name="connsiteX108" fmla="*/ 9071 w 9931"/>
                <a:gd name="connsiteY108" fmla="*/ 3207 h 10000"/>
                <a:gd name="connsiteX109" fmla="*/ 9071 w 9931"/>
                <a:gd name="connsiteY109" fmla="*/ 3112 h 10000"/>
                <a:gd name="connsiteX110" fmla="*/ 9314 w 9931"/>
                <a:gd name="connsiteY110" fmla="*/ 3046 h 10000"/>
                <a:gd name="connsiteX111" fmla="*/ 9327 w 9931"/>
                <a:gd name="connsiteY111" fmla="*/ 2903 h 10000"/>
                <a:gd name="connsiteX112" fmla="*/ 9790 w 9931"/>
                <a:gd name="connsiteY112" fmla="*/ 2808 h 10000"/>
                <a:gd name="connsiteX113" fmla="*/ 9931 w 9931"/>
                <a:gd name="connsiteY113" fmla="*/ 2571 h 10000"/>
                <a:gd name="connsiteX114" fmla="*/ 9610 w 9931"/>
                <a:gd name="connsiteY114" fmla="*/ 2429 h 10000"/>
                <a:gd name="connsiteX115" fmla="*/ 9495 w 9931"/>
                <a:gd name="connsiteY115" fmla="*/ 2239 h 10000"/>
                <a:gd name="connsiteX116" fmla="*/ 9174 w 9931"/>
                <a:gd name="connsiteY116" fmla="*/ 2163 h 10000"/>
                <a:gd name="connsiteX117" fmla="*/ 9110 w 9931"/>
                <a:gd name="connsiteY117" fmla="*/ 1670 h 10000"/>
                <a:gd name="connsiteX118" fmla="*/ 9020 w 9931"/>
                <a:gd name="connsiteY118" fmla="*/ 1651 h 10000"/>
                <a:gd name="connsiteX119" fmla="*/ 8993 w 9931"/>
                <a:gd name="connsiteY119" fmla="*/ 1205 h 10000"/>
                <a:gd name="connsiteX120" fmla="*/ 8929 w 9931"/>
                <a:gd name="connsiteY120" fmla="*/ 1053 h 10000"/>
                <a:gd name="connsiteX121" fmla="*/ 9084 w 9931"/>
                <a:gd name="connsiteY121" fmla="*/ 1025 h 10000"/>
                <a:gd name="connsiteX122" fmla="*/ 8840 w 9931"/>
                <a:gd name="connsiteY122" fmla="*/ 797 h 10000"/>
                <a:gd name="connsiteX123" fmla="*/ 8801 w 9931"/>
                <a:gd name="connsiteY123" fmla="*/ 503 h 10000"/>
                <a:gd name="connsiteX124" fmla="*/ 8557 w 9931"/>
                <a:gd name="connsiteY124" fmla="*/ 370 h 10000"/>
                <a:gd name="connsiteX125" fmla="*/ 8391 w 9931"/>
                <a:gd name="connsiteY125" fmla="*/ 218 h 10000"/>
                <a:gd name="connsiteX126" fmla="*/ 8249 w 9931"/>
                <a:gd name="connsiteY126" fmla="*/ 209 h 10000"/>
                <a:gd name="connsiteX127" fmla="*/ 8044 w 9931"/>
                <a:gd name="connsiteY127" fmla="*/ 0 h 10000"/>
                <a:gd name="connsiteX128" fmla="*/ 7838 w 9931"/>
                <a:gd name="connsiteY128" fmla="*/ 142 h 10000"/>
                <a:gd name="connsiteX129" fmla="*/ 7620 w 9931"/>
                <a:gd name="connsiteY129" fmla="*/ 152 h 10000"/>
                <a:gd name="connsiteX0" fmla="*/ 7595 w 9922"/>
                <a:gd name="connsiteY0" fmla="*/ 152 h 10000"/>
                <a:gd name="connsiteX1" fmla="*/ 7465 w 9922"/>
                <a:gd name="connsiteY1" fmla="*/ 408 h 10000"/>
                <a:gd name="connsiteX2" fmla="*/ 7182 w 9922"/>
                <a:gd name="connsiteY2" fmla="*/ 436 h 10000"/>
                <a:gd name="connsiteX3" fmla="*/ 6897 w 9922"/>
                <a:gd name="connsiteY3" fmla="*/ 731 h 10000"/>
                <a:gd name="connsiteX4" fmla="*/ 6574 w 9922"/>
                <a:gd name="connsiteY4" fmla="*/ 560 h 10000"/>
                <a:gd name="connsiteX5" fmla="*/ 5552 w 9922"/>
                <a:gd name="connsiteY5" fmla="*/ 531 h 10000"/>
                <a:gd name="connsiteX6" fmla="*/ 5487 w 9922"/>
                <a:gd name="connsiteY6" fmla="*/ 455 h 10000"/>
                <a:gd name="connsiteX7" fmla="*/ 5372 w 9922"/>
                <a:gd name="connsiteY7" fmla="*/ 569 h 10000"/>
                <a:gd name="connsiteX8" fmla="*/ 1674 w 9922"/>
                <a:gd name="connsiteY8" fmla="*/ 531 h 10000"/>
                <a:gd name="connsiteX9" fmla="*/ 1687 w 9922"/>
                <a:gd name="connsiteY9" fmla="*/ 1556 h 10000"/>
                <a:gd name="connsiteX10" fmla="*/ 1066 w 9922"/>
                <a:gd name="connsiteY10" fmla="*/ 1565 h 10000"/>
                <a:gd name="connsiteX11" fmla="*/ 1130 w 9922"/>
                <a:gd name="connsiteY11" fmla="*/ 3776 h 10000"/>
                <a:gd name="connsiteX12" fmla="*/ 549 w 9922"/>
                <a:gd name="connsiteY12" fmla="*/ 3767 h 10000"/>
                <a:gd name="connsiteX13" fmla="*/ 523 w 9922"/>
                <a:gd name="connsiteY13" fmla="*/ 3985 h 10000"/>
                <a:gd name="connsiteX14" fmla="*/ 355 w 9922"/>
                <a:gd name="connsiteY14" fmla="*/ 4118 h 10000"/>
                <a:gd name="connsiteX15" fmla="*/ 304 w 9922"/>
                <a:gd name="connsiteY15" fmla="*/ 4288 h 10000"/>
                <a:gd name="connsiteX16" fmla="*/ 175 w 9922"/>
                <a:gd name="connsiteY16" fmla="*/ 4288 h 10000"/>
                <a:gd name="connsiteX17" fmla="*/ 213 w 9922"/>
                <a:gd name="connsiteY17" fmla="*/ 4440 h 10000"/>
                <a:gd name="connsiteX18" fmla="*/ 277 w 9922"/>
                <a:gd name="connsiteY18" fmla="*/ 4545 h 10000"/>
                <a:gd name="connsiteX19" fmla="*/ 135 w 9922"/>
                <a:gd name="connsiteY19" fmla="*/ 4611 h 10000"/>
                <a:gd name="connsiteX20" fmla="*/ 19 w 9922"/>
                <a:gd name="connsiteY20" fmla="*/ 4782 h 10000"/>
                <a:gd name="connsiteX21" fmla="*/ 110 w 9922"/>
                <a:gd name="connsiteY21" fmla="*/ 5000 h 10000"/>
                <a:gd name="connsiteX22" fmla="*/ 1028 w 9922"/>
                <a:gd name="connsiteY22" fmla="*/ 6774 h 10000"/>
                <a:gd name="connsiteX23" fmla="*/ 873 w 9922"/>
                <a:gd name="connsiteY23" fmla="*/ 7144 h 10000"/>
                <a:gd name="connsiteX24" fmla="*/ 976 w 9922"/>
                <a:gd name="connsiteY24" fmla="*/ 7211 h 10000"/>
                <a:gd name="connsiteX25" fmla="*/ 899 w 9922"/>
                <a:gd name="connsiteY25" fmla="*/ 7315 h 10000"/>
                <a:gd name="connsiteX26" fmla="*/ 1338 w 9922"/>
                <a:gd name="connsiteY26" fmla="*/ 7343 h 10000"/>
                <a:gd name="connsiteX27" fmla="*/ 1338 w 9922"/>
                <a:gd name="connsiteY27" fmla="*/ 7410 h 10000"/>
                <a:gd name="connsiteX28" fmla="*/ 1325 w 9922"/>
                <a:gd name="connsiteY28" fmla="*/ 7562 h 10000"/>
                <a:gd name="connsiteX29" fmla="*/ 1790 w 9922"/>
                <a:gd name="connsiteY29" fmla="*/ 7619 h 10000"/>
                <a:gd name="connsiteX30" fmla="*/ 1790 w 9922"/>
                <a:gd name="connsiteY30" fmla="*/ 7742 h 10000"/>
                <a:gd name="connsiteX31" fmla="*/ 2037 w 9922"/>
                <a:gd name="connsiteY31" fmla="*/ 7837 h 10000"/>
                <a:gd name="connsiteX32" fmla="*/ 1959 w 9922"/>
                <a:gd name="connsiteY32" fmla="*/ 7979 h 10000"/>
                <a:gd name="connsiteX33" fmla="*/ 2307 w 9922"/>
                <a:gd name="connsiteY33" fmla="*/ 8102 h 10000"/>
                <a:gd name="connsiteX34" fmla="*/ 2514 w 9922"/>
                <a:gd name="connsiteY34" fmla="*/ 8330 h 10000"/>
                <a:gd name="connsiteX35" fmla="*/ 2708 w 9922"/>
                <a:gd name="connsiteY35" fmla="*/ 8416 h 10000"/>
                <a:gd name="connsiteX36" fmla="*/ 2630 w 9922"/>
                <a:gd name="connsiteY36" fmla="*/ 8491 h 10000"/>
                <a:gd name="connsiteX37" fmla="*/ 2734 w 9922"/>
                <a:gd name="connsiteY37" fmla="*/ 8577 h 10000"/>
                <a:gd name="connsiteX38" fmla="*/ 2721 w 9922"/>
                <a:gd name="connsiteY38" fmla="*/ 8700 h 10000"/>
                <a:gd name="connsiteX39" fmla="*/ 2915 w 9922"/>
                <a:gd name="connsiteY39" fmla="*/ 8710 h 10000"/>
                <a:gd name="connsiteX40" fmla="*/ 3135 w 9922"/>
                <a:gd name="connsiteY40" fmla="*/ 8843 h 10000"/>
                <a:gd name="connsiteX41" fmla="*/ 3187 w 9922"/>
                <a:gd name="connsiteY41" fmla="*/ 9051 h 10000"/>
                <a:gd name="connsiteX42" fmla="*/ 3238 w 9922"/>
                <a:gd name="connsiteY42" fmla="*/ 9127 h 10000"/>
                <a:gd name="connsiteX43" fmla="*/ 3510 w 9922"/>
                <a:gd name="connsiteY43" fmla="*/ 9307 h 10000"/>
                <a:gd name="connsiteX44" fmla="*/ 3510 w 9922"/>
                <a:gd name="connsiteY44" fmla="*/ 9440 h 10000"/>
                <a:gd name="connsiteX45" fmla="*/ 3911 w 9922"/>
                <a:gd name="connsiteY45" fmla="*/ 9583 h 10000"/>
                <a:gd name="connsiteX46" fmla="*/ 4130 w 9922"/>
                <a:gd name="connsiteY46" fmla="*/ 9431 h 10000"/>
                <a:gd name="connsiteX47" fmla="*/ 4402 w 9922"/>
                <a:gd name="connsiteY47" fmla="*/ 9545 h 10000"/>
                <a:gd name="connsiteX48" fmla="*/ 4621 w 9922"/>
                <a:gd name="connsiteY48" fmla="*/ 9374 h 10000"/>
                <a:gd name="connsiteX49" fmla="*/ 4867 w 9922"/>
                <a:gd name="connsiteY49" fmla="*/ 9649 h 10000"/>
                <a:gd name="connsiteX50" fmla="*/ 5216 w 9922"/>
                <a:gd name="connsiteY50" fmla="*/ 9801 h 10000"/>
                <a:gd name="connsiteX51" fmla="*/ 5255 w 9922"/>
                <a:gd name="connsiteY51" fmla="*/ 9934 h 10000"/>
                <a:gd name="connsiteX52" fmla="*/ 5398 w 9922"/>
                <a:gd name="connsiteY52" fmla="*/ 9953 h 10000"/>
                <a:gd name="connsiteX53" fmla="*/ 5603 w 9922"/>
                <a:gd name="connsiteY53" fmla="*/ 9829 h 10000"/>
                <a:gd name="connsiteX54" fmla="*/ 5863 w 9922"/>
                <a:gd name="connsiteY54" fmla="*/ 9905 h 10000"/>
                <a:gd name="connsiteX55" fmla="*/ 5953 w 9922"/>
                <a:gd name="connsiteY55" fmla="*/ 9839 h 10000"/>
                <a:gd name="connsiteX56" fmla="*/ 6044 w 9922"/>
                <a:gd name="connsiteY56" fmla="*/ 9829 h 10000"/>
                <a:gd name="connsiteX57" fmla="*/ 6224 w 9922"/>
                <a:gd name="connsiteY57" fmla="*/ 10000 h 10000"/>
                <a:gd name="connsiteX58" fmla="*/ 6393 w 9922"/>
                <a:gd name="connsiteY58" fmla="*/ 9858 h 10000"/>
                <a:gd name="connsiteX59" fmla="*/ 6599 w 9922"/>
                <a:gd name="connsiteY59" fmla="*/ 9867 h 10000"/>
                <a:gd name="connsiteX60" fmla="*/ 6755 w 9922"/>
                <a:gd name="connsiteY60" fmla="*/ 9791 h 10000"/>
                <a:gd name="connsiteX61" fmla="*/ 6975 w 9922"/>
                <a:gd name="connsiteY61" fmla="*/ 9867 h 10000"/>
                <a:gd name="connsiteX62" fmla="*/ 7259 w 9922"/>
                <a:gd name="connsiteY62" fmla="*/ 9630 h 10000"/>
                <a:gd name="connsiteX63" fmla="*/ 7362 w 9922"/>
                <a:gd name="connsiteY63" fmla="*/ 9630 h 10000"/>
                <a:gd name="connsiteX64" fmla="*/ 7544 w 9922"/>
                <a:gd name="connsiteY64" fmla="*/ 9440 h 10000"/>
                <a:gd name="connsiteX65" fmla="*/ 8319 w 9922"/>
                <a:gd name="connsiteY65" fmla="*/ 9431 h 10000"/>
                <a:gd name="connsiteX66" fmla="*/ 8487 w 9922"/>
                <a:gd name="connsiteY66" fmla="*/ 9355 h 10000"/>
                <a:gd name="connsiteX67" fmla="*/ 8474 w 9922"/>
                <a:gd name="connsiteY67" fmla="*/ 9260 h 10000"/>
                <a:gd name="connsiteX68" fmla="*/ 8423 w 9922"/>
                <a:gd name="connsiteY68" fmla="*/ 9051 h 10000"/>
                <a:gd name="connsiteX69" fmla="*/ 8099 w 9922"/>
                <a:gd name="connsiteY69" fmla="*/ 8985 h 10000"/>
                <a:gd name="connsiteX70" fmla="*/ 7944 w 9922"/>
                <a:gd name="connsiteY70" fmla="*/ 8653 h 10000"/>
                <a:gd name="connsiteX71" fmla="*/ 7853 w 9922"/>
                <a:gd name="connsiteY71" fmla="*/ 8615 h 10000"/>
                <a:gd name="connsiteX72" fmla="*/ 7828 w 9922"/>
                <a:gd name="connsiteY72" fmla="*/ 8378 h 10000"/>
                <a:gd name="connsiteX73" fmla="*/ 7711 w 9922"/>
                <a:gd name="connsiteY73" fmla="*/ 8368 h 10000"/>
                <a:gd name="connsiteX74" fmla="*/ 7672 w 9922"/>
                <a:gd name="connsiteY74" fmla="*/ 8245 h 10000"/>
                <a:gd name="connsiteX75" fmla="*/ 7478 w 9922"/>
                <a:gd name="connsiteY75" fmla="*/ 8216 h 10000"/>
                <a:gd name="connsiteX76" fmla="*/ 7414 w 9922"/>
                <a:gd name="connsiteY76" fmla="*/ 8027 h 10000"/>
                <a:gd name="connsiteX77" fmla="*/ 7090 w 9922"/>
                <a:gd name="connsiteY77" fmla="*/ 7846 h 10000"/>
                <a:gd name="connsiteX78" fmla="*/ 6741 w 9922"/>
                <a:gd name="connsiteY78" fmla="*/ 7818 h 10000"/>
                <a:gd name="connsiteX79" fmla="*/ 6833 w 9922"/>
                <a:gd name="connsiteY79" fmla="*/ 7609 h 10000"/>
                <a:gd name="connsiteX80" fmla="*/ 6807 w 9922"/>
                <a:gd name="connsiteY80" fmla="*/ 7457 h 10000"/>
                <a:gd name="connsiteX81" fmla="*/ 7104 w 9922"/>
                <a:gd name="connsiteY81" fmla="*/ 7467 h 10000"/>
                <a:gd name="connsiteX82" fmla="*/ 7169 w 9922"/>
                <a:gd name="connsiteY82" fmla="*/ 7514 h 10000"/>
                <a:gd name="connsiteX83" fmla="*/ 7349 w 9922"/>
                <a:gd name="connsiteY83" fmla="*/ 7419 h 10000"/>
                <a:gd name="connsiteX84" fmla="*/ 7401 w 9922"/>
                <a:gd name="connsiteY84" fmla="*/ 7078 h 10000"/>
                <a:gd name="connsiteX85" fmla="*/ 7323 w 9922"/>
                <a:gd name="connsiteY85" fmla="*/ 6822 h 10000"/>
                <a:gd name="connsiteX86" fmla="*/ 7544 w 9922"/>
                <a:gd name="connsiteY86" fmla="*/ 6613 h 10000"/>
                <a:gd name="connsiteX87" fmla="*/ 7478 w 9922"/>
                <a:gd name="connsiteY87" fmla="*/ 6414 h 10000"/>
                <a:gd name="connsiteX88" fmla="*/ 7621 w 9922"/>
                <a:gd name="connsiteY88" fmla="*/ 6224 h 10000"/>
                <a:gd name="connsiteX89" fmla="*/ 7711 w 9922"/>
                <a:gd name="connsiteY89" fmla="*/ 6328 h 10000"/>
                <a:gd name="connsiteX90" fmla="*/ 7866 w 9922"/>
                <a:gd name="connsiteY90" fmla="*/ 6281 h 10000"/>
                <a:gd name="connsiteX91" fmla="*/ 7853 w 9922"/>
                <a:gd name="connsiteY91" fmla="*/ 5987 h 10000"/>
                <a:gd name="connsiteX92" fmla="*/ 7944 w 9922"/>
                <a:gd name="connsiteY92" fmla="*/ 5882 h 10000"/>
                <a:gd name="connsiteX93" fmla="*/ 7918 w 9922"/>
                <a:gd name="connsiteY93" fmla="*/ 5740 h 10000"/>
                <a:gd name="connsiteX94" fmla="*/ 8125 w 9922"/>
                <a:gd name="connsiteY94" fmla="*/ 5655 h 10000"/>
                <a:gd name="connsiteX95" fmla="*/ 8138 w 9922"/>
                <a:gd name="connsiteY95" fmla="*/ 5465 h 10000"/>
                <a:gd name="connsiteX96" fmla="*/ 8294 w 9922"/>
                <a:gd name="connsiteY96" fmla="*/ 5285 h 10000"/>
                <a:gd name="connsiteX97" fmla="*/ 8577 w 9922"/>
                <a:gd name="connsiteY97" fmla="*/ 5266 h 10000"/>
                <a:gd name="connsiteX98" fmla="*/ 8552 w 9922"/>
                <a:gd name="connsiteY98" fmla="*/ 5019 h 10000"/>
                <a:gd name="connsiteX99" fmla="*/ 8759 w 9922"/>
                <a:gd name="connsiteY99" fmla="*/ 4753 h 10000"/>
                <a:gd name="connsiteX100" fmla="*/ 8759 w 9922"/>
                <a:gd name="connsiteY100" fmla="*/ 4469 h 10000"/>
                <a:gd name="connsiteX101" fmla="*/ 8733 w 9922"/>
                <a:gd name="connsiteY101" fmla="*/ 4156 h 10000"/>
                <a:gd name="connsiteX102" fmla="*/ 8668 w 9922"/>
                <a:gd name="connsiteY102" fmla="*/ 4061 h 10000"/>
                <a:gd name="connsiteX103" fmla="*/ 8823 w 9922"/>
                <a:gd name="connsiteY103" fmla="*/ 3928 h 10000"/>
                <a:gd name="connsiteX104" fmla="*/ 8836 w 9922"/>
                <a:gd name="connsiteY104" fmla="*/ 3767 h 10000"/>
                <a:gd name="connsiteX105" fmla="*/ 8992 w 9922"/>
                <a:gd name="connsiteY105" fmla="*/ 3577 h 10000"/>
                <a:gd name="connsiteX106" fmla="*/ 8913 w 9922"/>
                <a:gd name="connsiteY106" fmla="*/ 3283 h 10000"/>
                <a:gd name="connsiteX107" fmla="*/ 9056 w 9922"/>
                <a:gd name="connsiteY107" fmla="*/ 3207 h 10000"/>
                <a:gd name="connsiteX108" fmla="*/ 9056 w 9922"/>
                <a:gd name="connsiteY108" fmla="*/ 3112 h 10000"/>
                <a:gd name="connsiteX109" fmla="*/ 9301 w 9922"/>
                <a:gd name="connsiteY109" fmla="*/ 3046 h 10000"/>
                <a:gd name="connsiteX110" fmla="*/ 9314 w 9922"/>
                <a:gd name="connsiteY110" fmla="*/ 2903 h 10000"/>
                <a:gd name="connsiteX111" fmla="*/ 9780 w 9922"/>
                <a:gd name="connsiteY111" fmla="*/ 2808 h 10000"/>
                <a:gd name="connsiteX112" fmla="*/ 9922 w 9922"/>
                <a:gd name="connsiteY112" fmla="*/ 2571 h 10000"/>
                <a:gd name="connsiteX113" fmla="*/ 9599 w 9922"/>
                <a:gd name="connsiteY113" fmla="*/ 2429 h 10000"/>
                <a:gd name="connsiteX114" fmla="*/ 9483 w 9922"/>
                <a:gd name="connsiteY114" fmla="*/ 2239 h 10000"/>
                <a:gd name="connsiteX115" fmla="*/ 9160 w 9922"/>
                <a:gd name="connsiteY115" fmla="*/ 2163 h 10000"/>
                <a:gd name="connsiteX116" fmla="*/ 9095 w 9922"/>
                <a:gd name="connsiteY116" fmla="*/ 1670 h 10000"/>
                <a:gd name="connsiteX117" fmla="*/ 9005 w 9922"/>
                <a:gd name="connsiteY117" fmla="*/ 1651 h 10000"/>
                <a:gd name="connsiteX118" fmla="*/ 8977 w 9922"/>
                <a:gd name="connsiteY118" fmla="*/ 1205 h 10000"/>
                <a:gd name="connsiteX119" fmla="*/ 8913 w 9922"/>
                <a:gd name="connsiteY119" fmla="*/ 1053 h 10000"/>
                <a:gd name="connsiteX120" fmla="*/ 9069 w 9922"/>
                <a:gd name="connsiteY120" fmla="*/ 1025 h 10000"/>
                <a:gd name="connsiteX121" fmla="*/ 8823 w 9922"/>
                <a:gd name="connsiteY121" fmla="*/ 797 h 10000"/>
                <a:gd name="connsiteX122" fmla="*/ 8784 w 9922"/>
                <a:gd name="connsiteY122" fmla="*/ 503 h 10000"/>
                <a:gd name="connsiteX123" fmla="*/ 8538 w 9922"/>
                <a:gd name="connsiteY123" fmla="*/ 370 h 10000"/>
                <a:gd name="connsiteX124" fmla="*/ 8371 w 9922"/>
                <a:gd name="connsiteY124" fmla="*/ 218 h 10000"/>
                <a:gd name="connsiteX125" fmla="*/ 8228 w 9922"/>
                <a:gd name="connsiteY125" fmla="*/ 209 h 10000"/>
                <a:gd name="connsiteX126" fmla="*/ 8022 w 9922"/>
                <a:gd name="connsiteY126" fmla="*/ 0 h 10000"/>
                <a:gd name="connsiteX127" fmla="*/ 7814 w 9922"/>
                <a:gd name="connsiteY127" fmla="*/ 142 h 10000"/>
                <a:gd name="connsiteX128" fmla="*/ 7595 w 9922"/>
                <a:gd name="connsiteY128" fmla="*/ 152 h 10000"/>
                <a:gd name="connsiteX0" fmla="*/ 7681 w 10026"/>
                <a:gd name="connsiteY0" fmla="*/ 152 h 10000"/>
                <a:gd name="connsiteX1" fmla="*/ 7550 w 10026"/>
                <a:gd name="connsiteY1" fmla="*/ 408 h 10000"/>
                <a:gd name="connsiteX2" fmla="*/ 7264 w 10026"/>
                <a:gd name="connsiteY2" fmla="*/ 436 h 10000"/>
                <a:gd name="connsiteX3" fmla="*/ 6977 w 10026"/>
                <a:gd name="connsiteY3" fmla="*/ 731 h 10000"/>
                <a:gd name="connsiteX4" fmla="*/ 6652 w 10026"/>
                <a:gd name="connsiteY4" fmla="*/ 560 h 10000"/>
                <a:gd name="connsiteX5" fmla="*/ 5622 w 10026"/>
                <a:gd name="connsiteY5" fmla="*/ 531 h 10000"/>
                <a:gd name="connsiteX6" fmla="*/ 5556 w 10026"/>
                <a:gd name="connsiteY6" fmla="*/ 455 h 10000"/>
                <a:gd name="connsiteX7" fmla="*/ 5440 w 10026"/>
                <a:gd name="connsiteY7" fmla="*/ 569 h 10000"/>
                <a:gd name="connsiteX8" fmla="*/ 1713 w 10026"/>
                <a:gd name="connsiteY8" fmla="*/ 531 h 10000"/>
                <a:gd name="connsiteX9" fmla="*/ 1726 w 10026"/>
                <a:gd name="connsiteY9" fmla="*/ 1556 h 10000"/>
                <a:gd name="connsiteX10" fmla="*/ 1100 w 10026"/>
                <a:gd name="connsiteY10" fmla="*/ 1565 h 10000"/>
                <a:gd name="connsiteX11" fmla="*/ 1165 w 10026"/>
                <a:gd name="connsiteY11" fmla="*/ 3776 h 10000"/>
                <a:gd name="connsiteX12" fmla="*/ 579 w 10026"/>
                <a:gd name="connsiteY12" fmla="*/ 3767 h 10000"/>
                <a:gd name="connsiteX13" fmla="*/ 553 w 10026"/>
                <a:gd name="connsiteY13" fmla="*/ 3985 h 10000"/>
                <a:gd name="connsiteX14" fmla="*/ 384 w 10026"/>
                <a:gd name="connsiteY14" fmla="*/ 4118 h 10000"/>
                <a:gd name="connsiteX15" fmla="*/ 332 w 10026"/>
                <a:gd name="connsiteY15" fmla="*/ 4288 h 10000"/>
                <a:gd name="connsiteX16" fmla="*/ 202 w 10026"/>
                <a:gd name="connsiteY16" fmla="*/ 4288 h 10000"/>
                <a:gd name="connsiteX17" fmla="*/ 241 w 10026"/>
                <a:gd name="connsiteY17" fmla="*/ 4440 h 10000"/>
                <a:gd name="connsiteX18" fmla="*/ 305 w 10026"/>
                <a:gd name="connsiteY18" fmla="*/ 4545 h 10000"/>
                <a:gd name="connsiteX19" fmla="*/ 162 w 10026"/>
                <a:gd name="connsiteY19" fmla="*/ 4611 h 10000"/>
                <a:gd name="connsiteX20" fmla="*/ 45 w 10026"/>
                <a:gd name="connsiteY20" fmla="*/ 4782 h 10000"/>
                <a:gd name="connsiteX21" fmla="*/ 1062 w 10026"/>
                <a:gd name="connsiteY21" fmla="*/ 6774 h 10000"/>
                <a:gd name="connsiteX22" fmla="*/ 906 w 10026"/>
                <a:gd name="connsiteY22" fmla="*/ 7144 h 10000"/>
                <a:gd name="connsiteX23" fmla="*/ 1010 w 10026"/>
                <a:gd name="connsiteY23" fmla="*/ 7211 h 10000"/>
                <a:gd name="connsiteX24" fmla="*/ 932 w 10026"/>
                <a:gd name="connsiteY24" fmla="*/ 7315 h 10000"/>
                <a:gd name="connsiteX25" fmla="*/ 1375 w 10026"/>
                <a:gd name="connsiteY25" fmla="*/ 7343 h 10000"/>
                <a:gd name="connsiteX26" fmla="*/ 1375 w 10026"/>
                <a:gd name="connsiteY26" fmla="*/ 7410 h 10000"/>
                <a:gd name="connsiteX27" fmla="*/ 1361 w 10026"/>
                <a:gd name="connsiteY27" fmla="*/ 7562 h 10000"/>
                <a:gd name="connsiteX28" fmla="*/ 1830 w 10026"/>
                <a:gd name="connsiteY28" fmla="*/ 7619 h 10000"/>
                <a:gd name="connsiteX29" fmla="*/ 1830 w 10026"/>
                <a:gd name="connsiteY29" fmla="*/ 7742 h 10000"/>
                <a:gd name="connsiteX30" fmla="*/ 2079 w 10026"/>
                <a:gd name="connsiteY30" fmla="*/ 7837 h 10000"/>
                <a:gd name="connsiteX31" fmla="*/ 2000 w 10026"/>
                <a:gd name="connsiteY31" fmla="*/ 7979 h 10000"/>
                <a:gd name="connsiteX32" fmla="*/ 2351 w 10026"/>
                <a:gd name="connsiteY32" fmla="*/ 8102 h 10000"/>
                <a:gd name="connsiteX33" fmla="*/ 2560 w 10026"/>
                <a:gd name="connsiteY33" fmla="*/ 8330 h 10000"/>
                <a:gd name="connsiteX34" fmla="*/ 2755 w 10026"/>
                <a:gd name="connsiteY34" fmla="*/ 8416 h 10000"/>
                <a:gd name="connsiteX35" fmla="*/ 2677 w 10026"/>
                <a:gd name="connsiteY35" fmla="*/ 8491 h 10000"/>
                <a:gd name="connsiteX36" fmla="*/ 2781 w 10026"/>
                <a:gd name="connsiteY36" fmla="*/ 8577 h 10000"/>
                <a:gd name="connsiteX37" fmla="*/ 2768 w 10026"/>
                <a:gd name="connsiteY37" fmla="*/ 8700 h 10000"/>
                <a:gd name="connsiteX38" fmla="*/ 2964 w 10026"/>
                <a:gd name="connsiteY38" fmla="*/ 8710 h 10000"/>
                <a:gd name="connsiteX39" fmla="*/ 3186 w 10026"/>
                <a:gd name="connsiteY39" fmla="*/ 8843 h 10000"/>
                <a:gd name="connsiteX40" fmla="*/ 3238 w 10026"/>
                <a:gd name="connsiteY40" fmla="*/ 9051 h 10000"/>
                <a:gd name="connsiteX41" fmla="*/ 3289 w 10026"/>
                <a:gd name="connsiteY41" fmla="*/ 9127 h 10000"/>
                <a:gd name="connsiteX42" fmla="*/ 3564 w 10026"/>
                <a:gd name="connsiteY42" fmla="*/ 9307 h 10000"/>
                <a:gd name="connsiteX43" fmla="*/ 3564 w 10026"/>
                <a:gd name="connsiteY43" fmla="*/ 9440 h 10000"/>
                <a:gd name="connsiteX44" fmla="*/ 3968 w 10026"/>
                <a:gd name="connsiteY44" fmla="*/ 9583 h 10000"/>
                <a:gd name="connsiteX45" fmla="*/ 4188 w 10026"/>
                <a:gd name="connsiteY45" fmla="*/ 9431 h 10000"/>
                <a:gd name="connsiteX46" fmla="*/ 4463 w 10026"/>
                <a:gd name="connsiteY46" fmla="*/ 9545 h 10000"/>
                <a:gd name="connsiteX47" fmla="*/ 4683 w 10026"/>
                <a:gd name="connsiteY47" fmla="*/ 9374 h 10000"/>
                <a:gd name="connsiteX48" fmla="*/ 4931 w 10026"/>
                <a:gd name="connsiteY48" fmla="*/ 9649 h 10000"/>
                <a:gd name="connsiteX49" fmla="*/ 5283 w 10026"/>
                <a:gd name="connsiteY49" fmla="*/ 9801 h 10000"/>
                <a:gd name="connsiteX50" fmla="*/ 5322 w 10026"/>
                <a:gd name="connsiteY50" fmla="*/ 9934 h 10000"/>
                <a:gd name="connsiteX51" fmla="*/ 5466 w 10026"/>
                <a:gd name="connsiteY51" fmla="*/ 9953 h 10000"/>
                <a:gd name="connsiteX52" fmla="*/ 5673 w 10026"/>
                <a:gd name="connsiteY52" fmla="*/ 9829 h 10000"/>
                <a:gd name="connsiteX53" fmla="*/ 5935 w 10026"/>
                <a:gd name="connsiteY53" fmla="*/ 9905 h 10000"/>
                <a:gd name="connsiteX54" fmla="*/ 6026 w 10026"/>
                <a:gd name="connsiteY54" fmla="*/ 9839 h 10000"/>
                <a:gd name="connsiteX55" fmla="*/ 6118 w 10026"/>
                <a:gd name="connsiteY55" fmla="*/ 9829 h 10000"/>
                <a:gd name="connsiteX56" fmla="*/ 6299 w 10026"/>
                <a:gd name="connsiteY56" fmla="*/ 10000 h 10000"/>
                <a:gd name="connsiteX57" fmla="*/ 6469 w 10026"/>
                <a:gd name="connsiteY57" fmla="*/ 9858 h 10000"/>
                <a:gd name="connsiteX58" fmla="*/ 6677 w 10026"/>
                <a:gd name="connsiteY58" fmla="*/ 9867 h 10000"/>
                <a:gd name="connsiteX59" fmla="*/ 6834 w 10026"/>
                <a:gd name="connsiteY59" fmla="*/ 9791 h 10000"/>
                <a:gd name="connsiteX60" fmla="*/ 7056 w 10026"/>
                <a:gd name="connsiteY60" fmla="*/ 9867 h 10000"/>
                <a:gd name="connsiteX61" fmla="*/ 7342 w 10026"/>
                <a:gd name="connsiteY61" fmla="*/ 9630 h 10000"/>
                <a:gd name="connsiteX62" fmla="*/ 7446 w 10026"/>
                <a:gd name="connsiteY62" fmla="*/ 9630 h 10000"/>
                <a:gd name="connsiteX63" fmla="*/ 7629 w 10026"/>
                <a:gd name="connsiteY63" fmla="*/ 9440 h 10000"/>
                <a:gd name="connsiteX64" fmla="*/ 8410 w 10026"/>
                <a:gd name="connsiteY64" fmla="*/ 9431 h 10000"/>
                <a:gd name="connsiteX65" fmla="*/ 8580 w 10026"/>
                <a:gd name="connsiteY65" fmla="*/ 9355 h 10000"/>
                <a:gd name="connsiteX66" fmla="*/ 8567 w 10026"/>
                <a:gd name="connsiteY66" fmla="*/ 9260 h 10000"/>
                <a:gd name="connsiteX67" fmla="*/ 8515 w 10026"/>
                <a:gd name="connsiteY67" fmla="*/ 9051 h 10000"/>
                <a:gd name="connsiteX68" fmla="*/ 8189 w 10026"/>
                <a:gd name="connsiteY68" fmla="*/ 8985 h 10000"/>
                <a:gd name="connsiteX69" fmla="*/ 8032 w 10026"/>
                <a:gd name="connsiteY69" fmla="*/ 8653 h 10000"/>
                <a:gd name="connsiteX70" fmla="*/ 7941 w 10026"/>
                <a:gd name="connsiteY70" fmla="*/ 8615 h 10000"/>
                <a:gd name="connsiteX71" fmla="*/ 7916 w 10026"/>
                <a:gd name="connsiteY71" fmla="*/ 8378 h 10000"/>
                <a:gd name="connsiteX72" fmla="*/ 7798 w 10026"/>
                <a:gd name="connsiteY72" fmla="*/ 8368 h 10000"/>
                <a:gd name="connsiteX73" fmla="*/ 7758 w 10026"/>
                <a:gd name="connsiteY73" fmla="*/ 8245 h 10000"/>
                <a:gd name="connsiteX74" fmla="*/ 7563 w 10026"/>
                <a:gd name="connsiteY74" fmla="*/ 8216 h 10000"/>
                <a:gd name="connsiteX75" fmla="*/ 7498 w 10026"/>
                <a:gd name="connsiteY75" fmla="*/ 8027 h 10000"/>
                <a:gd name="connsiteX76" fmla="*/ 7172 w 10026"/>
                <a:gd name="connsiteY76" fmla="*/ 7846 h 10000"/>
                <a:gd name="connsiteX77" fmla="*/ 6820 w 10026"/>
                <a:gd name="connsiteY77" fmla="*/ 7818 h 10000"/>
                <a:gd name="connsiteX78" fmla="*/ 6913 w 10026"/>
                <a:gd name="connsiteY78" fmla="*/ 7609 h 10000"/>
                <a:gd name="connsiteX79" fmla="*/ 6887 w 10026"/>
                <a:gd name="connsiteY79" fmla="*/ 7457 h 10000"/>
                <a:gd name="connsiteX80" fmla="*/ 7186 w 10026"/>
                <a:gd name="connsiteY80" fmla="*/ 7467 h 10000"/>
                <a:gd name="connsiteX81" fmla="*/ 7251 w 10026"/>
                <a:gd name="connsiteY81" fmla="*/ 7514 h 10000"/>
                <a:gd name="connsiteX82" fmla="*/ 7433 w 10026"/>
                <a:gd name="connsiteY82" fmla="*/ 7419 h 10000"/>
                <a:gd name="connsiteX83" fmla="*/ 7485 w 10026"/>
                <a:gd name="connsiteY83" fmla="*/ 7078 h 10000"/>
                <a:gd name="connsiteX84" fmla="*/ 7407 w 10026"/>
                <a:gd name="connsiteY84" fmla="*/ 6822 h 10000"/>
                <a:gd name="connsiteX85" fmla="*/ 7629 w 10026"/>
                <a:gd name="connsiteY85" fmla="*/ 6613 h 10000"/>
                <a:gd name="connsiteX86" fmla="*/ 7563 w 10026"/>
                <a:gd name="connsiteY86" fmla="*/ 6414 h 10000"/>
                <a:gd name="connsiteX87" fmla="*/ 7707 w 10026"/>
                <a:gd name="connsiteY87" fmla="*/ 6224 h 10000"/>
                <a:gd name="connsiteX88" fmla="*/ 7798 w 10026"/>
                <a:gd name="connsiteY88" fmla="*/ 6328 h 10000"/>
                <a:gd name="connsiteX89" fmla="*/ 7954 w 10026"/>
                <a:gd name="connsiteY89" fmla="*/ 6281 h 10000"/>
                <a:gd name="connsiteX90" fmla="*/ 7941 w 10026"/>
                <a:gd name="connsiteY90" fmla="*/ 5987 h 10000"/>
                <a:gd name="connsiteX91" fmla="*/ 8032 w 10026"/>
                <a:gd name="connsiteY91" fmla="*/ 5882 h 10000"/>
                <a:gd name="connsiteX92" fmla="*/ 8006 w 10026"/>
                <a:gd name="connsiteY92" fmla="*/ 5740 h 10000"/>
                <a:gd name="connsiteX93" fmla="*/ 8215 w 10026"/>
                <a:gd name="connsiteY93" fmla="*/ 5655 h 10000"/>
                <a:gd name="connsiteX94" fmla="*/ 8228 w 10026"/>
                <a:gd name="connsiteY94" fmla="*/ 5465 h 10000"/>
                <a:gd name="connsiteX95" fmla="*/ 8385 w 10026"/>
                <a:gd name="connsiteY95" fmla="*/ 5285 h 10000"/>
                <a:gd name="connsiteX96" fmla="*/ 8670 w 10026"/>
                <a:gd name="connsiteY96" fmla="*/ 5266 h 10000"/>
                <a:gd name="connsiteX97" fmla="*/ 8645 w 10026"/>
                <a:gd name="connsiteY97" fmla="*/ 5019 h 10000"/>
                <a:gd name="connsiteX98" fmla="*/ 8854 w 10026"/>
                <a:gd name="connsiteY98" fmla="*/ 4753 h 10000"/>
                <a:gd name="connsiteX99" fmla="*/ 8854 w 10026"/>
                <a:gd name="connsiteY99" fmla="*/ 4469 h 10000"/>
                <a:gd name="connsiteX100" fmla="*/ 8828 w 10026"/>
                <a:gd name="connsiteY100" fmla="*/ 4156 h 10000"/>
                <a:gd name="connsiteX101" fmla="*/ 8762 w 10026"/>
                <a:gd name="connsiteY101" fmla="*/ 4061 h 10000"/>
                <a:gd name="connsiteX102" fmla="*/ 8918 w 10026"/>
                <a:gd name="connsiteY102" fmla="*/ 3928 h 10000"/>
                <a:gd name="connsiteX103" fmla="*/ 8931 w 10026"/>
                <a:gd name="connsiteY103" fmla="*/ 3767 h 10000"/>
                <a:gd name="connsiteX104" fmla="*/ 9089 w 10026"/>
                <a:gd name="connsiteY104" fmla="*/ 3577 h 10000"/>
                <a:gd name="connsiteX105" fmla="*/ 9009 w 10026"/>
                <a:gd name="connsiteY105" fmla="*/ 3283 h 10000"/>
                <a:gd name="connsiteX106" fmla="*/ 9153 w 10026"/>
                <a:gd name="connsiteY106" fmla="*/ 3207 h 10000"/>
                <a:gd name="connsiteX107" fmla="*/ 9153 w 10026"/>
                <a:gd name="connsiteY107" fmla="*/ 3112 h 10000"/>
                <a:gd name="connsiteX108" fmla="*/ 9400 w 10026"/>
                <a:gd name="connsiteY108" fmla="*/ 3046 h 10000"/>
                <a:gd name="connsiteX109" fmla="*/ 9413 w 10026"/>
                <a:gd name="connsiteY109" fmla="*/ 2903 h 10000"/>
                <a:gd name="connsiteX110" fmla="*/ 9883 w 10026"/>
                <a:gd name="connsiteY110" fmla="*/ 2808 h 10000"/>
                <a:gd name="connsiteX111" fmla="*/ 10026 w 10026"/>
                <a:gd name="connsiteY111" fmla="*/ 2571 h 10000"/>
                <a:gd name="connsiteX112" fmla="*/ 9700 w 10026"/>
                <a:gd name="connsiteY112" fmla="*/ 2429 h 10000"/>
                <a:gd name="connsiteX113" fmla="*/ 9584 w 10026"/>
                <a:gd name="connsiteY113" fmla="*/ 2239 h 10000"/>
                <a:gd name="connsiteX114" fmla="*/ 9258 w 10026"/>
                <a:gd name="connsiteY114" fmla="*/ 2163 h 10000"/>
                <a:gd name="connsiteX115" fmla="*/ 9192 w 10026"/>
                <a:gd name="connsiteY115" fmla="*/ 1670 h 10000"/>
                <a:gd name="connsiteX116" fmla="*/ 9102 w 10026"/>
                <a:gd name="connsiteY116" fmla="*/ 1651 h 10000"/>
                <a:gd name="connsiteX117" fmla="*/ 9074 w 10026"/>
                <a:gd name="connsiteY117" fmla="*/ 1205 h 10000"/>
                <a:gd name="connsiteX118" fmla="*/ 9009 w 10026"/>
                <a:gd name="connsiteY118" fmla="*/ 1053 h 10000"/>
                <a:gd name="connsiteX119" fmla="*/ 9166 w 10026"/>
                <a:gd name="connsiteY119" fmla="*/ 1025 h 10000"/>
                <a:gd name="connsiteX120" fmla="*/ 8918 w 10026"/>
                <a:gd name="connsiteY120" fmla="*/ 797 h 10000"/>
                <a:gd name="connsiteX121" fmla="*/ 8879 w 10026"/>
                <a:gd name="connsiteY121" fmla="*/ 503 h 10000"/>
                <a:gd name="connsiteX122" fmla="*/ 8631 w 10026"/>
                <a:gd name="connsiteY122" fmla="*/ 370 h 10000"/>
                <a:gd name="connsiteX123" fmla="*/ 8463 w 10026"/>
                <a:gd name="connsiteY123" fmla="*/ 218 h 10000"/>
                <a:gd name="connsiteX124" fmla="*/ 8319 w 10026"/>
                <a:gd name="connsiteY124" fmla="*/ 209 h 10000"/>
                <a:gd name="connsiteX125" fmla="*/ 8111 w 10026"/>
                <a:gd name="connsiteY125" fmla="*/ 0 h 10000"/>
                <a:gd name="connsiteX126" fmla="*/ 7901 w 10026"/>
                <a:gd name="connsiteY126" fmla="*/ 142 h 10000"/>
                <a:gd name="connsiteX127" fmla="*/ 7681 w 10026"/>
                <a:gd name="connsiteY127" fmla="*/ 152 h 10000"/>
                <a:gd name="connsiteX0" fmla="*/ 7519 w 9864"/>
                <a:gd name="connsiteY0" fmla="*/ 152 h 10000"/>
                <a:gd name="connsiteX1" fmla="*/ 7388 w 9864"/>
                <a:gd name="connsiteY1" fmla="*/ 408 h 10000"/>
                <a:gd name="connsiteX2" fmla="*/ 7102 w 9864"/>
                <a:gd name="connsiteY2" fmla="*/ 436 h 10000"/>
                <a:gd name="connsiteX3" fmla="*/ 6815 w 9864"/>
                <a:gd name="connsiteY3" fmla="*/ 731 h 10000"/>
                <a:gd name="connsiteX4" fmla="*/ 6490 w 9864"/>
                <a:gd name="connsiteY4" fmla="*/ 560 h 10000"/>
                <a:gd name="connsiteX5" fmla="*/ 5460 w 9864"/>
                <a:gd name="connsiteY5" fmla="*/ 531 h 10000"/>
                <a:gd name="connsiteX6" fmla="*/ 5394 w 9864"/>
                <a:gd name="connsiteY6" fmla="*/ 455 h 10000"/>
                <a:gd name="connsiteX7" fmla="*/ 5278 w 9864"/>
                <a:gd name="connsiteY7" fmla="*/ 569 h 10000"/>
                <a:gd name="connsiteX8" fmla="*/ 1551 w 9864"/>
                <a:gd name="connsiteY8" fmla="*/ 531 h 10000"/>
                <a:gd name="connsiteX9" fmla="*/ 1564 w 9864"/>
                <a:gd name="connsiteY9" fmla="*/ 1556 h 10000"/>
                <a:gd name="connsiteX10" fmla="*/ 938 w 9864"/>
                <a:gd name="connsiteY10" fmla="*/ 1565 h 10000"/>
                <a:gd name="connsiteX11" fmla="*/ 1003 w 9864"/>
                <a:gd name="connsiteY11" fmla="*/ 3776 h 10000"/>
                <a:gd name="connsiteX12" fmla="*/ 417 w 9864"/>
                <a:gd name="connsiteY12" fmla="*/ 3767 h 10000"/>
                <a:gd name="connsiteX13" fmla="*/ 391 w 9864"/>
                <a:gd name="connsiteY13" fmla="*/ 3985 h 10000"/>
                <a:gd name="connsiteX14" fmla="*/ 222 w 9864"/>
                <a:gd name="connsiteY14" fmla="*/ 4118 h 10000"/>
                <a:gd name="connsiteX15" fmla="*/ 170 w 9864"/>
                <a:gd name="connsiteY15" fmla="*/ 4288 h 10000"/>
                <a:gd name="connsiteX16" fmla="*/ 40 w 9864"/>
                <a:gd name="connsiteY16" fmla="*/ 4288 h 10000"/>
                <a:gd name="connsiteX17" fmla="*/ 79 w 9864"/>
                <a:gd name="connsiteY17" fmla="*/ 4440 h 10000"/>
                <a:gd name="connsiteX18" fmla="*/ 143 w 9864"/>
                <a:gd name="connsiteY18" fmla="*/ 4545 h 10000"/>
                <a:gd name="connsiteX19" fmla="*/ 0 w 9864"/>
                <a:gd name="connsiteY19" fmla="*/ 4611 h 10000"/>
                <a:gd name="connsiteX20" fmla="*/ 900 w 9864"/>
                <a:gd name="connsiteY20" fmla="*/ 6774 h 10000"/>
                <a:gd name="connsiteX21" fmla="*/ 744 w 9864"/>
                <a:gd name="connsiteY21" fmla="*/ 7144 h 10000"/>
                <a:gd name="connsiteX22" fmla="*/ 848 w 9864"/>
                <a:gd name="connsiteY22" fmla="*/ 7211 h 10000"/>
                <a:gd name="connsiteX23" fmla="*/ 770 w 9864"/>
                <a:gd name="connsiteY23" fmla="*/ 7315 h 10000"/>
                <a:gd name="connsiteX24" fmla="*/ 1213 w 9864"/>
                <a:gd name="connsiteY24" fmla="*/ 7343 h 10000"/>
                <a:gd name="connsiteX25" fmla="*/ 1213 w 9864"/>
                <a:gd name="connsiteY25" fmla="*/ 7410 h 10000"/>
                <a:gd name="connsiteX26" fmla="*/ 1199 w 9864"/>
                <a:gd name="connsiteY26" fmla="*/ 7562 h 10000"/>
                <a:gd name="connsiteX27" fmla="*/ 1668 w 9864"/>
                <a:gd name="connsiteY27" fmla="*/ 7619 h 10000"/>
                <a:gd name="connsiteX28" fmla="*/ 1668 w 9864"/>
                <a:gd name="connsiteY28" fmla="*/ 7742 h 10000"/>
                <a:gd name="connsiteX29" fmla="*/ 1917 w 9864"/>
                <a:gd name="connsiteY29" fmla="*/ 7837 h 10000"/>
                <a:gd name="connsiteX30" fmla="*/ 1838 w 9864"/>
                <a:gd name="connsiteY30" fmla="*/ 7979 h 10000"/>
                <a:gd name="connsiteX31" fmla="*/ 2189 w 9864"/>
                <a:gd name="connsiteY31" fmla="*/ 8102 h 10000"/>
                <a:gd name="connsiteX32" fmla="*/ 2398 w 9864"/>
                <a:gd name="connsiteY32" fmla="*/ 8330 h 10000"/>
                <a:gd name="connsiteX33" fmla="*/ 2593 w 9864"/>
                <a:gd name="connsiteY33" fmla="*/ 8416 h 10000"/>
                <a:gd name="connsiteX34" fmla="*/ 2515 w 9864"/>
                <a:gd name="connsiteY34" fmla="*/ 8491 h 10000"/>
                <a:gd name="connsiteX35" fmla="*/ 2619 w 9864"/>
                <a:gd name="connsiteY35" fmla="*/ 8577 h 10000"/>
                <a:gd name="connsiteX36" fmla="*/ 2606 w 9864"/>
                <a:gd name="connsiteY36" fmla="*/ 8700 h 10000"/>
                <a:gd name="connsiteX37" fmla="*/ 2802 w 9864"/>
                <a:gd name="connsiteY37" fmla="*/ 8710 h 10000"/>
                <a:gd name="connsiteX38" fmla="*/ 3024 w 9864"/>
                <a:gd name="connsiteY38" fmla="*/ 8843 h 10000"/>
                <a:gd name="connsiteX39" fmla="*/ 3076 w 9864"/>
                <a:gd name="connsiteY39" fmla="*/ 9051 h 10000"/>
                <a:gd name="connsiteX40" fmla="*/ 3127 w 9864"/>
                <a:gd name="connsiteY40" fmla="*/ 9127 h 10000"/>
                <a:gd name="connsiteX41" fmla="*/ 3402 w 9864"/>
                <a:gd name="connsiteY41" fmla="*/ 9307 h 10000"/>
                <a:gd name="connsiteX42" fmla="*/ 3402 w 9864"/>
                <a:gd name="connsiteY42" fmla="*/ 9440 h 10000"/>
                <a:gd name="connsiteX43" fmla="*/ 3806 w 9864"/>
                <a:gd name="connsiteY43" fmla="*/ 9583 h 10000"/>
                <a:gd name="connsiteX44" fmla="*/ 4026 w 9864"/>
                <a:gd name="connsiteY44" fmla="*/ 9431 h 10000"/>
                <a:gd name="connsiteX45" fmla="*/ 4301 w 9864"/>
                <a:gd name="connsiteY45" fmla="*/ 9545 h 10000"/>
                <a:gd name="connsiteX46" fmla="*/ 4521 w 9864"/>
                <a:gd name="connsiteY46" fmla="*/ 9374 h 10000"/>
                <a:gd name="connsiteX47" fmla="*/ 4769 w 9864"/>
                <a:gd name="connsiteY47" fmla="*/ 9649 h 10000"/>
                <a:gd name="connsiteX48" fmla="*/ 5121 w 9864"/>
                <a:gd name="connsiteY48" fmla="*/ 9801 h 10000"/>
                <a:gd name="connsiteX49" fmla="*/ 5160 w 9864"/>
                <a:gd name="connsiteY49" fmla="*/ 9934 h 10000"/>
                <a:gd name="connsiteX50" fmla="*/ 5304 w 9864"/>
                <a:gd name="connsiteY50" fmla="*/ 9953 h 10000"/>
                <a:gd name="connsiteX51" fmla="*/ 5511 w 9864"/>
                <a:gd name="connsiteY51" fmla="*/ 9829 h 10000"/>
                <a:gd name="connsiteX52" fmla="*/ 5773 w 9864"/>
                <a:gd name="connsiteY52" fmla="*/ 9905 h 10000"/>
                <a:gd name="connsiteX53" fmla="*/ 5864 w 9864"/>
                <a:gd name="connsiteY53" fmla="*/ 9839 h 10000"/>
                <a:gd name="connsiteX54" fmla="*/ 5956 w 9864"/>
                <a:gd name="connsiteY54" fmla="*/ 9829 h 10000"/>
                <a:gd name="connsiteX55" fmla="*/ 6137 w 9864"/>
                <a:gd name="connsiteY55" fmla="*/ 10000 h 10000"/>
                <a:gd name="connsiteX56" fmla="*/ 6307 w 9864"/>
                <a:gd name="connsiteY56" fmla="*/ 9858 h 10000"/>
                <a:gd name="connsiteX57" fmla="*/ 6515 w 9864"/>
                <a:gd name="connsiteY57" fmla="*/ 9867 h 10000"/>
                <a:gd name="connsiteX58" fmla="*/ 6672 w 9864"/>
                <a:gd name="connsiteY58" fmla="*/ 9791 h 10000"/>
                <a:gd name="connsiteX59" fmla="*/ 6894 w 9864"/>
                <a:gd name="connsiteY59" fmla="*/ 9867 h 10000"/>
                <a:gd name="connsiteX60" fmla="*/ 7180 w 9864"/>
                <a:gd name="connsiteY60" fmla="*/ 9630 h 10000"/>
                <a:gd name="connsiteX61" fmla="*/ 7284 w 9864"/>
                <a:gd name="connsiteY61" fmla="*/ 9630 h 10000"/>
                <a:gd name="connsiteX62" fmla="*/ 7467 w 9864"/>
                <a:gd name="connsiteY62" fmla="*/ 9440 h 10000"/>
                <a:gd name="connsiteX63" fmla="*/ 8248 w 9864"/>
                <a:gd name="connsiteY63" fmla="*/ 9431 h 10000"/>
                <a:gd name="connsiteX64" fmla="*/ 8418 w 9864"/>
                <a:gd name="connsiteY64" fmla="*/ 9355 h 10000"/>
                <a:gd name="connsiteX65" fmla="*/ 8405 w 9864"/>
                <a:gd name="connsiteY65" fmla="*/ 9260 h 10000"/>
                <a:gd name="connsiteX66" fmla="*/ 8353 w 9864"/>
                <a:gd name="connsiteY66" fmla="*/ 9051 h 10000"/>
                <a:gd name="connsiteX67" fmla="*/ 8027 w 9864"/>
                <a:gd name="connsiteY67" fmla="*/ 8985 h 10000"/>
                <a:gd name="connsiteX68" fmla="*/ 7870 w 9864"/>
                <a:gd name="connsiteY68" fmla="*/ 8653 h 10000"/>
                <a:gd name="connsiteX69" fmla="*/ 7779 w 9864"/>
                <a:gd name="connsiteY69" fmla="*/ 8615 h 10000"/>
                <a:gd name="connsiteX70" fmla="*/ 7754 w 9864"/>
                <a:gd name="connsiteY70" fmla="*/ 8378 h 10000"/>
                <a:gd name="connsiteX71" fmla="*/ 7636 w 9864"/>
                <a:gd name="connsiteY71" fmla="*/ 8368 h 10000"/>
                <a:gd name="connsiteX72" fmla="*/ 7596 w 9864"/>
                <a:gd name="connsiteY72" fmla="*/ 8245 h 10000"/>
                <a:gd name="connsiteX73" fmla="*/ 7401 w 9864"/>
                <a:gd name="connsiteY73" fmla="*/ 8216 h 10000"/>
                <a:gd name="connsiteX74" fmla="*/ 7336 w 9864"/>
                <a:gd name="connsiteY74" fmla="*/ 8027 h 10000"/>
                <a:gd name="connsiteX75" fmla="*/ 7010 w 9864"/>
                <a:gd name="connsiteY75" fmla="*/ 7846 h 10000"/>
                <a:gd name="connsiteX76" fmla="*/ 6658 w 9864"/>
                <a:gd name="connsiteY76" fmla="*/ 7818 h 10000"/>
                <a:gd name="connsiteX77" fmla="*/ 6751 w 9864"/>
                <a:gd name="connsiteY77" fmla="*/ 7609 h 10000"/>
                <a:gd name="connsiteX78" fmla="*/ 6725 w 9864"/>
                <a:gd name="connsiteY78" fmla="*/ 7457 h 10000"/>
                <a:gd name="connsiteX79" fmla="*/ 7024 w 9864"/>
                <a:gd name="connsiteY79" fmla="*/ 7467 h 10000"/>
                <a:gd name="connsiteX80" fmla="*/ 7089 w 9864"/>
                <a:gd name="connsiteY80" fmla="*/ 7514 h 10000"/>
                <a:gd name="connsiteX81" fmla="*/ 7271 w 9864"/>
                <a:gd name="connsiteY81" fmla="*/ 7419 h 10000"/>
                <a:gd name="connsiteX82" fmla="*/ 7323 w 9864"/>
                <a:gd name="connsiteY82" fmla="*/ 7078 h 10000"/>
                <a:gd name="connsiteX83" fmla="*/ 7245 w 9864"/>
                <a:gd name="connsiteY83" fmla="*/ 6822 h 10000"/>
                <a:gd name="connsiteX84" fmla="*/ 7467 w 9864"/>
                <a:gd name="connsiteY84" fmla="*/ 6613 h 10000"/>
                <a:gd name="connsiteX85" fmla="*/ 7401 w 9864"/>
                <a:gd name="connsiteY85" fmla="*/ 6414 h 10000"/>
                <a:gd name="connsiteX86" fmla="*/ 7545 w 9864"/>
                <a:gd name="connsiteY86" fmla="*/ 6224 h 10000"/>
                <a:gd name="connsiteX87" fmla="*/ 7636 w 9864"/>
                <a:gd name="connsiteY87" fmla="*/ 6328 h 10000"/>
                <a:gd name="connsiteX88" fmla="*/ 7792 w 9864"/>
                <a:gd name="connsiteY88" fmla="*/ 6281 h 10000"/>
                <a:gd name="connsiteX89" fmla="*/ 7779 w 9864"/>
                <a:gd name="connsiteY89" fmla="*/ 5987 h 10000"/>
                <a:gd name="connsiteX90" fmla="*/ 7870 w 9864"/>
                <a:gd name="connsiteY90" fmla="*/ 5882 h 10000"/>
                <a:gd name="connsiteX91" fmla="*/ 7844 w 9864"/>
                <a:gd name="connsiteY91" fmla="*/ 5740 h 10000"/>
                <a:gd name="connsiteX92" fmla="*/ 8053 w 9864"/>
                <a:gd name="connsiteY92" fmla="*/ 5655 h 10000"/>
                <a:gd name="connsiteX93" fmla="*/ 8066 w 9864"/>
                <a:gd name="connsiteY93" fmla="*/ 5465 h 10000"/>
                <a:gd name="connsiteX94" fmla="*/ 8223 w 9864"/>
                <a:gd name="connsiteY94" fmla="*/ 5285 h 10000"/>
                <a:gd name="connsiteX95" fmla="*/ 8508 w 9864"/>
                <a:gd name="connsiteY95" fmla="*/ 5266 h 10000"/>
                <a:gd name="connsiteX96" fmla="*/ 8483 w 9864"/>
                <a:gd name="connsiteY96" fmla="*/ 5019 h 10000"/>
                <a:gd name="connsiteX97" fmla="*/ 8692 w 9864"/>
                <a:gd name="connsiteY97" fmla="*/ 4753 h 10000"/>
                <a:gd name="connsiteX98" fmla="*/ 8692 w 9864"/>
                <a:gd name="connsiteY98" fmla="*/ 4469 h 10000"/>
                <a:gd name="connsiteX99" fmla="*/ 8666 w 9864"/>
                <a:gd name="connsiteY99" fmla="*/ 4156 h 10000"/>
                <a:gd name="connsiteX100" fmla="*/ 8600 w 9864"/>
                <a:gd name="connsiteY100" fmla="*/ 4061 h 10000"/>
                <a:gd name="connsiteX101" fmla="*/ 8756 w 9864"/>
                <a:gd name="connsiteY101" fmla="*/ 3928 h 10000"/>
                <a:gd name="connsiteX102" fmla="*/ 8769 w 9864"/>
                <a:gd name="connsiteY102" fmla="*/ 3767 h 10000"/>
                <a:gd name="connsiteX103" fmla="*/ 8927 w 9864"/>
                <a:gd name="connsiteY103" fmla="*/ 3577 h 10000"/>
                <a:gd name="connsiteX104" fmla="*/ 8847 w 9864"/>
                <a:gd name="connsiteY104" fmla="*/ 3283 h 10000"/>
                <a:gd name="connsiteX105" fmla="*/ 8991 w 9864"/>
                <a:gd name="connsiteY105" fmla="*/ 3207 h 10000"/>
                <a:gd name="connsiteX106" fmla="*/ 8991 w 9864"/>
                <a:gd name="connsiteY106" fmla="*/ 3112 h 10000"/>
                <a:gd name="connsiteX107" fmla="*/ 9238 w 9864"/>
                <a:gd name="connsiteY107" fmla="*/ 3046 h 10000"/>
                <a:gd name="connsiteX108" fmla="*/ 9251 w 9864"/>
                <a:gd name="connsiteY108" fmla="*/ 2903 h 10000"/>
                <a:gd name="connsiteX109" fmla="*/ 9721 w 9864"/>
                <a:gd name="connsiteY109" fmla="*/ 2808 h 10000"/>
                <a:gd name="connsiteX110" fmla="*/ 9864 w 9864"/>
                <a:gd name="connsiteY110" fmla="*/ 2571 h 10000"/>
                <a:gd name="connsiteX111" fmla="*/ 9538 w 9864"/>
                <a:gd name="connsiteY111" fmla="*/ 2429 h 10000"/>
                <a:gd name="connsiteX112" fmla="*/ 9422 w 9864"/>
                <a:gd name="connsiteY112" fmla="*/ 2239 h 10000"/>
                <a:gd name="connsiteX113" fmla="*/ 9096 w 9864"/>
                <a:gd name="connsiteY113" fmla="*/ 2163 h 10000"/>
                <a:gd name="connsiteX114" fmla="*/ 9030 w 9864"/>
                <a:gd name="connsiteY114" fmla="*/ 1670 h 10000"/>
                <a:gd name="connsiteX115" fmla="*/ 8940 w 9864"/>
                <a:gd name="connsiteY115" fmla="*/ 1651 h 10000"/>
                <a:gd name="connsiteX116" fmla="*/ 8912 w 9864"/>
                <a:gd name="connsiteY116" fmla="*/ 1205 h 10000"/>
                <a:gd name="connsiteX117" fmla="*/ 8847 w 9864"/>
                <a:gd name="connsiteY117" fmla="*/ 1053 h 10000"/>
                <a:gd name="connsiteX118" fmla="*/ 9004 w 9864"/>
                <a:gd name="connsiteY118" fmla="*/ 1025 h 10000"/>
                <a:gd name="connsiteX119" fmla="*/ 8756 w 9864"/>
                <a:gd name="connsiteY119" fmla="*/ 797 h 10000"/>
                <a:gd name="connsiteX120" fmla="*/ 8717 w 9864"/>
                <a:gd name="connsiteY120" fmla="*/ 503 h 10000"/>
                <a:gd name="connsiteX121" fmla="*/ 8469 w 9864"/>
                <a:gd name="connsiteY121" fmla="*/ 370 h 10000"/>
                <a:gd name="connsiteX122" fmla="*/ 8301 w 9864"/>
                <a:gd name="connsiteY122" fmla="*/ 218 h 10000"/>
                <a:gd name="connsiteX123" fmla="*/ 8157 w 9864"/>
                <a:gd name="connsiteY123" fmla="*/ 209 h 10000"/>
                <a:gd name="connsiteX124" fmla="*/ 7949 w 9864"/>
                <a:gd name="connsiteY124" fmla="*/ 0 h 10000"/>
                <a:gd name="connsiteX125" fmla="*/ 7739 w 9864"/>
                <a:gd name="connsiteY125" fmla="*/ 142 h 10000"/>
                <a:gd name="connsiteX126" fmla="*/ 7519 w 9864"/>
                <a:gd name="connsiteY126" fmla="*/ 152 h 10000"/>
                <a:gd name="connsiteX0" fmla="*/ 7582 w 9959"/>
                <a:gd name="connsiteY0" fmla="*/ 152 h 10000"/>
                <a:gd name="connsiteX1" fmla="*/ 7449 w 9959"/>
                <a:gd name="connsiteY1" fmla="*/ 408 h 10000"/>
                <a:gd name="connsiteX2" fmla="*/ 7159 w 9959"/>
                <a:gd name="connsiteY2" fmla="*/ 436 h 10000"/>
                <a:gd name="connsiteX3" fmla="*/ 6868 w 9959"/>
                <a:gd name="connsiteY3" fmla="*/ 731 h 10000"/>
                <a:gd name="connsiteX4" fmla="*/ 6538 w 9959"/>
                <a:gd name="connsiteY4" fmla="*/ 560 h 10000"/>
                <a:gd name="connsiteX5" fmla="*/ 5494 w 9959"/>
                <a:gd name="connsiteY5" fmla="*/ 531 h 10000"/>
                <a:gd name="connsiteX6" fmla="*/ 5427 w 9959"/>
                <a:gd name="connsiteY6" fmla="*/ 455 h 10000"/>
                <a:gd name="connsiteX7" fmla="*/ 5310 w 9959"/>
                <a:gd name="connsiteY7" fmla="*/ 569 h 10000"/>
                <a:gd name="connsiteX8" fmla="*/ 1531 w 9959"/>
                <a:gd name="connsiteY8" fmla="*/ 531 h 10000"/>
                <a:gd name="connsiteX9" fmla="*/ 1545 w 9959"/>
                <a:gd name="connsiteY9" fmla="*/ 1556 h 10000"/>
                <a:gd name="connsiteX10" fmla="*/ 910 w 9959"/>
                <a:gd name="connsiteY10" fmla="*/ 1565 h 10000"/>
                <a:gd name="connsiteX11" fmla="*/ 976 w 9959"/>
                <a:gd name="connsiteY11" fmla="*/ 3776 h 10000"/>
                <a:gd name="connsiteX12" fmla="*/ 382 w 9959"/>
                <a:gd name="connsiteY12" fmla="*/ 3767 h 10000"/>
                <a:gd name="connsiteX13" fmla="*/ 355 w 9959"/>
                <a:gd name="connsiteY13" fmla="*/ 3985 h 10000"/>
                <a:gd name="connsiteX14" fmla="*/ 184 w 9959"/>
                <a:gd name="connsiteY14" fmla="*/ 4118 h 10000"/>
                <a:gd name="connsiteX15" fmla="*/ 131 w 9959"/>
                <a:gd name="connsiteY15" fmla="*/ 4288 h 10000"/>
                <a:gd name="connsiteX16" fmla="*/ 0 w 9959"/>
                <a:gd name="connsiteY16" fmla="*/ 4288 h 10000"/>
                <a:gd name="connsiteX17" fmla="*/ 39 w 9959"/>
                <a:gd name="connsiteY17" fmla="*/ 4440 h 10000"/>
                <a:gd name="connsiteX18" fmla="*/ 104 w 9959"/>
                <a:gd name="connsiteY18" fmla="*/ 4545 h 10000"/>
                <a:gd name="connsiteX19" fmla="*/ 871 w 9959"/>
                <a:gd name="connsiteY19" fmla="*/ 6774 h 10000"/>
                <a:gd name="connsiteX20" fmla="*/ 713 w 9959"/>
                <a:gd name="connsiteY20" fmla="*/ 7144 h 10000"/>
                <a:gd name="connsiteX21" fmla="*/ 819 w 9959"/>
                <a:gd name="connsiteY21" fmla="*/ 7211 h 10000"/>
                <a:gd name="connsiteX22" fmla="*/ 740 w 9959"/>
                <a:gd name="connsiteY22" fmla="*/ 7315 h 10000"/>
                <a:gd name="connsiteX23" fmla="*/ 1189 w 9959"/>
                <a:gd name="connsiteY23" fmla="*/ 7343 h 10000"/>
                <a:gd name="connsiteX24" fmla="*/ 1189 w 9959"/>
                <a:gd name="connsiteY24" fmla="*/ 7410 h 10000"/>
                <a:gd name="connsiteX25" fmla="*/ 1175 w 9959"/>
                <a:gd name="connsiteY25" fmla="*/ 7562 h 10000"/>
                <a:gd name="connsiteX26" fmla="*/ 1650 w 9959"/>
                <a:gd name="connsiteY26" fmla="*/ 7619 h 10000"/>
                <a:gd name="connsiteX27" fmla="*/ 1650 w 9959"/>
                <a:gd name="connsiteY27" fmla="*/ 7742 h 10000"/>
                <a:gd name="connsiteX28" fmla="*/ 1902 w 9959"/>
                <a:gd name="connsiteY28" fmla="*/ 7837 h 10000"/>
                <a:gd name="connsiteX29" fmla="*/ 1822 w 9959"/>
                <a:gd name="connsiteY29" fmla="*/ 7979 h 10000"/>
                <a:gd name="connsiteX30" fmla="*/ 2178 w 9959"/>
                <a:gd name="connsiteY30" fmla="*/ 8102 h 10000"/>
                <a:gd name="connsiteX31" fmla="*/ 2390 w 9959"/>
                <a:gd name="connsiteY31" fmla="*/ 8330 h 10000"/>
                <a:gd name="connsiteX32" fmla="*/ 2588 w 9959"/>
                <a:gd name="connsiteY32" fmla="*/ 8416 h 10000"/>
                <a:gd name="connsiteX33" fmla="*/ 2509 w 9959"/>
                <a:gd name="connsiteY33" fmla="*/ 8491 h 10000"/>
                <a:gd name="connsiteX34" fmla="*/ 2614 w 9959"/>
                <a:gd name="connsiteY34" fmla="*/ 8577 h 10000"/>
                <a:gd name="connsiteX35" fmla="*/ 2601 w 9959"/>
                <a:gd name="connsiteY35" fmla="*/ 8700 h 10000"/>
                <a:gd name="connsiteX36" fmla="*/ 2800 w 9959"/>
                <a:gd name="connsiteY36" fmla="*/ 8710 h 10000"/>
                <a:gd name="connsiteX37" fmla="*/ 3025 w 9959"/>
                <a:gd name="connsiteY37" fmla="*/ 8843 h 10000"/>
                <a:gd name="connsiteX38" fmla="*/ 3077 w 9959"/>
                <a:gd name="connsiteY38" fmla="*/ 9051 h 10000"/>
                <a:gd name="connsiteX39" fmla="*/ 3129 w 9959"/>
                <a:gd name="connsiteY39" fmla="*/ 9127 h 10000"/>
                <a:gd name="connsiteX40" fmla="*/ 3408 w 9959"/>
                <a:gd name="connsiteY40" fmla="*/ 9307 h 10000"/>
                <a:gd name="connsiteX41" fmla="*/ 3408 w 9959"/>
                <a:gd name="connsiteY41" fmla="*/ 9440 h 10000"/>
                <a:gd name="connsiteX42" fmla="*/ 3817 w 9959"/>
                <a:gd name="connsiteY42" fmla="*/ 9583 h 10000"/>
                <a:gd name="connsiteX43" fmla="*/ 4041 w 9959"/>
                <a:gd name="connsiteY43" fmla="*/ 9431 h 10000"/>
                <a:gd name="connsiteX44" fmla="*/ 4319 w 9959"/>
                <a:gd name="connsiteY44" fmla="*/ 9545 h 10000"/>
                <a:gd name="connsiteX45" fmla="*/ 4542 w 9959"/>
                <a:gd name="connsiteY45" fmla="*/ 9374 h 10000"/>
                <a:gd name="connsiteX46" fmla="*/ 4794 w 9959"/>
                <a:gd name="connsiteY46" fmla="*/ 9649 h 10000"/>
                <a:gd name="connsiteX47" fmla="*/ 5151 w 9959"/>
                <a:gd name="connsiteY47" fmla="*/ 9801 h 10000"/>
                <a:gd name="connsiteX48" fmla="*/ 5190 w 9959"/>
                <a:gd name="connsiteY48" fmla="*/ 9934 h 10000"/>
                <a:gd name="connsiteX49" fmla="*/ 5336 w 9959"/>
                <a:gd name="connsiteY49" fmla="*/ 9953 h 10000"/>
                <a:gd name="connsiteX50" fmla="*/ 5546 w 9959"/>
                <a:gd name="connsiteY50" fmla="*/ 9829 h 10000"/>
                <a:gd name="connsiteX51" fmla="*/ 5812 w 9959"/>
                <a:gd name="connsiteY51" fmla="*/ 9905 h 10000"/>
                <a:gd name="connsiteX52" fmla="*/ 5904 w 9959"/>
                <a:gd name="connsiteY52" fmla="*/ 9839 h 10000"/>
                <a:gd name="connsiteX53" fmla="*/ 5997 w 9959"/>
                <a:gd name="connsiteY53" fmla="*/ 9829 h 10000"/>
                <a:gd name="connsiteX54" fmla="*/ 6181 w 9959"/>
                <a:gd name="connsiteY54" fmla="*/ 10000 h 10000"/>
                <a:gd name="connsiteX55" fmla="*/ 6353 w 9959"/>
                <a:gd name="connsiteY55" fmla="*/ 9858 h 10000"/>
                <a:gd name="connsiteX56" fmla="*/ 6564 w 9959"/>
                <a:gd name="connsiteY56" fmla="*/ 9867 h 10000"/>
                <a:gd name="connsiteX57" fmla="*/ 6723 w 9959"/>
                <a:gd name="connsiteY57" fmla="*/ 9791 h 10000"/>
                <a:gd name="connsiteX58" fmla="*/ 6948 w 9959"/>
                <a:gd name="connsiteY58" fmla="*/ 9867 h 10000"/>
                <a:gd name="connsiteX59" fmla="*/ 7238 w 9959"/>
                <a:gd name="connsiteY59" fmla="*/ 9630 h 10000"/>
                <a:gd name="connsiteX60" fmla="*/ 7343 w 9959"/>
                <a:gd name="connsiteY60" fmla="*/ 9630 h 10000"/>
                <a:gd name="connsiteX61" fmla="*/ 7529 w 9959"/>
                <a:gd name="connsiteY61" fmla="*/ 9440 h 10000"/>
                <a:gd name="connsiteX62" fmla="*/ 8321 w 9959"/>
                <a:gd name="connsiteY62" fmla="*/ 9431 h 10000"/>
                <a:gd name="connsiteX63" fmla="*/ 8493 w 9959"/>
                <a:gd name="connsiteY63" fmla="*/ 9355 h 10000"/>
                <a:gd name="connsiteX64" fmla="*/ 8480 w 9959"/>
                <a:gd name="connsiteY64" fmla="*/ 9260 h 10000"/>
                <a:gd name="connsiteX65" fmla="*/ 8427 w 9959"/>
                <a:gd name="connsiteY65" fmla="*/ 9051 h 10000"/>
                <a:gd name="connsiteX66" fmla="*/ 8097 w 9959"/>
                <a:gd name="connsiteY66" fmla="*/ 8985 h 10000"/>
                <a:gd name="connsiteX67" fmla="*/ 7938 w 9959"/>
                <a:gd name="connsiteY67" fmla="*/ 8653 h 10000"/>
                <a:gd name="connsiteX68" fmla="*/ 7845 w 9959"/>
                <a:gd name="connsiteY68" fmla="*/ 8615 h 10000"/>
                <a:gd name="connsiteX69" fmla="*/ 7820 w 9959"/>
                <a:gd name="connsiteY69" fmla="*/ 8378 h 10000"/>
                <a:gd name="connsiteX70" fmla="*/ 7700 w 9959"/>
                <a:gd name="connsiteY70" fmla="*/ 8368 h 10000"/>
                <a:gd name="connsiteX71" fmla="*/ 7660 w 9959"/>
                <a:gd name="connsiteY71" fmla="*/ 8245 h 10000"/>
                <a:gd name="connsiteX72" fmla="*/ 7462 w 9959"/>
                <a:gd name="connsiteY72" fmla="*/ 8216 h 10000"/>
                <a:gd name="connsiteX73" fmla="*/ 7396 w 9959"/>
                <a:gd name="connsiteY73" fmla="*/ 8027 h 10000"/>
                <a:gd name="connsiteX74" fmla="*/ 7066 w 9959"/>
                <a:gd name="connsiteY74" fmla="*/ 7846 h 10000"/>
                <a:gd name="connsiteX75" fmla="*/ 6709 w 9959"/>
                <a:gd name="connsiteY75" fmla="*/ 7818 h 10000"/>
                <a:gd name="connsiteX76" fmla="*/ 6803 w 9959"/>
                <a:gd name="connsiteY76" fmla="*/ 7609 h 10000"/>
                <a:gd name="connsiteX77" fmla="*/ 6777 w 9959"/>
                <a:gd name="connsiteY77" fmla="*/ 7457 h 10000"/>
                <a:gd name="connsiteX78" fmla="*/ 7080 w 9959"/>
                <a:gd name="connsiteY78" fmla="*/ 7467 h 10000"/>
                <a:gd name="connsiteX79" fmla="*/ 7146 w 9959"/>
                <a:gd name="connsiteY79" fmla="*/ 7514 h 10000"/>
                <a:gd name="connsiteX80" fmla="*/ 7330 w 9959"/>
                <a:gd name="connsiteY80" fmla="*/ 7419 h 10000"/>
                <a:gd name="connsiteX81" fmla="*/ 7383 w 9959"/>
                <a:gd name="connsiteY81" fmla="*/ 7078 h 10000"/>
                <a:gd name="connsiteX82" fmla="*/ 7304 w 9959"/>
                <a:gd name="connsiteY82" fmla="*/ 6822 h 10000"/>
                <a:gd name="connsiteX83" fmla="*/ 7529 w 9959"/>
                <a:gd name="connsiteY83" fmla="*/ 6613 h 10000"/>
                <a:gd name="connsiteX84" fmla="*/ 7462 w 9959"/>
                <a:gd name="connsiteY84" fmla="*/ 6414 h 10000"/>
                <a:gd name="connsiteX85" fmla="*/ 7608 w 9959"/>
                <a:gd name="connsiteY85" fmla="*/ 6224 h 10000"/>
                <a:gd name="connsiteX86" fmla="*/ 7700 w 9959"/>
                <a:gd name="connsiteY86" fmla="*/ 6328 h 10000"/>
                <a:gd name="connsiteX87" fmla="*/ 7858 w 9959"/>
                <a:gd name="connsiteY87" fmla="*/ 6281 h 10000"/>
                <a:gd name="connsiteX88" fmla="*/ 7845 w 9959"/>
                <a:gd name="connsiteY88" fmla="*/ 5987 h 10000"/>
                <a:gd name="connsiteX89" fmla="*/ 7938 w 9959"/>
                <a:gd name="connsiteY89" fmla="*/ 5882 h 10000"/>
                <a:gd name="connsiteX90" fmla="*/ 7911 w 9959"/>
                <a:gd name="connsiteY90" fmla="*/ 5740 h 10000"/>
                <a:gd name="connsiteX91" fmla="*/ 8123 w 9959"/>
                <a:gd name="connsiteY91" fmla="*/ 5655 h 10000"/>
                <a:gd name="connsiteX92" fmla="*/ 8136 w 9959"/>
                <a:gd name="connsiteY92" fmla="*/ 5465 h 10000"/>
                <a:gd name="connsiteX93" fmla="*/ 8295 w 9959"/>
                <a:gd name="connsiteY93" fmla="*/ 5285 h 10000"/>
                <a:gd name="connsiteX94" fmla="*/ 8584 w 9959"/>
                <a:gd name="connsiteY94" fmla="*/ 5266 h 10000"/>
                <a:gd name="connsiteX95" fmla="*/ 8559 w 9959"/>
                <a:gd name="connsiteY95" fmla="*/ 5019 h 10000"/>
                <a:gd name="connsiteX96" fmla="*/ 8771 w 9959"/>
                <a:gd name="connsiteY96" fmla="*/ 4753 h 10000"/>
                <a:gd name="connsiteX97" fmla="*/ 8771 w 9959"/>
                <a:gd name="connsiteY97" fmla="*/ 4469 h 10000"/>
                <a:gd name="connsiteX98" fmla="*/ 8744 w 9959"/>
                <a:gd name="connsiteY98" fmla="*/ 4156 h 10000"/>
                <a:gd name="connsiteX99" fmla="*/ 8678 w 9959"/>
                <a:gd name="connsiteY99" fmla="*/ 4061 h 10000"/>
                <a:gd name="connsiteX100" fmla="*/ 8836 w 9959"/>
                <a:gd name="connsiteY100" fmla="*/ 3928 h 10000"/>
                <a:gd name="connsiteX101" fmla="*/ 8849 w 9959"/>
                <a:gd name="connsiteY101" fmla="*/ 3767 h 10000"/>
                <a:gd name="connsiteX102" fmla="*/ 9009 w 9959"/>
                <a:gd name="connsiteY102" fmla="*/ 3577 h 10000"/>
                <a:gd name="connsiteX103" fmla="*/ 8928 w 9959"/>
                <a:gd name="connsiteY103" fmla="*/ 3283 h 10000"/>
                <a:gd name="connsiteX104" fmla="*/ 9074 w 9959"/>
                <a:gd name="connsiteY104" fmla="*/ 3207 h 10000"/>
                <a:gd name="connsiteX105" fmla="*/ 9074 w 9959"/>
                <a:gd name="connsiteY105" fmla="*/ 3112 h 10000"/>
                <a:gd name="connsiteX106" fmla="*/ 9324 w 9959"/>
                <a:gd name="connsiteY106" fmla="*/ 3046 h 10000"/>
                <a:gd name="connsiteX107" fmla="*/ 9338 w 9959"/>
                <a:gd name="connsiteY107" fmla="*/ 2903 h 10000"/>
                <a:gd name="connsiteX108" fmla="*/ 9814 w 9959"/>
                <a:gd name="connsiteY108" fmla="*/ 2808 h 10000"/>
                <a:gd name="connsiteX109" fmla="*/ 9959 w 9959"/>
                <a:gd name="connsiteY109" fmla="*/ 2571 h 10000"/>
                <a:gd name="connsiteX110" fmla="*/ 9629 w 9959"/>
                <a:gd name="connsiteY110" fmla="*/ 2429 h 10000"/>
                <a:gd name="connsiteX111" fmla="*/ 9511 w 9959"/>
                <a:gd name="connsiteY111" fmla="*/ 2239 h 10000"/>
                <a:gd name="connsiteX112" fmla="*/ 9180 w 9959"/>
                <a:gd name="connsiteY112" fmla="*/ 2163 h 10000"/>
                <a:gd name="connsiteX113" fmla="*/ 9114 w 9959"/>
                <a:gd name="connsiteY113" fmla="*/ 1670 h 10000"/>
                <a:gd name="connsiteX114" fmla="*/ 9022 w 9959"/>
                <a:gd name="connsiteY114" fmla="*/ 1651 h 10000"/>
                <a:gd name="connsiteX115" fmla="*/ 8994 w 9959"/>
                <a:gd name="connsiteY115" fmla="*/ 1205 h 10000"/>
                <a:gd name="connsiteX116" fmla="*/ 8928 w 9959"/>
                <a:gd name="connsiteY116" fmla="*/ 1053 h 10000"/>
                <a:gd name="connsiteX117" fmla="*/ 9087 w 9959"/>
                <a:gd name="connsiteY117" fmla="*/ 1025 h 10000"/>
                <a:gd name="connsiteX118" fmla="*/ 8836 w 9959"/>
                <a:gd name="connsiteY118" fmla="*/ 797 h 10000"/>
                <a:gd name="connsiteX119" fmla="*/ 8796 w 9959"/>
                <a:gd name="connsiteY119" fmla="*/ 503 h 10000"/>
                <a:gd name="connsiteX120" fmla="*/ 8545 w 9959"/>
                <a:gd name="connsiteY120" fmla="*/ 370 h 10000"/>
                <a:gd name="connsiteX121" fmla="*/ 8374 w 9959"/>
                <a:gd name="connsiteY121" fmla="*/ 218 h 10000"/>
                <a:gd name="connsiteX122" fmla="*/ 8228 w 9959"/>
                <a:gd name="connsiteY122" fmla="*/ 209 h 10000"/>
                <a:gd name="connsiteX123" fmla="*/ 8018 w 9959"/>
                <a:gd name="connsiteY123" fmla="*/ 0 h 10000"/>
                <a:gd name="connsiteX124" fmla="*/ 7805 w 9959"/>
                <a:gd name="connsiteY124" fmla="*/ 142 h 10000"/>
                <a:gd name="connsiteX125" fmla="*/ 7582 w 9959"/>
                <a:gd name="connsiteY125" fmla="*/ 152 h 10000"/>
                <a:gd name="connsiteX0" fmla="*/ 7647 w 10034"/>
                <a:gd name="connsiteY0" fmla="*/ 152 h 10000"/>
                <a:gd name="connsiteX1" fmla="*/ 7514 w 10034"/>
                <a:gd name="connsiteY1" fmla="*/ 408 h 10000"/>
                <a:gd name="connsiteX2" fmla="*/ 7222 w 10034"/>
                <a:gd name="connsiteY2" fmla="*/ 436 h 10000"/>
                <a:gd name="connsiteX3" fmla="*/ 6930 w 10034"/>
                <a:gd name="connsiteY3" fmla="*/ 731 h 10000"/>
                <a:gd name="connsiteX4" fmla="*/ 6599 w 10034"/>
                <a:gd name="connsiteY4" fmla="*/ 560 h 10000"/>
                <a:gd name="connsiteX5" fmla="*/ 5551 w 10034"/>
                <a:gd name="connsiteY5" fmla="*/ 531 h 10000"/>
                <a:gd name="connsiteX6" fmla="*/ 5483 w 10034"/>
                <a:gd name="connsiteY6" fmla="*/ 455 h 10000"/>
                <a:gd name="connsiteX7" fmla="*/ 5366 w 10034"/>
                <a:gd name="connsiteY7" fmla="*/ 569 h 10000"/>
                <a:gd name="connsiteX8" fmla="*/ 1571 w 10034"/>
                <a:gd name="connsiteY8" fmla="*/ 531 h 10000"/>
                <a:gd name="connsiteX9" fmla="*/ 1585 w 10034"/>
                <a:gd name="connsiteY9" fmla="*/ 1556 h 10000"/>
                <a:gd name="connsiteX10" fmla="*/ 948 w 10034"/>
                <a:gd name="connsiteY10" fmla="*/ 1565 h 10000"/>
                <a:gd name="connsiteX11" fmla="*/ 1014 w 10034"/>
                <a:gd name="connsiteY11" fmla="*/ 3776 h 10000"/>
                <a:gd name="connsiteX12" fmla="*/ 418 w 10034"/>
                <a:gd name="connsiteY12" fmla="*/ 3767 h 10000"/>
                <a:gd name="connsiteX13" fmla="*/ 390 w 10034"/>
                <a:gd name="connsiteY13" fmla="*/ 3985 h 10000"/>
                <a:gd name="connsiteX14" fmla="*/ 219 w 10034"/>
                <a:gd name="connsiteY14" fmla="*/ 4118 h 10000"/>
                <a:gd name="connsiteX15" fmla="*/ 166 w 10034"/>
                <a:gd name="connsiteY15" fmla="*/ 4288 h 10000"/>
                <a:gd name="connsiteX16" fmla="*/ 34 w 10034"/>
                <a:gd name="connsiteY16" fmla="*/ 4288 h 10000"/>
                <a:gd name="connsiteX17" fmla="*/ 73 w 10034"/>
                <a:gd name="connsiteY17" fmla="*/ 4440 h 10000"/>
                <a:gd name="connsiteX18" fmla="*/ 909 w 10034"/>
                <a:gd name="connsiteY18" fmla="*/ 6774 h 10000"/>
                <a:gd name="connsiteX19" fmla="*/ 750 w 10034"/>
                <a:gd name="connsiteY19" fmla="*/ 7144 h 10000"/>
                <a:gd name="connsiteX20" fmla="*/ 856 w 10034"/>
                <a:gd name="connsiteY20" fmla="*/ 7211 h 10000"/>
                <a:gd name="connsiteX21" fmla="*/ 777 w 10034"/>
                <a:gd name="connsiteY21" fmla="*/ 7315 h 10000"/>
                <a:gd name="connsiteX22" fmla="*/ 1228 w 10034"/>
                <a:gd name="connsiteY22" fmla="*/ 7343 h 10000"/>
                <a:gd name="connsiteX23" fmla="*/ 1228 w 10034"/>
                <a:gd name="connsiteY23" fmla="*/ 7410 h 10000"/>
                <a:gd name="connsiteX24" fmla="*/ 1214 w 10034"/>
                <a:gd name="connsiteY24" fmla="*/ 7562 h 10000"/>
                <a:gd name="connsiteX25" fmla="*/ 1691 w 10034"/>
                <a:gd name="connsiteY25" fmla="*/ 7619 h 10000"/>
                <a:gd name="connsiteX26" fmla="*/ 1691 w 10034"/>
                <a:gd name="connsiteY26" fmla="*/ 7742 h 10000"/>
                <a:gd name="connsiteX27" fmla="*/ 1944 w 10034"/>
                <a:gd name="connsiteY27" fmla="*/ 7837 h 10000"/>
                <a:gd name="connsiteX28" fmla="*/ 1864 w 10034"/>
                <a:gd name="connsiteY28" fmla="*/ 7979 h 10000"/>
                <a:gd name="connsiteX29" fmla="*/ 2221 w 10034"/>
                <a:gd name="connsiteY29" fmla="*/ 8102 h 10000"/>
                <a:gd name="connsiteX30" fmla="*/ 2434 w 10034"/>
                <a:gd name="connsiteY30" fmla="*/ 8330 h 10000"/>
                <a:gd name="connsiteX31" fmla="*/ 2633 w 10034"/>
                <a:gd name="connsiteY31" fmla="*/ 8416 h 10000"/>
                <a:gd name="connsiteX32" fmla="*/ 2553 w 10034"/>
                <a:gd name="connsiteY32" fmla="*/ 8491 h 10000"/>
                <a:gd name="connsiteX33" fmla="*/ 2659 w 10034"/>
                <a:gd name="connsiteY33" fmla="*/ 8577 h 10000"/>
                <a:gd name="connsiteX34" fmla="*/ 2646 w 10034"/>
                <a:gd name="connsiteY34" fmla="*/ 8700 h 10000"/>
                <a:gd name="connsiteX35" fmla="*/ 2846 w 10034"/>
                <a:gd name="connsiteY35" fmla="*/ 8710 h 10000"/>
                <a:gd name="connsiteX36" fmla="*/ 3071 w 10034"/>
                <a:gd name="connsiteY36" fmla="*/ 8843 h 10000"/>
                <a:gd name="connsiteX37" fmla="*/ 3124 w 10034"/>
                <a:gd name="connsiteY37" fmla="*/ 9051 h 10000"/>
                <a:gd name="connsiteX38" fmla="*/ 3176 w 10034"/>
                <a:gd name="connsiteY38" fmla="*/ 9127 h 10000"/>
                <a:gd name="connsiteX39" fmla="*/ 3456 w 10034"/>
                <a:gd name="connsiteY39" fmla="*/ 9307 h 10000"/>
                <a:gd name="connsiteX40" fmla="*/ 3456 w 10034"/>
                <a:gd name="connsiteY40" fmla="*/ 9440 h 10000"/>
                <a:gd name="connsiteX41" fmla="*/ 3867 w 10034"/>
                <a:gd name="connsiteY41" fmla="*/ 9583 h 10000"/>
                <a:gd name="connsiteX42" fmla="*/ 4092 w 10034"/>
                <a:gd name="connsiteY42" fmla="*/ 9431 h 10000"/>
                <a:gd name="connsiteX43" fmla="*/ 4371 w 10034"/>
                <a:gd name="connsiteY43" fmla="*/ 9545 h 10000"/>
                <a:gd name="connsiteX44" fmla="*/ 4595 w 10034"/>
                <a:gd name="connsiteY44" fmla="*/ 9374 h 10000"/>
                <a:gd name="connsiteX45" fmla="*/ 4848 w 10034"/>
                <a:gd name="connsiteY45" fmla="*/ 9649 h 10000"/>
                <a:gd name="connsiteX46" fmla="*/ 5206 w 10034"/>
                <a:gd name="connsiteY46" fmla="*/ 9801 h 10000"/>
                <a:gd name="connsiteX47" fmla="*/ 5245 w 10034"/>
                <a:gd name="connsiteY47" fmla="*/ 9934 h 10000"/>
                <a:gd name="connsiteX48" fmla="*/ 5392 w 10034"/>
                <a:gd name="connsiteY48" fmla="*/ 9953 h 10000"/>
                <a:gd name="connsiteX49" fmla="*/ 5603 w 10034"/>
                <a:gd name="connsiteY49" fmla="*/ 9829 h 10000"/>
                <a:gd name="connsiteX50" fmla="*/ 5870 w 10034"/>
                <a:gd name="connsiteY50" fmla="*/ 9905 h 10000"/>
                <a:gd name="connsiteX51" fmla="*/ 5962 w 10034"/>
                <a:gd name="connsiteY51" fmla="*/ 9839 h 10000"/>
                <a:gd name="connsiteX52" fmla="*/ 6056 w 10034"/>
                <a:gd name="connsiteY52" fmla="*/ 9829 h 10000"/>
                <a:gd name="connsiteX53" fmla="*/ 6240 w 10034"/>
                <a:gd name="connsiteY53" fmla="*/ 10000 h 10000"/>
                <a:gd name="connsiteX54" fmla="*/ 6413 w 10034"/>
                <a:gd name="connsiteY54" fmla="*/ 9858 h 10000"/>
                <a:gd name="connsiteX55" fmla="*/ 6625 w 10034"/>
                <a:gd name="connsiteY55" fmla="*/ 9867 h 10000"/>
                <a:gd name="connsiteX56" fmla="*/ 6785 w 10034"/>
                <a:gd name="connsiteY56" fmla="*/ 9791 h 10000"/>
                <a:gd name="connsiteX57" fmla="*/ 7011 w 10034"/>
                <a:gd name="connsiteY57" fmla="*/ 9867 h 10000"/>
                <a:gd name="connsiteX58" fmla="*/ 7302 w 10034"/>
                <a:gd name="connsiteY58" fmla="*/ 9630 h 10000"/>
                <a:gd name="connsiteX59" fmla="*/ 7407 w 10034"/>
                <a:gd name="connsiteY59" fmla="*/ 9630 h 10000"/>
                <a:gd name="connsiteX60" fmla="*/ 7594 w 10034"/>
                <a:gd name="connsiteY60" fmla="*/ 9440 h 10000"/>
                <a:gd name="connsiteX61" fmla="*/ 8389 w 10034"/>
                <a:gd name="connsiteY61" fmla="*/ 9431 h 10000"/>
                <a:gd name="connsiteX62" fmla="*/ 8562 w 10034"/>
                <a:gd name="connsiteY62" fmla="*/ 9355 h 10000"/>
                <a:gd name="connsiteX63" fmla="*/ 8549 w 10034"/>
                <a:gd name="connsiteY63" fmla="*/ 9260 h 10000"/>
                <a:gd name="connsiteX64" fmla="*/ 8496 w 10034"/>
                <a:gd name="connsiteY64" fmla="*/ 9051 h 10000"/>
                <a:gd name="connsiteX65" fmla="*/ 8164 w 10034"/>
                <a:gd name="connsiteY65" fmla="*/ 8985 h 10000"/>
                <a:gd name="connsiteX66" fmla="*/ 8005 w 10034"/>
                <a:gd name="connsiteY66" fmla="*/ 8653 h 10000"/>
                <a:gd name="connsiteX67" fmla="*/ 7911 w 10034"/>
                <a:gd name="connsiteY67" fmla="*/ 8615 h 10000"/>
                <a:gd name="connsiteX68" fmla="*/ 7886 w 10034"/>
                <a:gd name="connsiteY68" fmla="*/ 8378 h 10000"/>
                <a:gd name="connsiteX69" fmla="*/ 7766 w 10034"/>
                <a:gd name="connsiteY69" fmla="*/ 8368 h 10000"/>
                <a:gd name="connsiteX70" fmla="*/ 7726 w 10034"/>
                <a:gd name="connsiteY70" fmla="*/ 8245 h 10000"/>
                <a:gd name="connsiteX71" fmla="*/ 7527 w 10034"/>
                <a:gd name="connsiteY71" fmla="*/ 8216 h 10000"/>
                <a:gd name="connsiteX72" fmla="*/ 7460 w 10034"/>
                <a:gd name="connsiteY72" fmla="*/ 8027 h 10000"/>
                <a:gd name="connsiteX73" fmla="*/ 7129 w 10034"/>
                <a:gd name="connsiteY73" fmla="*/ 7846 h 10000"/>
                <a:gd name="connsiteX74" fmla="*/ 6771 w 10034"/>
                <a:gd name="connsiteY74" fmla="*/ 7818 h 10000"/>
                <a:gd name="connsiteX75" fmla="*/ 6865 w 10034"/>
                <a:gd name="connsiteY75" fmla="*/ 7609 h 10000"/>
                <a:gd name="connsiteX76" fmla="*/ 6839 w 10034"/>
                <a:gd name="connsiteY76" fmla="*/ 7457 h 10000"/>
                <a:gd name="connsiteX77" fmla="*/ 7143 w 10034"/>
                <a:gd name="connsiteY77" fmla="*/ 7467 h 10000"/>
                <a:gd name="connsiteX78" fmla="*/ 7209 w 10034"/>
                <a:gd name="connsiteY78" fmla="*/ 7514 h 10000"/>
                <a:gd name="connsiteX79" fmla="*/ 7394 w 10034"/>
                <a:gd name="connsiteY79" fmla="*/ 7419 h 10000"/>
                <a:gd name="connsiteX80" fmla="*/ 7447 w 10034"/>
                <a:gd name="connsiteY80" fmla="*/ 7078 h 10000"/>
                <a:gd name="connsiteX81" fmla="*/ 7368 w 10034"/>
                <a:gd name="connsiteY81" fmla="*/ 6822 h 10000"/>
                <a:gd name="connsiteX82" fmla="*/ 7594 w 10034"/>
                <a:gd name="connsiteY82" fmla="*/ 6613 h 10000"/>
                <a:gd name="connsiteX83" fmla="*/ 7527 w 10034"/>
                <a:gd name="connsiteY83" fmla="*/ 6414 h 10000"/>
                <a:gd name="connsiteX84" fmla="*/ 7673 w 10034"/>
                <a:gd name="connsiteY84" fmla="*/ 6224 h 10000"/>
                <a:gd name="connsiteX85" fmla="*/ 7766 w 10034"/>
                <a:gd name="connsiteY85" fmla="*/ 6328 h 10000"/>
                <a:gd name="connsiteX86" fmla="*/ 7924 w 10034"/>
                <a:gd name="connsiteY86" fmla="*/ 6281 h 10000"/>
                <a:gd name="connsiteX87" fmla="*/ 7911 w 10034"/>
                <a:gd name="connsiteY87" fmla="*/ 5987 h 10000"/>
                <a:gd name="connsiteX88" fmla="*/ 8005 w 10034"/>
                <a:gd name="connsiteY88" fmla="*/ 5882 h 10000"/>
                <a:gd name="connsiteX89" fmla="*/ 7978 w 10034"/>
                <a:gd name="connsiteY89" fmla="*/ 5740 h 10000"/>
                <a:gd name="connsiteX90" fmla="*/ 8190 w 10034"/>
                <a:gd name="connsiteY90" fmla="*/ 5655 h 10000"/>
                <a:gd name="connsiteX91" fmla="*/ 8203 w 10034"/>
                <a:gd name="connsiteY91" fmla="*/ 5465 h 10000"/>
                <a:gd name="connsiteX92" fmla="*/ 8363 w 10034"/>
                <a:gd name="connsiteY92" fmla="*/ 5285 h 10000"/>
                <a:gd name="connsiteX93" fmla="*/ 8653 w 10034"/>
                <a:gd name="connsiteY93" fmla="*/ 5266 h 10000"/>
                <a:gd name="connsiteX94" fmla="*/ 8628 w 10034"/>
                <a:gd name="connsiteY94" fmla="*/ 5019 h 10000"/>
                <a:gd name="connsiteX95" fmla="*/ 8841 w 10034"/>
                <a:gd name="connsiteY95" fmla="*/ 4753 h 10000"/>
                <a:gd name="connsiteX96" fmla="*/ 8841 w 10034"/>
                <a:gd name="connsiteY96" fmla="*/ 4469 h 10000"/>
                <a:gd name="connsiteX97" fmla="*/ 8814 w 10034"/>
                <a:gd name="connsiteY97" fmla="*/ 4156 h 10000"/>
                <a:gd name="connsiteX98" fmla="*/ 8748 w 10034"/>
                <a:gd name="connsiteY98" fmla="*/ 4061 h 10000"/>
                <a:gd name="connsiteX99" fmla="*/ 8906 w 10034"/>
                <a:gd name="connsiteY99" fmla="*/ 3928 h 10000"/>
                <a:gd name="connsiteX100" fmla="*/ 8919 w 10034"/>
                <a:gd name="connsiteY100" fmla="*/ 3767 h 10000"/>
                <a:gd name="connsiteX101" fmla="*/ 9080 w 10034"/>
                <a:gd name="connsiteY101" fmla="*/ 3577 h 10000"/>
                <a:gd name="connsiteX102" fmla="*/ 8999 w 10034"/>
                <a:gd name="connsiteY102" fmla="*/ 3283 h 10000"/>
                <a:gd name="connsiteX103" fmla="*/ 9145 w 10034"/>
                <a:gd name="connsiteY103" fmla="*/ 3207 h 10000"/>
                <a:gd name="connsiteX104" fmla="*/ 9145 w 10034"/>
                <a:gd name="connsiteY104" fmla="*/ 3112 h 10000"/>
                <a:gd name="connsiteX105" fmla="*/ 9396 w 10034"/>
                <a:gd name="connsiteY105" fmla="*/ 3046 h 10000"/>
                <a:gd name="connsiteX106" fmla="*/ 9410 w 10034"/>
                <a:gd name="connsiteY106" fmla="*/ 2903 h 10000"/>
                <a:gd name="connsiteX107" fmla="*/ 9888 w 10034"/>
                <a:gd name="connsiteY107" fmla="*/ 2808 h 10000"/>
                <a:gd name="connsiteX108" fmla="*/ 10034 w 10034"/>
                <a:gd name="connsiteY108" fmla="*/ 2571 h 10000"/>
                <a:gd name="connsiteX109" fmla="*/ 9703 w 10034"/>
                <a:gd name="connsiteY109" fmla="*/ 2429 h 10000"/>
                <a:gd name="connsiteX110" fmla="*/ 9584 w 10034"/>
                <a:gd name="connsiteY110" fmla="*/ 2239 h 10000"/>
                <a:gd name="connsiteX111" fmla="*/ 9252 w 10034"/>
                <a:gd name="connsiteY111" fmla="*/ 2163 h 10000"/>
                <a:gd name="connsiteX112" fmla="*/ 9186 w 10034"/>
                <a:gd name="connsiteY112" fmla="*/ 1670 h 10000"/>
                <a:gd name="connsiteX113" fmla="*/ 9093 w 10034"/>
                <a:gd name="connsiteY113" fmla="*/ 1651 h 10000"/>
                <a:gd name="connsiteX114" fmla="*/ 9065 w 10034"/>
                <a:gd name="connsiteY114" fmla="*/ 1205 h 10000"/>
                <a:gd name="connsiteX115" fmla="*/ 8999 w 10034"/>
                <a:gd name="connsiteY115" fmla="*/ 1053 h 10000"/>
                <a:gd name="connsiteX116" fmla="*/ 9158 w 10034"/>
                <a:gd name="connsiteY116" fmla="*/ 1025 h 10000"/>
                <a:gd name="connsiteX117" fmla="*/ 8906 w 10034"/>
                <a:gd name="connsiteY117" fmla="*/ 797 h 10000"/>
                <a:gd name="connsiteX118" fmla="*/ 8866 w 10034"/>
                <a:gd name="connsiteY118" fmla="*/ 503 h 10000"/>
                <a:gd name="connsiteX119" fmla="*/ 8614 w 10034"/>
                <a:gd name="connsiteY119" fmla="*/ 370 h 10000"/>
                <a:gd name="connsiteX120" fmla="*/ 8442 w 10034"/>
                <a:gd name="connsiteY120" fmla="*/ 218 h 10000"/>
                <a:gd name="connsiteX121" fmla="*/ 8296 w 10034"/>
                <a:gd name="connsiteY121" fmla="*/ 209 h 10000"/>
                <a:gd name="connsiteX122" fmla="*/ 8085 w 10034"/>
                <a:gd name="connsiteY122" fmla="*/ 0 h 10000"/>
                <a:gd name="connsiteX123" fmla="*/ 7871 w 10034"/>
                <a:gd name="connsiteY123" fmla="*/ 142 h 10000"/>
                <a:gd name="connsiteX124" fmla="*/ 7647 w 10034"/>
                <a:gd name="connsiteY124" fmla="*/ 152 h 10000"/>
                <a:gd name="connsiteX0" fmla="*/ 7651 w 10038"/>
                <a:gd name="connsiteY0" fmla="*/ 152 h 10000"/>
                <a:gd name="connsiteX1" fmla="*/ 7518 w 10038"/>
                <a:gd name="connsiteY1" fmla="*/ 408 h 10000"/>
                <a:gd name="connsiteX2" fmla="*/ 7226 w 10038"/>
                <a:gd name="connsiteY2" fmla="*/ 436 h 10000"/>
                <a:gd name="connsiteX3" fmla="*/ 6934 w 10038"/>
                <a:gd name="connsiteY3" fmla="*/ 731 h 10000"/>
                <a:gd name="connsiteX4" fmla="*/ 6603 w 10038"/>
                <a:gd name="connsiteY4" fmla="*/ 560 h 10000"/>
                <a:gd name="connsiteX5" fmla="*/ 5555 w 10038"/>
                <a:gd name="connsiteY5" fmla="*/ 531 h 10000"/>
                <a:gd name="connsiteX6" fmla="*/ 5487 w 10038"/>
                <a:gd name="connsiteY6" fmla="*/ 455 h 10000"/>
                <a:gd name="connsiteX7" fmla="*/ 5370 w 10038"/>
                <a:gd name="connsiteY7" fmla="*/ 569 h 10000"/>
                <a:gd name="connsiteX8" fmla="*/ 1575 w 10038"/>
                <a:gd name="connsiteY8" fmla="*/ 531 h 10000"/>
                <a:gd name="connsiteX9" fmla="*/ 1589 w 10038"/>
                <a:gd name="connsiteY9" fmla="*/ 1556 h 10000"/>
                <a:gd name="connsiteX10" fmla="*/ 952 w 10038"/>
                <a:gd name="connsiteY10" fmla="*/ 1565 h 10000"/>
                <a:gd name="connsiteX11" fmla="*/ 1018 w 10038"/>
                <a:gd name="connsiteY11" fmla="*/ 3776 h 10000"/>
                <a:gd name="connsiteX12" fmla="*/ 422 w 10038"/>
                <a:gd name="connsiteY12" fmla="*/ 3767 h 10000"/>
                <a:gd name="connsiteX13" fmla="*/ 394 w 10038"/>
                <a:gd name="connsiteY13" fmla="*/ 3985 h 10000"/>
                <a:gd name="connsiteX14" fmla="*/ 223 w 10038"/>
                <a:gd name="connsiteY14" fmla="*/ 4118 h 10000"/>
                <a:gd name="connsiteX15" fmla="*/ 170 w 10038"/>
                <a:gd name="connsiteY15" fmla="*/ 4288 h 10000"/>
                <a:gd name="connsiteX16" fmla="*/ 38 w 10038"/>
                <a:gd name="connsiteY16" fmla="*/ 4288 h 10000"/>
                <a:gd name="connsiteX17" fmla="*/ 913 w 10038"/>
                <a:gd name="connsiteY17" fmla="*/ 6774 h 10000"/>
                <a:gd name="connsiteX18" fmla="*/ 754 w 10038"/>
                <a:gd name="connsiteY18" fmla="*/ 7144 h 10000"/>
                <a:gd name="connsiteX19" fmla="*/ 860 w 10038"/>
                <a:gd name="connsiteY19" fmla="*/ 7211 h 10000"/>
                <a:gd name="connsiteX20" fmla="*/ 781 w 10038"/>
                <a:gd name="connsiteY20" fmla="*/ 7315 h 10000"/>
                <a:gd name="connsiteX21" fmla="*/ 1232 w 10038"/>
                <a:gd name="connsiteY21" fmla="*/ 7343 h 10000"/>
                <a:gd name="connsiteX22" fmla="*/ 1232 w 10038"/>
                <a:gd name="connsiteY22" fmla="*/ 7410 h 10000"/>
                <a:gd name="connsiteX23" fmla="*/ 1218 w 10038"/>
                <a:gd name="connsiteY23" fmla="*/ 7562 h 10000"/>
                <a:gd name="connsiteX24" fmla="*/ 1695 w 10038"/>
                <a:gd name="connsiteY24" fmla="*/ 7619 h 10000"/>
                <a:gd name="connsiteX25" fmla="*/ 1695 w 10038"/>
                <a:gd name="connsiteY25" fmla="*/ 7742 h 10000"/>
                <a:gd name="connsiteX26" fmla="*/ 1948 w 10038"/>
                <a:gd name="connsiteY26" fmla="*/ 7837 h 10000"/>
                <a:gd name="connsiteX27" fmla="*/ 1868 w 10038"/>
                <a:gd name="connsiteY27" fmla="*/ 7979 h 10000"/>
                <a:gd name="connsiteX28" fmla="*/ 2225 w 10038"/>
                <a:gd name="connsiteY28" fmla="*/ 8102 h 10000"/>
                <a:gd name="connsiteX29" fmla="*/ 2438 w 10038"/>
                <a:gd name="connsiteY29" fmla="*/ 8330 h 10000"/>
                <a:gd name="connsiteX30" fmla="*/ 2637 w 10038"/>
                <a:gd name="connsiteY30" fmla="*/ 8416 h 10000"/>
                <a:gd name="connsiteX31" fmla="*/ 2557 w 10038"/>
                <a:gd name="connsiteY31" fmla="*/ 8491 h 10000"/>
                <a:gd name="connsiteX32" fmla="*/ 2663 w 10038"/>
                <a:gd name="connsiteY32" fmla="*/ 8577 h 10000"/>
                <a:gd name="connsiteX33" fmla="*/ 2650 w 10038"/>
                <a:gd name="connsiteY33" fmla="*/ 8700 h 10000"/>
                <a:gd name="connsiteX34" fmla="*/ 2850 w 10038"/>
                <a:gd name="connsiteY34" fmla="*/ 8710 h 10000"/>
                <a:gd name="connsiteX35" fmla="*/ 3075 w 10038"/>
                <a:gd name="connsiteY35" fmla="*/ 8843 h 10000"/>
                <a:gd name="connsiteX36" fmla="*/ 3128 w 10038"/>
                <a:gd name="connsiteY36" fmla="*/ 9051 h 10000"/>
                <a:gd name="connsiteX37" fmla="*/ 3180 w 10038"/>
                <a:gd name="connsiteY37" fmla="*/ 9127 h 10000"/>
                <a:gd name="connsiteX38" fmla="*/ 3460 w 10038"/>
                <a:gd name="connsiteY38" fmla="*/ 9307 h 10000"/>
                <a:gd name="connsiteX39" fmla="*/ 3460 w 10038"/>
                <a:gd name="connsiteY39" fmla="*/ 9440 h 10000"/>
                <a:gd name="connsiteX40" fmla="*/ 3871 w 10038"/>
                <a:gd name="connsiteY40" fmla="*/ 9583 h 10000"/>
                <a:gd name="connsiteX41" fmla="*/ 4096 w 10038"/>
                <a:gd name="connsiteY41" fmla="*/ 9431 h 10000"/>
                <a:gd name="connsiteX42" fmla="*/ 4375 w 10038"/>
                <a:gd name="connsiteY42" fmla="*/ 9545 h 10000"/>
                <a:gd name="connsiteX43" fmla="*/ 4599 w 10038"/>
                <a:gd name="connsiteY43" fmla="*/ 9374 h 10000"/>
                <a:gd name="connsiteX44" fmla="*/ 4852 w 10038"/>
                <a:gd name="connsiteY44" fmla="*/ 9649 h 10000"/>
                <a:gd name="connsiteX45" fmla="*/ 5210 w 10038"/>
                <a:gd name="connsiteY45" fmla="*/ 9801 h 10000"/>
                <a:gd name="connsiteX46" fmla="*/ 5249 w 10038"/>
                <a:gd name="connsiteY46" fmla="*/ 9934 h 10000"/>
                <a:gd name="connsiteX47" fmla="*/ 5396 w 10038"/>
                <a:gd name="connsiteY47" fmla="*/ 9953 h 10000"/>
                <a:gd name="connsiteX48" fmla="*/ 5607 w 10038"/>
                <a:gd name="connsiteY48" fmla="*/ 9829 h 10000"/>
                <a:gd name="connsiteX49" fmla="*/ 5874 w 10038"/>
                <a:gd name="connsiteY49" fmla="*/ 9905 h 10000"/>
                <a:gd name="connsiteX50" fmla="*/ 5966 w 10038"/>
                <a:gd name="connsiteY50" fmla="*/ 9839 h 10000"/>
                <a:gd name="connsiteX51" fmla="*/ 6060 w 10038"/>
                <a:gd name="connsiteY51" fmla="*/ 9829 h 10000"/>
                <a:gd name="connsiteX52" fmla="*/ 6244 w 10038"/>
                <a:gd name="connsiteY52" fmla="*/ 10000 h 10000"/>
                <a:gd name="connsiteX53" fmla="*/ 6417 w 10038"/>
                <a:gd name="connsiteY53" fmla="*/ 9858 h 10000"/>
                <a:gd name="connsiteX54" fmla="*/ 6629 w 10038"/>
                <a:gd name="connsiteY54" fmla="*/ 9867 h 10000"/>
                <a:gd name="connsiteX55" fmla="*/ 6789 w 10038"/>
                <a:gd name="connsiteY55" fmla="*/ 9791 h 10000"/>
                <a:gd name="connsiteX56" fmla="*/ 7015 w 10038"/>
                <a:gd name="connsiteY56" fmla="*/ 9867 h 10000"/>
                <a:gd name="connsiteX57" fmla="*/ 7306 w 10038"/>
                <a:gd name="connsiteY57" fmla="*/ 9630 h 10000"/>
                <a:gd name="connsiteX58" fmla="*/ 7411 w 10038"/>
                <a:gd name="connsiteY58" fmla="*/ 9630 h 10000"/>
                <a:gd name="connsiteX59" fmla="*/ 7598 w 10038"/>
                <a:gd name="connsiteY59" fmla="*/ 9440 h 10000"/>
                <a:gd name="connsiteX60" fmla="*/ 8393 w 10038"/>
                <a:gd name="connsiteY60" fmla="*/ 9431 h 10000"/>
                <a:gd name="connsiteX61" fmla="*/ 8566 w 10038"/>
                <a:gd name="connsiteY61" fmla="*/ 9355 h 10000"/>
                <a:gd name="connsiteX62" fmla="*/ 8553 w 10038"/>
                <a:gd name="connsiteY62" fmla="*/ 9260 h 10000"/>
                <a:gd name="connsiteX63" fmla="*/ 8500 w 10038"/>
                <a:gd name="connsiteY63" fmla="*/ 9051 h 10000"/>
                <a:gd name="connsiteX64" fmla="*/ 8168 w 10038"/>
                <a:gd name="connsiteY64" fmla="*/ 8985 h 10000"/>
                <a:gd name="connsiteX65" fmla="*/ 8009 w 10038"/>
                <a:gd name="connsiteY65" fmla="*/ 8653 h 10000"/>
                <a:gd name="connsiteX66" fmla="*/ 7915 w 10038"/>
                <a:gd name="connsiteY66" fmla="*/ 8615 h 10000"/>
                <a:gd name="connsiteX67" fmla="*/ 7890 w 10038"/>
                <a:gd name="connsiteY67" fmla="*/ 8378 h 10000"/>
                <a:gd name="connsiteX68" fmla="*/ 7770 w 10038"/>
                <a:gd name="connsiteY68" fmla="*/ 8368 h 10000"/>
                <a:gd name="connsiteX69" fmla="*/ 7730 w 10038"/>
                <a:gd name="connsiteY69" fmla="*/ 8245 h 10000"/>
                <a:gd name="connsiteX70" fmla="*/ 7531 w 10038"/>
                <a:gd name="connsiteY70" fmla="*/ 8216 h 10000"/>
                <a:gd name="connsiteX71" fmla="*/ 7464 w 10038"/>
                <a:gd name="connsiteY71" fmla="*/ 8027 h 10000"/>
                <a:gd name="connsiteX72" fmla="*/ 7133 w 10038"/>
                <a:gd name="connsiteY72" fmla="*/ 7846 h 10000"/>
                <a:gd name="connsiteX73" fmla="*/ 6775 w 10038"/>
                <a:gd name="connsiteY73" fmla="*/ 7818 h 10000"/>
                <a:gd name="connsiteX74" fmla="*/ 6869 w 10038"/>
                <a:gd name="connsiteY74" fmla="*/ 7609 h 10000"/>
                <a:gd name="connsiteX75" fmla="*/ 6843 w 10038"/>
                <a:gd name="connsiteY75" fmla="*/ 7457 h 10000"/>
                <a:gd name="connsiteX76" fmla="*/ 7147 w 10038"/>
                <a:gd name="connsiteY76" fmla="*/ 7467 h 10000"/>
                <a:gd name="connsiteX77" fmla="*/ 7213 w 10038"/>
                <a:gd name="connsiteY77" fmla="*/ 7514 h 10000"/>
                <a:gd name="connsiteX78" fmla="*/ 7398 w 10038"/>
                <a:gd name="connsiteY78" fmla="*/ 7419 h 10000"/>
                <a:gd name="connsiteX79" fmla="*/ 7451 w 10038"/>
                <a:gd name="connsiteY79" fmla="*/ 7078 h 10000"/>
                <a:gd name="connsiteX80" fmla="*/ 7372 w 10038"/>
                <a:gd name="connsiteY80" fmla="*/ 6822 h 10000"/>
                <a:gd name="connsiteX81" fmla="*/ 7598 w 10038"/>
                <a:gd name="connsiteY81" fmla="*/ 6613 h 10000"/>
                <a:gd name="connsiteX82" fmla="*/ 7531 w 10038"/>
                <a:gd name="connsiteY82" fmla="*/ 6414 h 10000"/>
                <a:gd name="connsiteX83" fmla="*/ 7677 w 10038"/>
                <a:gd name="connsiteY83" fmla="*/ 6224 h 10000"/>
                <a:gd name="connsiteX84" fmla="*/ 7770 w 10038"/>
                <a:gd name="connsiteY84" fmla="*/ 6328 h 10000"/>
                <a:gd name="connsiteX85" fmla="*/ 7928 w 10038"/>
                <a:gd name="connsiteY85" fmla="*/ 6281 h 10000"/>
                <a:gd name="connsiteX86" fmla="*/ 7915 w 10038"/>
                <a:gd name="connsiteY86" fmla="*/ 5987 h 10000"/>
                <a:gd name="connsiteX87" fmla="*/ 8009 w 10038"/>
                <a:gd name="connsiteY87" fmla="*/ 5882 h 10000"/>
                <a:gd name="connsiteX88" fmla="*/ 7982 w 10038"/>
                <a:gd name="connsiteY88" fmla="*/ 5740 h 10000"/>
                <a:gd name="connsiteX89" fmla="*/ 8194 w 10038"/>
                <a:gd name="connsiteY89" fmla="*/ 5655 h 10000"/>
                <a:gd name="connsiteX90" fmla="*/ 8207 w 10038"/>
                <a:gd name="connsiteY90" fmla="*/ 5465 h 10000"/>
                <a:gd name="connsiteX91" fmla="*/ 8367 w 10038"/>
                <a:gd name="connsiteY91" fmla="*/ 5285 h 10000"/>
                <a:gd name="connsiteX92" fmla="*/ 8657 w 10038"/>
                <a:gd name="connsiteY92" fmla="*/ 5266 h 10000"/>
                <a:gd name="connsiteX93" fmla="*/ 8632 w 10038"/>
                <a:gd name="connsiteY93" fmla="*/ 5019 h 10000"/>
                <a:gd name="connsiteX94" fmla="*/ 8845 w 10038"/>
                <a:gd name="connsiteY94" fmla="*/ 4753 h 10000"/>
                <a:gd name="connsiteX95" fmla="*/ 8845 w 10038"/>
                <a:gd name="connsiteY95" fmla="*/ 4469 h 10000"/>
                <a:gd name="connsiteX96" fmla="*/ 8818 w 10038"/>
                <a:gd name="connsiteY96" fmla="*/ 4156 h 10000"/>
                <a:gd name="connsiteX97" fmla="*/ 8752 w 10038"/>
                <a:gd name="connsiteY97" fmla="*/ 4061 h 10000"/>
                <a:gd name="connsiteX98" fmla="*/ 8910 w 10038"/>
                <a:gd name="connsiteY98" fmla="*/ 3928 h 10000"/>
                <a:gd name="connsiteX99" fmla="*/ 8923 w 10038"/>
                <a:gd name="connsiteY99" fmla="*/ 3767 h 10000"/>
                <a:gd name="connsiteX100" fmla="*/ 9084 w 10038"/>
                <a:gd name="connsiteY100" fmla="*/ 3577 h 10000"/>
                <a:gd name="connsiteX101" fmla="*/ 9003 w 10038"/>
                <a:gd name="connsiteY101" fmla="*/ 3283 h 10000"/>
                <a:gd name="connsiteX102" fmla="*/ 9149 w 10038"/>
                <a:gd name="connsiteY102" fmla="*/ 3207 h 10000"/>
                <a:gd name="connsiteX103" fmla="*/ 9149 w 10038"/>
                <a:gd name="connsiteY103" fmla="*/ 3112 h 10000"/>
                <a:gd name="connsiteX104" fmla="*/ 9400 w 10038"/>
                <a:gd name="connsiteY104" fmla="*/ 3046 h 10000"/>
                <a:gd name="connsiteX105" fmla="*/ 9414 w 10038"/>
                <a:gd name="connsiteY105" fmla="*/ 2903 h 10000"/>
                <a:gd name="connsiteX106" fmla="*/ 9892 w 10038"/>
                <a:gd name="connsiteY106" fmla="*/ 2808 h 10000"/>
                <a:gd name="connsiteX107" fmla="*/ 10038 w 10038"/>
                <a:gd name="connsiteY107" fmla="*/ 2571 h 10000"/>
                <a:gd name="connsiteX108" fmla="*/ 9707 w 10038"/>
                <a:gd name="connsiteY108" fmla="*/ 2429 h 10000"/>
                <a:gd name="connsiteX109" fmla="*/ 9588 w 10038"/>
                <a:gd name="connsiteY109" fmla="*/ 2239 h 10000"/>
                <a:gd name="connsiteX110" fmla="*/ 9256 w 10038"/>
                <a:gd name="connsiteY110" fmla="*/ 2163 h 10000"/>
                <a:gd name="connsiteX111" fmla="*/ 9190 w 10038"/>
                <a:gd name="connsiteY111" fmla="*/ 1670 h 10000"/>
                <a:gd name="connsiteX112" fmla="*/ 9097 w 10038"/>
                <a:gd name="connsiteY112" fmla="*/ 1651 h 10000"/>
                <a:gd name="connsiteX113" fmla="*/ 9069 w 10038"/>
                <a:gd name="connsiteY113" fmla="*/ 1205 h 10000"/>
                <a:gd name="connsiteX114" fmla="*/ 9003 w 10038"/>
                <a:gd name="connsiteY114" fmla="*/ 1053 h 10000"/>
                <a:gd name="connsiteX115" fmla="*/ 9162 w 10038"/>
                <a:gd name="connsiteY115" fmla="*/ 1025 h 10000"/>
                <a:gd name="connsiteX116" fmla="*/ 8910 w 10038"/>
                <a:gd name="connsiteY116" fmla="*/ 797 h 10000"/>
                <a:gd name="connsiteX117" fmla="*/ 8870 w 10038"/>
                <a:gd name="connsiteY117" fmla="*/ 503 h 10000"/>
                <a:gd name="connsiteX118" fmla="*/ 8618 w 10038"/>
                <a:gd name="connsiteY118" fmla="*/ 370 h 10000"/>
                <a:gd name="connsiteX119" fmla="*/ 8446 w 10038"/>
                <a:gd name="connsiteY119" fmla="*/ 218 h 10000"/>
                <a:gd name="connsiteX120" fmla="*/ 8300 w 10038"/>
                <a:gd name="connsiteY120" fmla="*/ 209 h 10000"/>
                <a:gd name="connsiteX121" fmla="*/ 8089 w 10038"/>
                <a:gd name="connsiteY121" fmla="*/ 0 h 10000"/>
                <a:gd name="connsiteX122" fmla="*/ 7875 w 10038"/>
                <a:gd name="connsiteY122" fmla="*/ 142 h 10000"/>
                <a:gd name="connsiteX123" fmla="*/ 7651 w 10038"/>
                <a:gd name="connsiteY123" fmla="*/ 152 h 10000"/>
                <a:gd name="connsiteX0" fmla="*/ 7537 w 9924"/>
                <a:gd name="connsiteY0" fmla="*/ 152 h 10000"/>
                <a:gd name="connsiteX1" fmla="*/ 7404 w 9924"/>
                <a:gd name="connsiteY1" fmla="*/ 408 h 10000"/>
                <a:gd name="connsiteX2" fmla="*/ 7112 w 9924"/>
                <a:gd name="connsiteY2" fmla="*/ 436 h 10000"/>
                <a:gd name="connsiteX3" fmla="*/ 6820 w 9924"/>
                <a:gd name="connsiteY3" fmla="*/ 731 h 10000"/>
                <a:gd name="connsiteX4" fmla="*/ 6489 w 9924"/>
                <a:gd name="connsiteY4" fmla="*/ 560 h 10000"/>
                <a:gd name="connsiteX5" fmla="*/ 5441 w 9924"/>
                <a:gd name="connsiteY5" fmla="*/ 531 h 10000"/>
                <a:gd name="connsiteX6" fmla="*/ 5373 w 9924"/>
                <a:gd name="connsiteY6" fmla="*/ 455 h 10000"/>
                <a:gd name="connsiteX7" fmla="*/ 5256 w 9924"/>
                <a:gd name="connsiteY7" fmla="*/ 569 h 10000"/>
                <a:gd name="connsiteX8" fmla="*/ 1461 w 9924"/>
                <a:gd name="connsiteY8" fmla="*/ 531 h 10000"/>
                <a:gd name="connsiteX9" fmla="*/ 1475 w 9924"/>
                <a:gd name="connsiteY9" fmla="*/ 1556 h 10000"/>
                <a:gd name="connsiteX10" fmla="*/ 838 w 9924"/>
                <a:gd name="connsiteY10" fmla="*/ 1565 h 10000"/>
                <a:gd name="connsiteX11" fmla="*/ 904 w 9924"/>
                <a:gd name="connsiteY11" fmla="*/ 3776 h 10000"/>
                <a:gd name="connsiteX12" fmla="*/ 308 w 9924"/>
                <a:gd name="connsiteY12" fmla="*/ 3767 h 10000"/>
                <a:gd name="connsiteX13" fmla="*/ 280 w 9924"/>
                <a:gd name="connsiteY13" fmla="*/ 3985 h 10000"/>
                <a:gd name="connsiteX14" fmla="*/ 109 w 9924"/>
                <a:gd name="connsiteY14" fmla="*/ 4118 h 10000"/>
                <a:gd name="connsiteX15" fmla="*/ 56 w 9924"/>
                <a:gd name="connsiteY15" fmla="*/ 4288 h 10000"/>
                <a:gd name="connsiteX16" fmla="*/ 799 w 9924"/>
                <a:gd name="connsiteY16" fmla="*/ 6774 h 10000"/>
                <a:gd name="connsiteX17" fmla="*/ 640 w 9924"/>
                <a:gd name="connsiteY17" fmla="*/ 7144 h 10000"/>
                <a:gd name="connsiteX18" fmla="*/ 746 w 9924"/>
                <a:gd name="connsiteY18" fmla="*/ 7211 h 10000"/>
                <a:gd name="connsiteX19" fmla="*/ 667 w 9924"/>
                <a:gd name="connsiteY19" fmla="*/ 7315 h 10000"/>
                <a:gd name="connsiteX20" fmla="*/ 1118 w 9924"/>
                <a:gd name="connsiteY20" fmla="*/ 7343 h 10000"/>
                <a:gd name="connsiteX21" fmla="*/ 1118 w 9924"/>
                <a:gd name="connsiteY21" fmla="*/ 7410 h 10000"/>
                <a:gd name="connsiteX22" fmla="*/ 1104 w 9924"/>
                <a:gd name="connsiteY22" fmla="*/ 7562 h 10000"/>
                <a:gd name="connsiteX23" fmla="*/ 1581 w 9924"/>
                <a:gd name="connsiteY23" fmla="*/ 7619 h 10000"/>
                <a:gd name="connsiteX24" fmla="*/ 1581 w 9924"/>
                <a:gd name="connsiteY24" fmla="*/ 7742 h 10000"/>
                <a:gd name="connsiteX25" fmla="*/ 1834 w 9924"/>
                <a:gd name="connsiteY25" fmla="*/ 7837 h 10000"/>
                <a:gd name="connsiteX26" fmla="*/ 1754 w 9924"/>
                <a:gd name="connsiteY26" fmla="*/ 7979 h 10000"/>
                <a:gd name="connsiteX27" fmla="*/ 2111 w 9924"/>
                <a:gd name="connsiteY27" fmla="*/ 8102 h 10000"/>
                <a:gd name="connsiteX28" fmla="*/ 2324 w 9924"/>
                <a:gd name="connsiteY28" fmla="*/ 8330 h 10000"/>
                <a:gd name="connsiteX29" fmla="*/ 2523 w 9924"/>
                <a:gd name="connsiteY29" fmla="*/ 8416 h 10000"/>
                <a:gd name="connsiteX30" fmla="*/ 2443 w 9924"/>
                <a:gd name="connsiteY30" fmla="*/ 8491 h 10000"/>
                <a:gd name="connsiteX31" fmla="*/ 2549 w 9924"/>
                <a:gd name="connsiteY31" fmla="*/ 8577 h 10000"/>
                <a:gd name="connsiteX32" fmla="*/ 2536 w 9924"/>
                <a:gd name="connsiteY32" fmla="*/ 8700 h 10000"/>
                <a:gd name="connsiteX33" fmla="*/ 2736 w 9924"/>
                <a:gd name="connsiteY33" fmla="*/ 8710 h 10000"/>
                <a:gd name="connsiteX34" fmla="*/ 2961 w 9924"/>
                <a:gd name="connsiteY34" fmla="*/ 8843 h 10000"/>
                <a:gd name="connsiteX35" fmla="*/ 3014 w 9924"/>
                <a:gd name="connsiteY35" fmla="*/ 9051 h 10000"/>
                <a:gd name="connsiteX36" fmla="*/ 3066 w 9924"/>
                <a:gd name="connsiteY36" fmla="*/ 9127 h 10000"/>
                <a:gd name="connsiteX37" fmla="*/ 3346 w 9924"/>
                <a:gd name="connsiteY37" fmla="*/ 9307 h 10000"/>
                <a:gd name="connsiteX38" fmla="*/ 3346 w 9924"/>
                <a:gd name="connsiteY38" fmla="*/ 9440 h 10000"/>
                <a:gd name="connsiteX39" fmla="*/ 3757 w 9924"/>
                <a:gd name="connsiteY39" fmla="*/ 9583 h 10000"/>
                <a:gd name="connsiteX40" fmla="*/ 3982 w 9924"/>
                <a:gd name="connsiteY40" fmla="*/ 9431 h 10000"/>
                <a:gd name="connsiteX41" fmla="*/ 4261 w 9924"/>
                <a:gd name="connsiteY41" fmla="*/ 9545 h 10000"/>
                <a:gd name="connsiteX42" fmla="*/ 4485 w 9924"/>
                <a:gd name="connsiteY42" fmla="*/ 9374 h 10000"/>
                <a:gd name="connsiteX43" fmla="*/ 4738 w 9924"/>
                <a:gd name="connsiteY43" fmla="*/ 9649 h 10000"/>
                <a:gd name="connsiteX44" fmla="*/ 5096 w 9924"/>
                <a:gd name="connsiteY44" fmla="*/ 9801 h 10000"/>
                <a:gd name="connsiteX45" fmla="*/ 5135 w 9924"/>
                <a:gd name="connsiteY45" fmla="*/ 9934 h 10000"/>
                <a:gd name="connsiteX46" fmla="*/ 5282 w 9924"/>
                <a:gd name="connsiteY46" fmla="*/ 9953 h 10000"/>
                <a:gd name="connsiteX47" fmla="*/ 5493 w 9924"/>
                <a:gd name="connsiteY47" fmla="*/ 9829 h 10000"/>
                <a:gd name="connsiteX48" fmla="*/ 5760 w 9924"/>
                <a:gd name="connsiteY48" fmla="*/ 9905 h 10000"/>
                <a:gd name="connsiteX49" fmla="*/ 5852 w 9924"/>
                <a:gd name="connsiteY49" fmla="*/ 9839 h 10000"/>
                <a:gd name="connsiteX50" fmla="*/ 5946 w 9924"/>
                <a:gd name="connsiteY50" fmla="*/ 9829 h 10000"/>
                <a:gd name="connsiteX51" fmla="*/ 6130 w 9924"/>
                <a:gd name="connsiteY51" fmla="*/ 10000 h 10000"/>
                <a:gd name="connsiteX52" fmla="*/ 6303 w 9924"/>
                <a:gd name="connsiteY52" fmla="*/ 9858 h 10000"/>
                <a:gd name="connsiteX53" fmla="*/ 6515 w 9924"/>
                <a:gd name="connsiteY53" fmla="*/ 9867 h 10000"/>
                <a:gd name="connsiteX54" fmla="*/ 6675 w 9924"/>
                <a:gd name="connsiteY54" fmla="*/ 9791 h 10000"/>
                <a:gd name="connsiteX55" fmla="*/ 6901 w 9924"/>
                <a:gd name="connsiteY55" fmla="*/ 9867 h 10000"/>
                <a:gd name="connsiteX56" fmla="*/ 7192 w 9924"/>
                <a:gd name="connsiteY56" fmla="*/ 9630 h 10000"/>
                <a:gd name="connsiteX57" fmla="*/ 7297 w 9924"/>
                <a:gd name="connsiteY57" fmla="*/ 9630 h 10000"/>
                <a:gd name="connsiteX58" fmla="*/ 7484 w 9924"/>
                <a:gd name="connsiteY58" fmla="*/ 9440 h 10000"/>
                <a:gd name="connsiteX59" fmla="*/ 8279 w 9924"/>
                <a:gd name="connsiteY59" fmla="*/ 9431 h 10000"/>
                <a:gd name="connsiteX60" fmla="*/ 8452 w 9924"/>
                <a:gd name="connsiteY60" fmla="*/ 9355 h 10000"/>
                <a:gd name="connsiteX61" fmla="*/ 8439 w 9924"/>
                <a:gd name="connsiteY61" fmla="*/ 9260 h 10000"/>
                <a:gd name="connsiteX62" fmla="*/ 8386 w 9924"/>
                <a:gd name="connsiteY62" fmla="*/ 9051 h 10000"/>
                <a:gd name="connsiteX63" fmla="*/ 8054 w 9924"/>
                <a:gd name="connsiteY63" fmla="*/ 8985 h 10000"/>
                <a:gd name="connsiteX64" fmla="*/ 7895 w 9924"/>
                <a:gd name="connsiteY64" fmla="*/ 8653 h 10000"/>
                <a:gd name="connsiteX65" fmla="*/ 7801 w 9924"/>
                <a:gd name="connsiteY65" fmla="*/ 8615 h 10000"/>
                <a:gd name="connsiteX66" fmla="*/ 7776 w 9924"/>
                <a:gd name="connsiteY66" fmla="*/ 8378 h 10000"/>
                <a:gd name="connsiteX67" fmla="*/ 7656 w 9924"/>
                <a:gd name="connsiteY67" fmla="*/ 8368 h 10000"/>
                <a:gd name="connsiteX68" fmla="*/ 7616 w 9924"/>
                <a:gd name="connsiteY68" fmla="*/ 8245 h 10000"/>
                <a:gd name="connsiteX69" fmla="*/ 7417 w 9924"/>
                <a:gd name="connsiteY69" fmla="*/ 8216 h 10000"/>
                <a:gd name="connsiteX70" fmla="*/ 7350 w 9924"/>
                <a:gd name="connsiteY70" fmla="*/ 8027 h 10000"/>
                <a:gd name="connsiteX71" fmla="*/ 7019 w 9924"/>
                <a:gd name="connsiteY71" fmla="*/ 7846 h 10000"/>
                <a:gd name="connsiteX72" fmla="*/ 6661 w 9924"/>
                <a:gd name="connsiteY72" fmla="*/ 7818 h 10000"/>
                <a:gd name="connsiteX73" fmla="*/ 6755 w 9924"/>
                <a:gd name="connsiteY73" fmla="*/ 7609 h 10000"/>
                <a:gd name="connsiteX74" fmla="*/ 6729 w 9924"/>
                <a:gd name="connsiteY74" fmla="*/ 7457 h 10000"/>
                <a:gd name="connsiteX75" fmla="*/ 7033 w 9924"/>
                <a:gd name="connsiteY75" fmla="*/ 7467 h 10000"/>
                <a:gd name="connsiteX76" fmla="*/ 7099 w 9924"/>
                <a:gd name="connsiteY76" fmla="*/ 7514 h 10000"/>
                <a:gd name="connsiteX77" fmla="*/ 7284 w 9924"/>
                <a:gd name="connsiteY77" fmla="*/ 7419 h 10000"/>
                <a:gd name="connsiteX78" fmla="*/ 7337 w 9924"/>
                <a:gd name="connsiteY78" fmla="*/ 7078 h 10000"/>
                <a:gd name="connsiteX79" fmla="*/ 7258 w 9924"/>
                <a:gd name="connsiteY79" fmla="*/ 6822 h 10000"/>
                <a:gd name="connsiteX80" fmla="*/ 7484 w 9924"/>
                <a:gd name="connsiteY80" fmla="*/ 6613 h 10000"/>
                <a:gd name="connsiteX81" fmla="*/ 7417 w 9924"/>
                <a:gd name="connsiteY81" fmla="*/ 6414 h 10000"/>
                <a:gd name="connsiteX82" fmla="*/ 7563 w 9924"/>
                <a:gd name="connsiteY82" fmla="*/ 6224 h 10000"/>
                <a:gd name="connsiteX83" fmla="*/ 7656 w 9924"/>
                <a:gd name="connsiteY83" fmla="*/ 6328 h 10000"/>
                <a:gd name="connsiteX84" fmla="*/ 7814 w 9924"/>
                <a:gd name="connsiteY84" fmla="*/ 6281 h 10000"/>
                <a:gd name="connsiteX85" fmla="*/ 7801 w 9924"/>
                <a:gd name="connsiteY85" fmla="*/ 5987 h 10000"/>
                <a:gd name="connsiteX86" fmla="*/ 7895 w 9924"/>
                <a:gd name="connsiteY86" fmla="*/ 5882 h 10000"/>
                <a:gd name="connsiteX87" fmla="*/ 7868 w 9924"/>
                <a:gd name="connsiteY87" fmla="*/ 5740 h 10000"/>
                <a:gd name="connsiteX88" fmla="*/ 8080 w 9924"/>
                <a:gd name="connsiteY88" fmla="*/ 5655 h 10000"/>
                <a:gd name="connsiteX89" fmla="*/ 8093 w 9924"/>
                <a:gd name="connsiteY89" fmla="*/ 5465 h 10000"/>
                <a:gd name="connsiteX90" fmla="*/ 8253 w 9924"/>
                <a:gd name="connsiteY90" fmla="*/ 5285 h 10000"/>
                <a:gd name="connsiteX91" fmla="*/ 8543 w 9924"/>
                <a:gd name="connsiteY91" fmla="*/ 5266 h 10000"/>
                <a:gd name="connsiteX92" fmla="*/ 8518 w 9924"/>
                <a:gd name="connsiteY92" fmla="*/ 5019 h 10000"/>
                <a:gd name="connsiteX93" fmla="*/ 8731 w 9924"/>
                <a:gd name="connsiteY93" fmla="*/ 4753 h 10000"/>
                <a:gd name="connsiteX94" fmla="*/ 8731 w 9924"/>
                <a:gd name="connsiteY94" fmla="*/ 4469 h 10000"/>
                <a:gd name="connsiteX95" fmla="*/ 8704 w 9924"/>
                <a:gd name="connsiteY95" fmla="*/ 4156 h 10000"/>
                <a:gd name="connsiteX96" fmla="*/ 8638 w 9924"/>
                <a:gd name="connsiteY96" fmla="*/ 4061 h 10000"/>
                <a:gd name="connsiteX97" fmla="*/ 8796 w 9924"/>
                <a:gd name="connsiteY97" fmla="*/ 3928 h 10000"/>
                <a:gd name="connsiteX98" fmla="*/ 8809 w 9924"/>
                <a:gd name="connsiteY98" fmla="*/ 3767 h 10000"/>
                <a:gd name="connsiteX99" fmla="*/ 8970 w 9924"/>
                <a:gd name="connsiteY99" fmla="*/ 3577 h 10000"/>
                <a:gd name="connsiteX100" fmla="*/ 8889 w 9924"/>
                <a:gd name="connsiteY100" fmla="*/ 3283 h 10000"/>
                <a:gd name="connsiteX101" fmla="*/ 9035 w 9924"/>
                <a:gd name="connsiteY101" fmla="*/ 3207 h 10000"/>
                <a:gd name="connsiteX102" fmla="*/ 9035 w 9924"/>
                <a:gd name="connsiteY102" fmla="*/ 3112 h 10000"/>
                <a:gd name="connsiteX103" fmla="*/ 9286 w 9924"/>
                <a:gd name="connsiteY103" fmla="*/ 3046 h 10000"/>
                <a:gd name="connsiteX104" fmla="*/ 9300 w 9924"/>
                <a:gd name="connsiteY104" fmla="*/ 2903 h 10000"/>
                <a:gd name="connsiteX105" fmla="*/ 9778 w 9924"/>
                <a:gd name="connsiteY105" fmla="*/ 2808 h 10000"/>
                <a:gd name="connsiteX106" fmla="*/ 9924 w 9924"/>
                <a:gd name="connsiteY106" fmla="*/ 2571 h 10000"/>
                <a:gd name="connsiteX107" fmla="*/ 9593 w 9924"/>
                <a:gd name="connsiteY107" fmla="*/ 2429 h 10000"/>
                <a:gd name="connsiteX108" fmla="*/ 9474 w 9924"/>
                <a:gd name="connsiteY108" fmla="*/ 2239 h 10000"/>
                <a:gd name="connsiteX109" fmla="*/ 9142 w 9924"/>
                <a:gd name="connsiteY109" fmla="*/ 2163 h 10000"/>
                <a:gd name="connsiteX110" fmla="*/ 9076 w 9924"/>
                <a:gd name="connsiteY110" fmla="*/ 1670 h 10000"/>
                <a:gd name="connsiteX111" fmla="*/ 8983 w 9924"/>
                <a:gd name="connsiteY111" fmla="*/ 1651 h 10000"/>
                <a:gd name="connsiteX112" fmla="*/ 8955 w 9924"/>
                <a:gd name="connsiteY112" fmla="*/ 1205 h 10000"/>
                <a:gd name="connsiteX113" fmla="*/ 8889 w 9924"/>
                <a:gd name="connsiteY113" fmla="*/ 1053 h 10000"/>
                <a:gd name="connsiteX114" fmla="*/ 9048 w 9924"/>
                <a:gd name="connsiteY114" fmla="*/ 1025 h 10000"/>
                <a:gd name="connsiteX115" fmla="*/ 8796 w 9924"/>
                <a:gd name="connsiteY115" fmla="*/ 797 h 10000"/>
                <a:gd name="connsiteX116" fmla="*/ 8756 w 9924"/>
                <a:gd name="connsiteY116" fmla="*/ 503 h 10000"/>
                <a:gd name="connsiteX117" fmla="*/ 8504 w 9924"/>
                <a:gd name="connsiteY117" fmla="*/ 370 h 10000"/>
                <a:gd name="connsiteX118" fmla="*/ 8332 w 9924"/>
                <a:gd name="connsiteY118" fmla="*/ 218 h 10000"/>
                <a:gd name="connsiteX119" fmla="*/ 8186 w 9924"/>
                <a:gd name="connsiteY119" fmla="*/ 209 h 10000"/>
                <a:gd name="connsiteX120" fmla="*/ 7975 w 9924"/>
                <a:gd name="connsiteY120" fmla="*/ 0 h 10000"/>
                <a:gd name="connsiteX121" fmla="*/ 7761 w 9924"/>
                <a:gd name="connsiteY121" fmla="*/ 142 h 10000"/>
                <a:gd name="connsiteX122" fmla="*/ 7537 w 9924"/>
                <a:gd name="connsiteY122" fmla="*/ 152 h 10000"/>
                <a:gd name="connsiteX0" fmla="*/ 7502 w 9907"/>
                <a:gd name="connsiteY0" fmla="*/ 152 h 10000"/>
                <a:gd name="connsiteX1" fmla="*/ 7368 w 9907"/>
                <a:gd name="connsiteY1" fmla="*/ 408 h 10000"/>
                <a:gd name="connsiteX2" fmla="*/ 7073 w 9907"/>
                <a:gd name="connsiteY2" fmla="*/ 436 h 10000"/>
                <a:gd name="connsiteX3" fmla="*/ 6779 w 9907"/>
                <a:gd name="connsiteY3" fmla="*/ 731 h 10000"/>
                <a:gd name="connsiteX4" fmla="*/ 6446 w 9907"/>
                <a:gd name="connsiteY4" fmla="*/ 560 h 10000"/>
                <a:gd name="connsiteX5" fmla="*/ 5390 w 9907"/>
                <a:gd name="connsiteY5" fmla="*/ 531 h 10000"/>
                <a:gd name="connsiteX6" fmla="*/ 5321 w 9907"/>
                <a:gd name="connsiteY6" fmla="*/ 455 h 10000"/>
                <a:gd name="connsiteX7" fmla="*/ 5203 w 9907"/>
                <a:gd name="connsiteY7" fmla="*/ 569 h 10000"/>
                <a:gd name="connsiteX8" fmla="*/ 1379 w 9907"/>
                <a:gd name="connsiteY8" fmla="*/ 531 h 10000"/>
                <a:gd name="connsiteX9" fmla="*/ 1393 w 9907"/>
                <a:gd name="connsiteY9" fmla="*/ 1556 h 10000"/>
                <a:gd name="connsiteX10" fmla="*/ 751 w 9907"/>
                <a:gd name="connsiteY10" fmla="*/ 1565 h 10000"/>
                <a:gd name="connsiteX11" fmla="*/ 818 w 9907"/>
                <a:gd name="connsiteY11" fmla="*/ 3776 h 10000"/>
                <a:gd name="connsiteX12" fmla="*/ 217 w 9907"/>
                <a:gd name="connsiteY12" fmla="*/ 3767 h 10000"/>
                <a:gd name="connsiteX13" fmla="*/ 189 w 9907"/>
                <a:gd name="connsiteY13" fmla="*/ 3985 h 10000"/>
                <a:gd name="connsiteX14" fmla="*/ 17 w 9907"/>
                <a:gd name="connsiteY14" fmla="*/ 4118 h 10000"/>
                <a:gd name="connsiteX15" fmla="*/ 712 w 9907"/>
                <a:gd name="connsiteY15" fmla="*/ 6774 h 10000"/>
                <a:gd name="connsiteX16" fmla="*/ 552 w 9907"/>
                <a:gd name="connsiteY16" fmla="*/ 7144 h 10000"/>
                <a:gd name="connsiteX17" fmla="*/ 659 w 9907"/>
                <a:gd name="connsiteY17" fmla="*/ 7211 h 10000"/>
                <a:gd name="connsiteX18" fmla="*/ 579 w 9907"/>
                <a:gd name="connsiteY18" fmla="*/ 7315 h 10000"/>
                <a:gd name="connsiteX19" fmla="*/ 1034 w 9907"/>
                <a:gd name="connsiteY19" fmla="*/ 7343 h 10000"/>
                <a:gd name="connsiteX20" fmla="*/ 1034 w 9907"/>
                <a:gd name="connsiteY20" fmla="*/ 7410 h 10000"/>
                <a:gd name="connsiteX21" fmla="*/ 1019 w 9907"/>
                <a:gd name="connsiteY21" fmla="*/ 7562 h 10000"/>
                <a:gd name="connsiteX22" fmla="*/ 1500 w 9907"/>
                <a:gd name="connsiteY22" fmla="*/ 7619 h 10000"/>
                <a:gd name="connsiteX23" fmla="*/ 1500 w 9907"/>
                <a:gd name="connsiteY23" fmla="*/ 7742 h 10000"/>
                <a:gd name="connsiteX24" fmla="*/ 1755 w 9907"/>
                <a:gd name="connsiteY24" fmla="*/ 7837 h 10000"/>
                <a:gd name="connsiteX25" fmla="*/ 1674 w 9907"/>
                <a:gd name="connsiteY25" fmla="*/ 7979 h 10000"/>
                <a:gd name="connsiteX26" fmla="*/ 2034 w 9907"/>
                <a:gd name="connsiteY26" fmla="*/ 8102 h 10000"/>
                <a:gd name="connsiteX27" fmla="*/ 2249 w 9907"/>
                <a:gd name="connsiteY27" fmla="*/ 8330 h 10000"/>
                <a:gd name="connsiteX28" fmla="*/ 2449 w 9907"/>
                <a:gd name="connsiteY28" fmla="*/ 8416 h 10000"/>
                <a:gd name="connsiteX29" fmla="*/ 2369 w 9907"/>
                <a:gd name="connsiteY29" fmla="*/ 8491 h 10000"/>
                <a:gd name="connsiteX30" fmla="*/ 2476 w 9907"/>
                <a:gd name="connsiteY30" fmla="*/ 8577 h 10000"/>
                <a:gd name="connsiteX31" fmla="*/ 2462 w 9907"/>
                <a:gd name="connsiteY31" fmla="*/ 8700 h 10000"/>
                <a:gd name="connsiteX32" fmla="*/ 2664 w 9907"/>
                <a:gd name="connsiteY32" fmla="*/ 8710 h 10000"/>
                <a:gd name="connsiteX33" fmla="*/ 2891 w 9907"/>
                <a:gd name="connsiteY33" fmla="*/ 8843 h 10000"/>
                <a:gd name="connsiteX34" fmla="*/ 2944 w 9907"/>
                <a:gd name="connsiteY34" fmla="*/ 9051 h 10000"/>
                <a:gd name="connsiteX35" fmla="*/ 2996 w 9907"/>
                <a:gd name="connsiteY35" fmla="*/ 9127 h 10000"/>
                <a:gd name="connsiteX36" fmla="*/ 3279 w 9907"/>
                <a:gd name="connsiteY36" fmla="*/ 9307 h 10000"/>
                <a:gd name="connsiteX37" fmla="*/ 3279 w 9907"/>
                <a:gd name="connsiteY37" fmla="*/ 9440 h 10000"/>
                <a:gd name="connsiteX38" fmla="*/ 3693 w 9907"/>
                <a:gd name="connsiteY38" fmla="*/ 9583 h 10000"/>
                <a:gd name="connsiteX39" fmla="*/ 3919 w 9907"/>
                <a:gd name="connsiteY39" fmla="*/ 9431 h 10000"/>
                <a:gd name="connsiteX40" fmla="*/ 4201 w 9907"/>
                <a:gd name="connsiteY40" fmla="*/ 9545 h 10000"/>
                <a:gd name="connsiteX41" fmla="*/ 4426 w 9907"/>
                <a:gd name="connsiteY41" fmla="*/ 9374 h 10000"/>
                <a:gd name="connsiteX42" fmla="*/ 4681 w 9907"/>
                <a:gd name="connsiteY42" fmla="*/ 9649 h 10000"/>
                <a:gd name="connsiteX43" fmla="*/ 5042 w 9907"/>
                <a:gd name="connsiteY43" fmla="*/ 9801 h 10000"/>
                <a:gd name="connsiteX44" fmla="*/ 5081 w 9907"/>
                <a:gd name="connsiteY44" fmla="*/ 9934 h 10000"/>
                <a:gd name="connsiteX45" fmla="*/ 5229 w 9907"/>
                <a:gd name="connsiteY45" fmla="*/ 9953 h 10000"/>
                <a:gd name="connsiteX46" fmla="*/ 5442 w 9907"/>
                <a:gd name="connsiteY46" fmla="*/ 9829 h 10000"/>
                <a:gd name="connsiteX47" fmla="*/ 5711 w 9907"/>
                <a:gd name="connsiteY47" fmla="*/ 9905 h 10000"/>
                <a:gd name="connsiteX48" fmla="*/ 5804 w 9907"/>
                <a:gd name="connsiteY48" fmla="*/ 9839 h 10000"/>
                <a:gd name="connsiteX49" fmla="*/ 5899 w 9907"/>
                <a:gd name="connsiteY49" fmla="*/ 9829 h 10000"/>
                <a:gd name="connsiteX50" fmla="*/ 6084 w 9907"/>
                <a:gd name="connsiteY50" fmla="*/ 10000 h 10000"/>
                <a:gd name="connsiteX51" fmla="*/ 6258 w 9907"/>
                <a:gd name="connsiteY51" fmla="*/ 9858 h 10000"/>
                <a:gd name="connsiteX52" fmla="*/ 6472 w 9907"/>
                <a:gd name="connsiteY52" fmla="*/ 9867 h 10000"/>
                <a:gd name="connsiteX53" fmla="*/ 6633 w 9907"/>
                <a:gd name="connsiteY53" fmla="*/ 9791 h 10000"/>
                <a:gd name="connsiteX54" fmla="*/ 6861 w 9907"/>
                <a:gd name="connsiteY54" fmla="*/ 9867 h 10000"/>
                <a:gd name="connsiteX55" fmla="*/ 7154 w 9907"/>
                <a:gd name="connsiteY55" fmla="*/ 9630 h 10000"/>
                <a:gd name="connsiteX56" fmla="*/ 7260 w 9907"/>
                <a:gd name="connsiteY56" fmla="*/ 9630 h 10000"/>
                <a:gd name="connsiteX57" fmla="*/ 7448 w 9907"/>
                <a:gd name="connsiteY57" fmla="*/ 9440 h 10000"/>
                <a:gd name="connsiteX58" fmla="*/ 8249 w 9907"/>
                <a:gd name="connsiteY58" fmla="*/ 9431 h 10000"/>
                <a:gd name="connsiteX59" fmla="*/ 8424 w 9907"/>
                <a:gd name="connsiteY59" fmla="*/ 9355 h 10000"/>
                <a:gd name="connsiteX60" fmla="*/ 8411 w 9907"/>
                <a:gd name="connsiteY60" fmla="*/ 9260 h 10000"/>
                <a:gd name="connsiteX61" fmla="*/ 8357 w 9907"/>
                <a:gd name="connsiteY61" fmla="*/ 9051 h 10000"/>
                <a:gd name="connsiteX62" fmla="*/ 8023 w 9907"/>
                <a:gd name="connsiteY62" fmla="*/ 8985 h 10000"/>
                <a:gd name="connsiteX63" fmla="*/ 7862 w 9907"/>
                <a:gd name="connsiteY63" fmla="*/ 8653 h 10000"/>
                <a:gd name="connsiteX64" fmla="*/ 7768 w 9907"/>
                <a:gd name="connsiteY64" fmla="*/ 8615 h 10000"/>
                <a:gd name="connsiteX65" fmla="*/ 7743 w 9907"/>
                <a:gd name="connsiteY65" fmla="*/ 8378 h 10000"/>
                <a:gd name="connsiteX66" fmla="*/ 7622 w 9907"/>
                <a:gd name="connsiteY66" fmla="*/ 8368 h 10000"/>
                <a:gd name="connsiteX67" fmla="*/ 7581 w 9907"/>
                <a:gd name="connsiteY67" fmla="*/ 8245 h 10000"/>
                <a:gd name="connsiteX68" fmla="*/ 7381 w 9907"/>
                <a:gd name="connsiteY68" fmla="*/ 8216 h 10000"/>
                <a:gd name="connsiteX69" fmla="*/ 7313 w 9907"/>
                <a:gd name="connsiteY69" fmla="*/ 8027 h 10000"/>
                <a:gd name="connsiteX70" fmla="*/ 6980 w 9907"/>
                <a:gd name="connsiteY70" fmla="*/ 7846 h 10000"/>
                <a:gd name="connsiteX71" fmla="*/ 6619 w 9907"/>
                <a:gd name="connsiteY71" fmla="*/ 7818 h 10000"/>
                <a:gd name="connsiteX72" fmla="*/ 6714 w 9907"/>
                <a:gd name="connsiteY72" fmla="*/ 7609 h 10000"/>
                <a:gd name="connsiteX73" fmla="*/ 6688 w 9907"/>
                <a:gd name="connsiteY73" fmla="*/ 7457 h 10000"/>
                <a:gd name="connsiteX74" fmla="*/ 6994 w 9907"/>
                <a:gd name="connsiteY74" fmla="*/ 7467 h 10000"/>
                <a:gd name="connsiteX75" fmla="*/ 7060 w 9907"/>
                <a:gd name="connsiteY75" fmla="*/ 7514 h 10000"/>
                <a:gd name="connsiteX76" fmla="*/ 7247 w 9907"/>
                <a:gd name="connsiteY76" fmla="*/ 7419 h 10000"/>
                <a:gd name="connsiteX77" fmla="*/ 7300 w 9907"/>
                <a:gd name="connsiteY77" fmla="*/ 7078 h 10000"/>
                <a:gd name="connsiteX78" fmla="*/ 7221 w 9907"/>
                <a:gd name="connsiteY78" fmla="*/ 6822 h 10000"/>
                <a:gd name="connsiteX79" fmla="*/ 7448 w 9907"/>
                <a:gd name="connsiteY79" fmla="*/ 6613 h 10000"/>
                <a:gd name="connsiteX80" fmla="*/ 7381 w 9907"/>
                <a:gd name="connsiteY80" fmla="*/ 6414 h 10000"/>
                <a:gd name="connsiteX81" fmla="*/ 7528 w 9907"/>
                <a:gd name="connsiteY81" fmla="*/ 6224 h 10000"/>
                <a:gd name="connsiteX82" fmla="*/ 7622 w 9907"/>
                <a:gd name="connsiteY82" fmla="*/ 6328 h 10000"/>
                <a:gd name="connsiteX83" fmla="*/ 7781 w 9907"/>
                <a:gd name="connsiteY83" fmla="*/ 6281 h 10000"/>
                <a:gd name="connsiteX84" fmla="*/ 7768 w 9907"/>
                <a:gd name="connsiteY84" fmla="*/ 5987 h 10000"/>
                <a:gd name="connsiteX85" fmla="*/ 7862 w 9907"/>
                <a:gd name="connsiteY85" fmla="*/ 5882 h 10000"/>
                <a:gd name="connsiteX86" fmla="*/ 7835 w 9907"/>
                <a:gd name="connsiteY86" fmla="*/ 5740 h 10000"/>
                <a:gd name="connsiteX87" fmla="*/ 8049 w 9907"/>
                <a:gd name="connsiteY87" fmla="*/ 5655 h 10000"/>
                <a:gd name="connsiteX88" fmla="*/ 8062 w 9907"/>
                <a:gd name="connsiteY88" fmla="*/ 5465 h 10000"/>
                <a:gd name="connsiteX89" fmla="*/ 8223 w 9907"/>
                <a:gd name="connsiteY89" fmla="*/ 5285 h 10000"/>
                <a:gd name="connsiteX90" fmla="*/ 8515 w 9907"/>
                <a:gd name="connsiteY90" fmla="*/ 5266 h 10000"/>
                <a:gd name="connsiteX91" fmla="*/ 8490 w 9907"/>
                <a:gd name="connsiteY91" fmla="*/ 5019 h 10000"/>
                <a:gd name="connsiteX92" fmla="*/ 8705 w 9907"/>
                <a:gd name="connsiteY92" fmla="*/ 4753 h 10000"/>
                <a:gd name="connsiteX93" fmla="*/ 8705 w 9907"/>
                <a:gd name="connsiteY93" fmla="*/ 4469 h 10000"/>
                <a:gd name="connsiteX94" fmla="*/ 8678 w 9907"/>
                <a:gd name="connsiteY94" fmla="*/ 4156 h 10000"/>
                <a:gd name="connsiteX95" fmla="*/ 8611 w 9907"/>
                <a:gd name="connsiteY95" fmla="*/ 4061 h 10000"/>
                <a:gd name="connsiteX96" fmla="*/ 8770 w 9907"/>
                <a:gd name="connsiteY96" fmla="*/ 3928 h 10000"/>
                <a:gd name="connsiteX97" fmla="*/ 8783 w 9907"/>
                <a:gd name="connsiteY97" fmla="*/ 3767 h 10000"/>
                <a:gd name="connsiteX98" fmla="*/ 8946 w 9907"/>
                <a:gd name="connsiteY98" fmla="*/ 3577 h 10000"/>
                <a:gd name="connsiteX99" fmla="*/ 8864 w 9907"/>
                <a:gd name="connsiteY99" fmla="*/ 3283 h 10000"/>
                <a:gd name="connsiteX100" fmla="*/ 9011 w 9907"/>
                <a:gd name="connsiteY100" fmla="*/ 3207 h 10000"/>
                <a:gd name="connsiteX101" fmla="*/ 9011 w 9907"/>
                <a:gd name="connsiteY101" fmla="*/ 3112 h 10000"/>
                <a:gd name="connsiteX102" fmla="*/ 9264 w 9907"/>
                <a:gd name="connsiteY102" fmla="*/ 3046 h 10000"/>
                <a:gd name="connsiteX103" fmla="*/ 9278 w 9907"/>
                <a:gd name="connsiteY103" fmla="*/ 2903 h 10000"/>
                <a:gd name="connsiteX104" fmla="*/ 9760 w 9907"/>
                <a:gd name="connsiteY104" fmla="*/ 2808 h 10000"/>
                <a:gd name="connsiteX105" fmla="*/ 9907 w 9907"/>
                <a:gd name="connsiteY105" fmla="*/ 2571 h 10000"/>
                <a:gd name="connsiteX106" fmla="*/ 9573 w 9907"/>
                <a:gd name="connsiteY106" fmla="*/ 2429 h 10000"/>
                <a:gd name="connsiteX107" fmla="*/ 9454 w 9907"/>
                <a:gd name="connsiteY107" fmla="*/ 2239 h 10000"/>
                <a:gd name="connsiteX108" fmla="*/ 9119 w 9907"/>
                <a:gd name="connsiteY108" fmla="*/ 2163 h 10000"/>
                <a:gd name="connsiteX109" fmla="*/ 9053 w 9907"/>
                <a:gd name="connsiteY109" fmla="*/ 1670 h 10000"/>
                <a:gd name="connsiteX110" fmla="*/ 8959 w 9907"/>
                <a:gd name="connsiteY110" fmla="*/ 1651 h 10000"/>
                <a:gd name="connsiteX111" fmla="*/ 8931 w 9907"/>
                <a:gd name="connsiteY111" fmla="*/ 1205 h 10000"/>
                <a:gd name="connsiteX112" fmla="*/ 8864 w 9907"/>
                <a:gd name="connsiteY112" fmla="*/ 1053 h 10000"/>
                <a:gd name="connsiteX113" fmla="*/ 9024 w 9907"/>
                <a:gd name="connsiteY113" fmla="*/ 1025 h 10000"/>
                <a:gd name="connsiteX114" fmla="*/ 8770 w 9907"/>
                <a:gd name="connsiteY114" fmla="*/ 797 h 10000"/>
                <a:gd name="connsiteX115" fmla="*/ 8730 w 9907"/>
                <a:gd name="connsiteY115" fmla="*/ 503 h 10000"/>
                <a:gd name="connsiteX116" fmla="*/ 8476 w 9907"/>
                <a:gd name="connsiteY116" fmla="*/ 370 h 10000"/>
                <a:gd name="connsiteX117" fmla="*/ 8303 w 9907"/>
                <a:gd name="connsiteY117" fmla="*/ 218 h 10000"/>
                <a:gd name="connsiteX118" fmla="*/ 8156 w 9907"/>
                <a:gd name="connsiteY118" fmla="*/ 209 h 10000"/>
                <a:gd name="connsiteX119" fmla="*/ 7943 w 9907"/>
                <a:gd name="connsiteY119" fmla="*/ 0 h 10000"/>
                <a:gd name="connsiteX120" fmla="*/ 7727 w 9907"/>
                <a:gd name="connsiteY120" fmla="*/ 142 h 10000"/>
                <a:gd name="connsiteX121" fmla="*/ 7502 w 9907"/>
                <a:gd name="connsiteY121" fmla="*/ 152 h 10000"/>
                <a:gd name="connsiteX0" fmla="*/ 7501 w 9929"/>
                <a:gd name="connsiteY0" fmla="*/ 152 h 10000"/>
                <a:gd name="connsiteX1" fmla="*/ 7366 w 9929"/>
                <a:gd name="connsiteY1" fmla="*/ 408 h 10000"/>
                <a:gd name="connsiteX2" fmla="*/ 7068 w 9929"/>
                <a:gd name="connsiteY2" fmla="*/ 436 h 10000"/>
                <a:gd name="connsiteX3" fmla="*/ 6772 w 9929"/>
                <a:gd name="connsiteY3" fmla="*/ 731 h 10000"/>
                <a:gd name="connsiteX4" fmla="*/ 6436 w 9929"/>
                <a:gd name="connsiteY4" fmla="*/ 560 h 10000"/>
                <a:gd name="connsiteX5" fmla="*/ 5370 w 9929"/>
                <a:gd name="connsiteY5" fmla="*/ 531 h 10000"/>
                <a:gd name="connsiteX6" fmla="*/ 5300 w 9929"/>
                <a:gd name="connsiteY6" fmla="*/ 455 h 10000"/>
                <a:gd name="connsiteX7" fmla="*/ 5181 w 9929"/>
                <a:gd name="connsiteY7" fmla="*/ 569 h 10000"/>
                <a:gd name="connsiteX8" fmla="*/ 1321 w 9929"/>
                <a:gd name="connsiteY8" fmla="*/ 531 h 10000"/>
                <a:gd name="connsiteX9" fmla="*/ 1335 w 9929"/>
                <a:gd name="connsiteY9" fmla="*/ 1556 h 10000"/>
                <a:gd name="connsiteX10" fmla="*/ 687 w 9929"/>
                <a:gd name="connsiteY10" fmla="*/ 1565 h 10000"/>
                <a:gd name="connsiteX11" fmla="*/ 755 w 9929"/>
                <a:gd name="connsiteY11" fmla="*/ 3776 h 10000"/>
                <a:gd name="connsiteX12" fmla="*/ 148 w 9929"/>
                <a:gd name="connsiteY12" fmla="*/ 3767 h 10000"/>
                <a:gd name="connsiteX13" fmla="*/ 120 w 9929"/>
                <a:gd name="connsiteY13" fmla="*/ 3985 h 10000"/>
                <a:gd name="connsiteX14" fmla="*/ 1210 w 9929"/>
                <a:gd name="connsiteY14" fmla="*/ 6588 h 10000"/>
                <a:gd name="connsiteX15" fmla="*/ 648 w 9929"/>
                <a:gd name="connsiteY15" fmla="*/ 6774 h 10000"/>
                <a:gd name="connsiteX16" fmla="*/ 486 w 9929"/>
                <a:gd name="connsiteY16" fmla="*/ 7144 h 10000"/>
                <a:gd name="connsiteX17" fmla="*/ 594 w 9929"/>
                <a:gd name="connsiteY17" fmla="*/ 7211 h 10000"/>
                <a:gd name="connsiteX18" fmla="*/ 513 w 9929"/>
                <a:gd name="connsiteY18" fmla="*/ 7315 h 10000"/>
                <a:gd name="connsiteX19" fmla="*/ 973 w 9929"/>
                <a:gd name="connsiteY19" fmla="*/ 7343 h 10000"/>
                <a:gd name="connsiteX20" fmla="*/ 973 w 9929"/>
                <a:gd name="connsiteY20" fmla="*/ 7410 h 10000"/>
                <a:gd name="connsiteX21" fmla="*/ 958 w 9929"/>
                <a:gd name="connsiteY21" fmla="*/ 7562 h 10000"/>
                <a:gd name="connsiteX22" fmla="*/ 1443 w 9929"/>
                <a:gd name="connsiteY22" fmla="*/ 7619 h 10000"/>
                <a:gd name="connsiteX23" fmla="*/ 1443 w 9929"/>
                <a:gd name="connsiteY23" fmla="*/ 7742 h 10000"/>
                <a:gd name="connsiteX24" fmla="*/ 1700 w 9929"/>
                <a:gd name="connsiteY24" fmla="*/ 7837 h 10000"/>
                <a:gd name="connsiteX25" fmla="*/ 1619 w 9929"/>
                <a:gd name="connsiteY25" fmla="*/ 7979 h 10000"/>
                <a:gd name="connsiteX26" fmla="*/ 1982 w 9929"/>
                <a:gd name="connsiteY26" fmla="*/ 8102 h 10000"/>
                <a:gd name="connsiteX27" fmla="*/ 2199 w 9929"/>
                <a:gd name="connsiteY27" fmla="*/ 8330 h 10000"/>
                <a:gd name="connsiteX28" fmla="*/ 2401 w 9929"/>
                <a:gd name="connsiteY28" fmla="*/ 8416 h 10000"/>
                <a:gd name="connsiteX29" fmla="*/ 2320 w 9929"/>
                <a:gd name="connsiteY29" fmla="*/ 8491 h 10000"/>
                <a:gd name="connsiteX30" fmla="*/ 2428 w 9929"/>
                <a:gd name="connsiteY30" fmla="*/ 8577 h 10000"/>
                <a:gd name="connsiteX31" fmla="*/ 2414 w 9929"/>
                <a:gd name="connsiteY31" fmla="*/ 8700 h 10000"/>
                <a:gd name="connsiteX32" fmla="*/ 2618 w 9929"/>
                <a:gd name="connsiteY32" fmla="*/ 8710 h 10000"/>
                <a:gd name="connsiteX33" fmla="*/ 2847 w 9929"/>
                <a:gd name="connsiteY33" fmla="*/ 8843 h 10000"/>
                <a:gd name="connsiteX34" fmla="*/ 2901 w 9929"/>
                <a:gd name="connsiteY34" fmla="*/ 9051 h 10000"/>
                <a:gd name="connsiteX35" fmla="*/ 2953 w 9929"/>
                <a:gd name="connsiteY35" fmla="*/ 9127 h 10000"/>
                <a:gd name="connsiteX36" fmla="*/ 3239 w 9929"/>
                <a:gd name="connsiteY36" fmla="*/ 9307 h 10000"/>
                <a:gd name="connsiteX37" fmla="*/ 3239 w 9929"/>
                <a:gd name="connsiteY37" fmla="*/ 9440 h 10000"/>
                <a:gd name="connsiteX38" fmla="*/ 3657 w 9929"/>
                <a:gd name="connsiteY38" fmla="*/ 9583 h 10000"/>
                <a:gd name="connsiteX39" fmla="*/ 3885 w 9929"/>
                <a:gd name="connsiteY39" fmla="*/ 9431 h 10000"/>
                <a:gd name="connsiteX40" fmla="*/ 4169 w 9929"/>
                <a:gd name="connsiteY40" fmla="*/ 9545 h 10000"/>
                <a:gd name="connsiteX41" fmla="*/ 4397 w 9929"/>
                <a:gd name="connsiteY41" fmla="*/ 9374 h 10000"/>
                <a:gd name="connsiteX42" fmla="*/ 4654 w 9929"/>
                <a:gd name="connsiteY42" fmla="*/ 9649 h 10000"/>
                <a:gd name="connsiteX43" fmla="*/ 5018 w 9929"/>
                <a:gd name="connsiteY43" fmla="*/ 9801 h 10000"/>
                <a:gd name="connsiteX44" fmla="*/ 5058 w 9929"/>
                <a:gd name="connsiteY44" fmla="*/ 9934 h 10000"/>
                <a:gd name="connsiteX45" fmla="*/ 5207 w 9929"/>
                <a:gd name="connsiteY45" fmla="*/ 9953 h 10000"/>
                <a:gd name="connsiteX46" fmla="*/ 5422 w 9929"/>
                <a:gd name="connsiteY46" fmla="*/ 9829 h 10000"/>
                <a:gd name="connsiteX47" fmla="*/ 5694 w 9929"/>
                <a:gd name="connsiteY47" fmla="*/ 9905 h 10000"/>
                <a:gd name="connsiteX48" fmla="*/ 5787 w 9929"/>
                <a:gd name="connsiteY48" fmla="*/ 9839 h 10000"/>
                <a:gd name="connsiteX49" fmla="*/ 5883 w 9929"/>
                <a:gd name="connsiteY49" fmla="*/ 9829 h 10000"/>
                <a:gd name="connsiteX50" fmla="*/ 6070 w 9929"/>
                <a:gd name="connsiteY50" fmla="*/ 10000 h 10000"/>
                <a:gd name="connsiteX51" fmla="*/ 6246 w 9929"/>
                <a:gd name="connsiteY51" fmla="*/ 9858 h 10000"/>
                <a:gd name="connsiteX52" fmla="*/ 6462 w 9929"/>
                <a:gd name="connsiteY52" fmla="*/ 9867 h 10000"/>
                <a:gd name="connsiteX53" fmla="*/ 6624 w 9929"/>
                <a:gd name="connsiteY53" fmla="*/ 9791 h 10000"/>
                <a:gd name="connsiteX54" fmla="*/ 6854 w 9929"/>
                <a:gd name="connsiteY54" fmla="*/ 9867 h 10000"/>
                <a:gd name="connsiteX55" fmla="*/ 7150 w 9929"/>
                <a:gd name="connsiteY55" fmla="*/ 9630 h 10000"/>
                <a:gd name="connsiteX56" fmla="*/ 7257 w 9929"/>
                <a:gd name="connsiteY56" fmla="*/ 9630 h 10000"/>
                <a:gd name="connsiteX57" fmla="*/ 7447 w 9929"/>
                <a:gd name="connsiteY57" fmla="*/ 9440 h 10000"/>
                <a:gd name="connsiteX58" fmla="*/ 8255 w 9929"/>
                <a:gd name="connsiteY58" fmla="*/ 9431 h 10000"/>
                <a:gd name="connsiteX59" fmla="*/ 8432 w 9929"/>
                <a:gd name="connsiteY59" fmla="*/ 9355 h 10000"/>
                <a:gd name="connsiteX60" fmla="*/ 8419 w 9929"/>
                <a:gd name="connsiteY60" fmla="*/ 9260 h 10000"/>
                <a:gd name="connsiteX61" fmla="*/ 8364 w 9929"/>
                <a:gd name="connsiteY61" fmla="*/ 9051 h 10000"/>
                <a:gd name="connsiteX62" fmla="*/ 8027 w 9929"/>
                <a:gd name="connsiteY62" fmla="*/ 8985 h 10000"/>
                <a:gd name="connsiteX63" fmla="*/ 7865 w 9929"/>
                <a:gd name="connsiteY63" fmla="*/ 8653 h 10000"/>
                <a:gd name="connsiteX64" fmla="*/ 7770 w 9929"/>
                <a:gd name="connsiteY64" fmla="*/ 8615 h 10000"/>
                <a:gd name="connsiteX65" fmla="*/ 7745 w 9929"/>
                <a:gd name="connsiteY65" fmla="*/ 8378 h 10000"/>
                <a:gd name="connsiteX66" fmla="*/ 7623 w 9929"/>
                <a:gd name="connsiteY66" fmla="*/ 8368 h 10000"/>
                <a:gd name="connsiteX67" fmla="*/ 7581 w 9929"/>
                <a:gd name="connsiteY67" fmla="*/ 8245 h 10000"/>
                <a:gd name="connsiteX68" fmla="*/ 7379 w 9929"/>
                <a:gd name="connsiteY68" fmla="*/ 8216 h 10000"/>
                <a:gd name="connsiteX69" fmla="*/ 7311 w 9929"/>
                <a:gd name="connsiteY69" fmla="*/ 8027 h 10000"/>
                <a:gd name="connsiteX70" fmla="*/ 6975 w 9929"/>
                <a:gd name="connsiteY70" fmla="*/ 7846 h 10000"/>
                <a:gd name="connsiteX71" fmla="*/ 6610 w 9929"/>
                <a:gd name="connsiteY71" fmla="*/ 7818 h 10000"/>
                <a:gd name="connsiteX72" fmla="*/ 6706 w 9929"/>
                <a:gd name="connsiteY72" fmla="*/ 7609 h 10000"/>
                <a:gd name="connsiteX73" fmla="*/ 6680 w 9929"/>
                <a:gd name="connsiteY73" fmla="*/ 7457 h 10000"/>
                <a:gd name="connsiteX74" fmla="*/ 6989 w 9929"/>
                <a:gd name="connsiteY74" fmla="*/ 7467 h 10000"/>
                <a:gd name="connsiteX75" fmla="*/ 7055 w 9929"/>
                <a:gd name="connsiteY75" fmla="*/ 7514 h 10000"/>
                <a:gd name="connsiteX76" fmla="*/ 7244 w 9929"/>
                <a:gd name="connsiteY76" fmla="*/ 7419 h 10000"/>
                <a:gd name="connsiteX77" fmla="*/ 7298 w 9929"/>
                <a:gd name="connsiteY77" fmla="*/ 7078 h 10000"/>
                <a:gd name="connsiteX78" fmla="*/ 7218 w 9929"/>
                <a:gd name="connsiteY78" fmla="*/ 6822 h 10000"/>
                <a:gd name="connsiteX79" fmla="*/ 7447 w 9929"/>
                <a:gd name="connsiteY79" fmla="*/ 6613 h 10000"/>
                <a:gd name="connsiteX80" fmla="*/ 7379 w 9929"/>
                <a:gd name="connsiteY80" fmla="*/ 6414 h 10000"/>
                <a:gd name="connsiteX81" fmla="*/ 7528 w 9929"/>
                <a:gd name="connsiteY81" fmla="*/ 6224 h 10000"/>
                <a:gd name="connsiteX82" fmla="*/ 7623 w 9929"/>
                <a:gd name="connsiteY82" fmla="*/ 6328 h 10000"/>
                <a:gd name="connsiteX83" fmla="*/ 7783 w 9929"/>
                <a:gd name="connsiteY83" fmla="*/ 6281 h 10000"/>
                <a:gd name="connsiteX84" fmla="*/ 7770 w 9929"/>
                <a:gd name="connsiteY84" fmla="*/ 5987 h 10000"/>
                <a:gd name="connsiteX85" fmla="*/ 7865 w 9929"/>
                <a:gd name="connsiteY85" fmla="*/ 5882 h 10000"/>
                <a:gd name="connsiteX86" fmla="*/ 7838 w 9929"/>
                <a:gd name="connsiteY86" fmla="*/ 5740 h 10000"/>
                <a:gd name="connsiteX87" fmla="*/ 8054 w 9929"/>
                <a:gd name="connsiteY87" fmla="*/ 5655 h 10000"/>
                <a:gd name="connsiteX88" fmla="*/ 8067 w 9929"/>
                <a:gd name="connsiteY88" fmla="*/ 5465 h 10000"/>
                <a:gd name="connsiteX89" fmla="*/ 8229 w 9929"/>
                <a:gd name="connsiteY89" fmla="*/ 5285 h 10000"/>
                <a:gd name="connsiteX90" fmla="*/ 8524 w 9929"/>
                <a:gd name="connsiteY90" fmla="*/ 5266 h 10000"/>
                <a:gd name="connsiteX91" fmla="*/ 8499 w 9929"/>
                <a:gd name="connsiteY91" fmla="*/ 5019 h 10000"/>
                <a:gd name="connsiteX92" fmla="*/ 8716 w 9929"/>
                <a:gd name="connsiteY92" fmla="*/ 4753 h 10000"/>
                <a:gd name="connsiteX93" fmla="*/ 8716 w 9929"/>
                <a:gd name="connsiteY93" fmla="*/ 4469 h 10000"/>
                <a:gd name="connsiteX94" fmla="*/ 8688 w 9929"/>
                <a:gd name="connsiteY94" fmla="*/ 4156 h 10000"/>
                <a:gd name="connsiteX95" fmla="*/ 8621 w 9929"/>
                <a:gd name="connsiteY95" fmla="*/ 4061 h 10000"/>
                <a:gd name="connsiteX96" fmla="*/ 8781 w 9929"/>
                <a:gd name="connsiteY96" fmla="*/ 3928 h 10000"/>
                <a:gd name="connsiteX97" fmla="*/ 8794 w 9929"/>
                <a:gd name="connsiteY97" fmla="*/ 3767 h 10000"/>
                <a:gd name="connsiteX98" fmla="*/ 8959 w 9929"/>
                <a:gd name="connsiteY98" fmla="*/ 3577 h 10000"/>
                <a:gd name="connsiteX99" fmla="*/ 8876 w 9929"/>
                <a:gd name="connsiteY99" fmla="*/ 3283 h 10000"/>
                <a:gd name="connsiteX100" fmla="*/ 9025 w 9929"/>
                <a:gd name="connsiteY100" fmla="*/ 3207 h 10000"/>
                <a:gd name="connsiteX101" fmla="*/ 9025 w 9929"/>
                <a:gd name="connsiteY101" fmla="*/ 3112 h 10000"/>
                <a:gd name="connsiteX102" fmla="*/ 9280 w 9929"/>
                <a:gd name="connsiteY102" fmla="*/ 3046 h 10000"/>
                <a:gd name="connsiteX103" fmla="*/ 9294 w 9929"/>
                <a:gd name="connsiteY103" fmla="*/ 2903 h 10000"/>
                <a:gd name="connsiteX104" fmla="*/ 9781 w 9929"/>
                <a:gd name="connsiteY104" fmla="*/ 2808 h 10000"/>
                <a:gd name="connsiteX105" fmla="*/ 9929 w 9929"/>
                <a:gd name="connsiteY105" fmla="*/ 2571 h 10000"/>
                <a:gd name="connsiteX106" fmla="*/ 9592 w 9929"/>
                <a:gd name="connsiteY106" fmla="*/ 2429 h 10000"/>
                <a:gd name="connsiteX107" fmla="*/ 9472 w 9929"/>
                <a:gd name="connsiteY107" fmla="*/ 2239 h 10000"/>
                <a:gd name="connsiteX108" fmla="*/ 9134 w 9929"/>
                <a:gd name="connsiteY108" fmla="*/ 2163 h 10000"/>
                <a:gd name="connsiteX109" fmla="*/ 9067 w 9929"/>
                <a:gd name="connsiteY109" fmla="*/ 1670 h 10000"/>
                <a:gd name="connsiteX110" fmla="*/ 8972 w 9929"/>
                <a:gd name="connsiteY110" fmla="*/ 1651 h 10000"/>
                <a:gd name="connsiteX111" fmla="*/ 8944 w 9929"/>
                <a:gd name="connsiteY111" fmla="*/ 1205 h 10000"/>
                <a:gd name="connsiteX112" fmla="*/ 8876 w 9929"/>
                <a:gd name="connsiteY112" fmla="*/ 1053 h 10000"/>
                <a:gd name="connsiteX113" fmla="*/ 9038 w 9929"/>
                <a:gd name="connsiteY113" fmla="*/ 1025 h 10000"/>
                <a:gd name="connsiteX114" fmla="*/ 8781 w 9929"/>
                <a:gd name="connsiteY114" fmla="*/ 797 h 10000"/>
                <a:gd name="connsiteX115" fmla="*/ 8741 w 9929"/>
                <a:gd name="connsiteY115" fmla="*/ 503 h 10000"/>
                <a:gd name="connsiteX116" fmla="*/ 8485 w 9929"/>
                <a:gd name="connsiteY116" fmla="*/ 370 h 10000"/>
                <a:gd name="connsiteX117" fmla="*/ 8310 w 9929"/>
                <a:gd name="connsiteY117" fmla="*/ 218 h 10000"/>
                <a:gd name="connsiteX118" fmla="*/ 8162 w 9929"/>
                <a:gd name="connsiteY118" fmla="*/ 209 h 10000"/>
                <a:gd name="connsiteX119" fmla="*/ 7947 w 9929"/>
                <a:gd name="connsiteY119" fmla="*/ 0 h 10000"/>
                <a:gd name="connsiteX120" fmla="*/ 7729 w 9929"/>
                <a:gd name="connsiteY120" fmla="*/ 142 h 10000"/>
                <a:gd name="connsiteX121" fmla="*/ 7501 w 9929"/>
                <a:gd name="connsiteY121" fmla="*/ 152 h 10000"/>
                <a:gd name="connsiteX0" fmla="*/ 7529 w 9974"/>
                <a:gd name="connsiteY0" fmla="*/ 152 h 10000"/>
                <a:gd name="connsiteX1" fmla="*/ 7393 w 9974"/>
                <a:gd name="connsiteY1" fmla="*/ 408 h 10000"/>
                <a:gd name="connsiteX2" fmla="*/ 7093 w 9974"/>
                <a:gd name="connsiteY2" fmla="*/ 436 h 10000"/>
                <a:gd name="connsiteX3" fmla="*/ 6794 w 9974"/>
                <a:gd name="connsiteY3" fmla="*/ 731 h 10000"/>
                <a:gd name="connsiteX4" fmla="*/ 6456 w 9974"/>
                <a:gd name="connsiteY4" fmla="*/ 560 h 10000"/>
                <a:gd name="connsiteX5" fmla="*/ 5382 w 9974"/>
                <a:gd name="connsiteY5" fmla="*/ 531 h 10000"/>
                <a:gd name="connsiteX6" fmla="*/ 5312 w 9974"/>
                <a:gd name="connsiteY6" fmla="*/ 455 h 10000"/>
                <a:gd name="connsiteX7" fmla="*/ 5192 w 9974"/>
                <a:gd name="connsiteY7" fmla="*/ 569 h 10000"/>
                <a:gd name="connsiteX8" fmla="*/ 1304 w 9974"/>
                <a:gd name="connsiteY8" fmla="*/ 531 h 10000"/>
                <a:gd name="connsiteX9" fmla="*/ 1319 w 9974"/>
                <a:gd name="connsiteY9" fmla="*/ 1556 h 10000"/>
                <a:gd name="connsiteX10" fmla="*/ 666 w 9974"/>
                <a:gd name="connsiteY10" fmla="*/ 1565 h 10000"/>
                <a:gd name="connsiteX11" fmla="*/ 123 w 9974"/>
                <a:gd name="connsiteY11" fmla="*/ 3767 h 10000"/>
                <a:gd name="connsiteX12" fmla="*/ 95 w 9974"/>
                <a:gd name="connsiteY12" fmla="*/ 3985 h 10000"/>
                <a:gd name="connsiteX13" fmla="*/ 1193 w 9974"/>
                <a:gd name="connsiteY13" fmla="*/ 6588 h 10000"/>
                <a:gd name="connsiteX14" fmla="*/ 627 w 9974"/>
                <a:gd name="connsiteY14" fmla="*/ 6774 h 10000"/>
                <a:gd name="connsiteX15" fmla="*/ 463 w 9974"/>
                <a:gd name="connsiteY15" fmla="*/ 7144 h 10000"/>
                <a:gd name="connsiteX16" fmla="*/ 572 w 9974"/>
                <a:gd name="connsiteY16" fmla="*/ 7211 h 10000"/>
                <a:gd name="connsiteX17" fmla="*/ 491 w 9974"/>
                <a:gd name="connsiteY17" fmla="*/ 7315 h 10000"/>
                <a:gd name="connsiteX18" fmla="*/ 954 w 9974"/>
                <a:gd name="connsiteY18" fmla="*/ 7343 h 10000"/>
                <a:gd name="connsiteX19" fmla="*/ 954 w 9974"/>
                <a:gd name="connsiteY19" fmla="*/ 7410 h 10000"/>
                <a:gd name="connsiteX20" fmla="*/ 939 w 9974"/>
                <a:gd name="connsiteY20" fmla="*/ 7562 h 10000"/>
                <a:gd name="connsiteX21" fmla="*/ 1427 w 9974"/>
                <a:gd name="connsiteY21" fmla="*/ 7619 h 10000"/>
                <a:gd name="connsiteX22" fmla="*/ 1427 w 9974"/>
                <a:gd name="connsiteY22" fmla="*/ 7742 h 10000"/>
                <a:gd name="connsiteX23" fmla="*/ 1686 w 9974"/>
                <a:gd name="connsiteY23" fmla="*/ 7837 h 10000"/>
                <a:gd name="connsiteX24" fmla="*/ 1605 w 9974"/>
                <a:gd name="connsiteY24" fmla="*/ 7979 h 10000"/>
                <a:gd name="connsiteX25" fmla="*/ 1970 w 9974"/>
                <a:gd name="connsiteY25" fmla="*/ 8102 h 10000"/>
                <a:gd name="connsiteX26" fmla="*/ 2189 w 9974"/>
                <a:gd name="connsiteY26" fmla="*/ 8330 h 10000"/>
                <a:gd name="connsiteX27" fmla="*/ 2392 w 9974"/>
                <a:gd name="connsiteY27" fmla="*/ 8416 h 10000"/>
                <a:gd name="connsiteX28" fmla="*/ 2311 w 9974"/>
                <a:gd name="connsiteY28" fmla="*/ 8491 h 10000"/>
                <a:gd name="connsiteX29" fmla="*/ 2419 w 9974"/>
                <a:gd name="connsiteY29" fmla="*/ 8577 h 10000"/>
                <a:gd name="connsiteX30" fmla="*/ 2405 w 9974"/>
                <a:gd name="connsiteY30" fmla="*/ 8700 h 10000"/>
                <a:gd name="connsiteX31" fmla="*/ 2611 w 9974"/>
                <a:gd name="connsiteY31" fmla="*/ 8710 h 10000"/>
                <a:gd name="connsiteX32" fmla="*/ 2841 w 9974"/>
                <a:gd name="connsiteY32" fmla="*/ 8843 h 10000"/>
                <a:gd name="connsiteX33" fmla="*/ 2896 w 9974"/>
                <a:gd name="connsiteY33" fmla="*/ 9051 h 10000"/>
                <a:gd name="connsiteX34" fmla="*/ 2948 w 9974"/>
                <a:gd name="connsiteY34" fmla="*/ 9127 h 10000"/>
                <a:gd name="connsiteX35" fmla="*/ 3236 w 9974"/>
                <a:gd name="connsiteY35" fmla="*/ 9307 h 10000"/>
                <a:gd name="connsiteX36" fmla="*/ 3236 w 9974"/>
                <a:gd name="connsiteY36" fmla="*/ 9440 h 10000"/>
                <a:gd name="connsiteX37" fmla="*/ 3657 w 9974"/>
                <a:gd name="connsiteY37" fmla="*/ 9583 h 10000"/>
                <a:gd name="connsiteX38" fmla="*/ 3887 w 9974"/>
                <a:gd name="connsiteY38" fmla="*/ 9431 h 10000"/>
                <a:gd name="connsiteX39" fmla="*/ 4173 w 9974"/>
                <a:gd name="connsiteY39" fmla="*/ 9545 h 10000"/>
                <a:gd name="connsiteX40" fmla="*/ 4402 w 9974"/>
                <a:gd name="connsiteY40" fmla="*/ 9374 h 10000"/>
                <a:gd name="connsiteX41" fmla="*/ 4661 w 9974"/>
                <a:gd name="connsiteY41" fmla="*/ 9649 h 10000"/>
                <a:gd name="connsiteX42" fmla="*/ 5028 w 9974"/>
                <a:gd name="connsiteY42" fmla="*/ 9801 h 10000"/>
                <a:gd name="connsiteX43" fmla="*/ 5068 w 9974"/>
                <a:gd name="connsiteY43" fmla="*/ 9934 h 10000"/>
                <a:gd name="connsiteX44" fmla="*/ 5218 w 9974"/>
                <a:gd name="connsiteY44" fmla="*/ 9953 h 10000"/>
                <a:gd name="connsiteX45" fmla="*/ 5435 w 9974"/>
                <a:gd name="connsiteY45" fmla="*/ 9829 h 10000"/>
                <a:gd name="connsiteX46" fmla="*/ 5709 w 9974"/>
                <a:gd name="connsiteY46" fmla="*/ 9905 h 10000"/>
                <a:gd name="connsiteX47" fmla="*/ 5802 w 9974"/>
                <a:gd name="connsiteY47" fmla="*/ 9839 h 10000"/>
                <a:gd name="connsiteX48" fmla="*/ 5899 w 9974"/>
                <a:gd name="connsiteY48" fmla="*/ 9829 h 10000"/>
                <a:gd name="connsiteX49" fmla="*/ 6087 w 9974"/>
                <a:gd name="connsiteY49" fmla="*/ 10000 h 10000"/>
                <a:gd name="connsiteX50" fmla="*/ 6265 w 9974"/>
                <a:gd name="connsiteY50" fmla="*/ 9858 h 10000"/>
                <a:gd name="connsiteX51" fmla="*/ 6482 w 9974"/>
                <a:gd name="connsiteY51" fmla="*/ 9867 h 10000"/>
                <a:gd name="connsiteX52" fmla="*/ 6645 w 9974"/>
                <a:gd name="connsiteY52" fmla="*/ 9791 h 10000"/>
                <a:gd name="connsiteX53" fmla="*/ 6877 w 9974"/>
                <a:gd name="connsiteY53" fmla="*/ 9867 h 10000"/>
                <a:gd name="connsiteX54" fmla="*/ 7175 w 9974"/>
                <a:gd name="connsiteY54" fmla="*/ 9630 h 10000"/>
                <a:gd name="connsiteX55" fmla="*/ 7283 w 9974"/>
                <a:gd name="connsiteY55" fmla="*/ 9630 h 10000"/>
                <a:gd name="connsiteX56" fmla="*/ 7474 w 9974"/>
                <a:gd name="connsiteY56" fmla="*/ 9440 h 10000"/>
                <a:gd name="connsiteX57" fmla="*/ 8288 w 9974"/>
                <a:gd name="connsiteY57" fmla="*/ 9431 h 10000"/>
                <a:gd name="connsiteX58" fmla="*/ 8466 w 9974"/>
                <a:gd name="connsiteY58" fmla="*/ 9355 h 10000"/>
                <a:gd name="connsiteX59" fmla="*/ 8453 w 9974"/>
                <a:gd name="connsiteY59" fmla="*/ 9260 h 10000"/>
                <a:gd name="connsiteX60" fmla="*/ 8398 w 9974"/>
                <a:gd name="connsiteY60" fmla="*/ 9051 h 10000"/>
                <a:gd name="connsiteX61" fmla="*/ 8058 w 9974"/>
                <a:gd name="connsiteY61" fmla="*/ 8985 h 10000"/>
                <a:gd name="connsiteX62" fmla="*/ 7895 w 9974"/>
                <a:gd name="connsiteY62" fmla="*/ 8653 h 10000"/>
                <a:gd name="connsiteX63" fmla="*/ 7800 w 9974"/>
                <a:gd name="connsiteY63" fmla="*/ 8615 h 10000"/>
                <a:gd name="connsiteX64" fmla="*/ 7774 w 9974"/>
                <a:gd name="connsiteY64" fmla="*/ 8378 h 10000"/>
                <a:gd name="connsiteX65" fmla="*/ 7652 w 9974"/>
                <a:gd name="connsiteY65" fmla="*/ 8368 h 10000"/>
                <a:gd name="connsiteX66" fmla="*/ 7609 w 9974"/>
                <a:gd name="connsiteY66" fmla="*/ 8245 h 10000"/>
                <a:gd name="connsiteX67" fmla="*/ 7406 w 9974"/>
                <a:gd name="connsiteY67" fmla="*/ 8216 h 10000"/>
                <a:gd name="connsiteX68" fmla="*/ 7337 w 9974"/>
                <a:gd name="connsiteY68" fmla="*/ 8027 h 10000"/>
                <a:gd name="connsiteX69" fmla="*/ 6999 w 9974"/>
                <a:gd name="connsiteY69" fmla="*/ 7846 h 10000"/>
                <a:gd name="connsiteX70" fmla="*/ 6631 w 9974"/>
                <a:gd name="connsiteY70" fmla="*/ 7818 h 10000"/>
                <a:gd name="connsiteX71" fmla="*/ 6728 w 9974"/>
                <a:gd name="connsiteY71" fmla="*/ 7609 h 10000"/>
                <a:gd name="connsiteX72" fmla="*/ 6702 w 9974"/>
                <a:gd name="connsiteY72" fmla="*/ 7457 h 10000"/>
                <a:gd name="connsiteX73" fmla="*/ 7013 w 9974"/>
                <a:gd name="connsiteY73" fmla="*/ 7467 h 10000"/>
                <a:gd name="connsiteX74" fmla="*/ 7079 w 9974"/>
                <a:gd name="connsiteY74" fmla="*/ 7514 h 10000"/>
                <a:gd name="connsiteX75" fmla="*/ 7270 w 9974"/>
                <a:gd name="connsiteY75" fmla="*/ 7419 h 10000"/>
                <a:gd name="connsiteX76" fmla="*/ 7324 w 9974"/>
                <a:gd name="connsiteY76" fmla="*/ 7078 h 10000"/>
                <a:gd name="connsiteX77" fmla="*/ 7244 w 9974"/>
                <a:gd name="connsiteY77" fmla="*/ 6822 h 10000"/>
                <a:gd name="connsiteX78" fmla="*/ 7474 w 9974"/>
                <a:gd name="connsiteY78" fmla="*/ 6613 h 10000"/>
                <a:gd name="connsiteX79" fmla="*/ 7406 w 9974"/>
                <a:gd name="connsiteY79" fmla="*/ 6414 h 10000"/>
                <a:gd name="connsiteX80" fmla="*/ 7556 w 9974"/>
                <a:gd name="connsiteY80" fmla="*/ 6224 h 10000"/>
                <a:gd name="connsiteX81" fmla="*/ 7652 w 9974"/>
                <a:gd name="connsiteY81" fmla="*/ 6328 h 10000"/>
                <a:gd name="connsiteX82" fmla="*/ 7813 w 9974"/>
                <a:gd name="connsiteY82" fmla="*/ 6281 h 10000"/>
                <a:gd name="connsiteX83" fmla="*/ 7800 w 9974"/>
                <a:gd name="connsiteY83" fmla="*/ 5987 h 10000"/>
                <a:gd name="connsiteX84" fmla="*/ 7895 w 9974"/>
                <a:gd name="connsiteY84" fmla="*/ 5882 h 10000"/>
                <a:gd name="connsiteX85" fmla="*/ 7868 w 9974"/>
                <a:gd name="connsiteY85" fmla="*/ 5740 h 10000"/>
                <a:gd name="connsiteX86" fmla="*/ 8086 w 9974"/>
                <a:gd name="connsiteY86" fmla="*/ 5655 h 10000"/>
                <a:gd name="connsiteX87" fmla="*/ 8099 w 9974"/>
                <a:gd name="connsiteY87" fmla="*/ 5465 h 10000"/>
                <a:gd name="connsiteX88" fmla="*/ 8262 w 9974"/>
                <a:gd name="connsiteY88" fmla="*/ 5285 h 10000"/>
                <a:gd name="connsiteX89" fmla="*/ 8559 w 9974"/>
                <a:gd name="connsiteY89" fmla="*/ 5266 h 10000"/>
                <a:gd name="connsiteX90" fmla="*/ 8534 w 9974"/>
                <a:gd name="connsiteY90" fmla="*/ 5019 h 10000"/>
                <a:gd name="connsiteX91" fmla="*/ 8752 w 9974"/>
                <a:gd name="connsiteY91" fmla="*/ 4753 h 10000"/>
                <a:gd name="connsiteX92" fmla="*/ 8752 w 9974"/>
                <a:gd name="connsiteY92" fmla="*/ 4469 h 10000"/>
                <a:gd name="connsiteX93" fmla="*/ 8724 w 9974"/>
                <a:gd name="connsiteY93" fmla="*/ 4156 h 10000"/>
                <a:gd name="connsiteX94" fmla="*/ 8657 w 9974"/>
                <a:gd name="connsiteY94" fmla="*/ 4061 h 10000"/>
                <a:gd name="connsiteX95" fmla="*/ 8818 w 9974"/>
                <a:gd name="connsiteY95" fmla="*/ 3928 h 10000"/>
                <a:gd name="connsiteX96" fmla="*/ 8831 w 9974"/>
                <a:gd name="connsiteY96" fmla="*/ 3767 h 10000"/>
                <a:gd name="connsiteX97" fmla="*/ 8997 w 9974"/>
                <a:gd name="connsiteY97" fmla="*/ 3577 h 10000"/>
                <a:gd name="connsiteX98" fmla="*/ 8913 w 9974"/>
                <a:gd name="connsiteY98" fmla="*/ 3283 h 10000"/>
                <a:gd name="connsiteX99" fmla="*/ 9064 w 9974"/>
                <a:gd name="connsiteY99" fmla="*/ 3207 h 10000"/>
                <a:gd name="connsiteX100" fmla="*/ 9064 w 9974"/>
                <a:gd name="connsiteY100" fmla="*/ 3112 h 10000"/>
                <a:gd name="connsiteX101" fmla="*/ 9320 w 9974"/>
                <a:gd name="connsiteY101" fmla="*/ 3046 h 10000"/>
                <a:gd name="connsiteX102" fmla="*/ 9334 w 9974"/>
                <a:gd name="connsiteY102" fmla="*/ 2903 h 10000"/>
                <a:gd name="connsiteX103" fmla="*/ 9825 w 9974"/>
                <a:gd name="connsiteY103" fmla="*/ 2808 h 10000"/>
                <a:gd name="connsiteX104" fmla="*/ 9974 w 9974"/>
                <a:gd name="connsiteY104" fmla="*/ 2571 h 10000"/>
                <a:gd name="connsiteX105" fmla="*/ 9635 w 9974"/>
                <a:gd name="connsiteY105" fmla="*/ 2429 h 10000"/>
                <a:gd name="connsiteX106" fmla="*/ 9514 w 9974"/>
                <a:gd name="connsiteY106" fmla="*/ 2239 h 10000"/>
                <a:gd name="connsiteX107" fmla="*/ 9173 w 9974"/>
                <a:gd name="connsiteY107" fmla="*/ 2163 h 10000"/>
                <a:gd name="connsiteX108" fmla="*/ 9106 w 9974"/>
                <a:gd name="connsiteY108" fmla="*/ 1670 h 10000"/>
                <a:gd name="connsiteX109" fmla="*/ 9010 w 9974"/>
                <a:gd name="connsiteY109" fmla="*/ 1651 h 10000"/>
                <a:gd name="connsiteX110" fmla="*/ 8982 w 9974"/>
                <a:gd name="connsiteY110" fmla="*/ 1205 h 10000"/>
                <a:gd name="connsiteX111" fmla="*/ 8913 w 9974"/>
                <a:gd name="connsiteY111" fmla="*/ 1053 h 10000"/>
                <a:gd name="connsiteX112" fmla="*/ 9077 w 9974"/>
                <a:gd name="connsiteY112" fmla="*/ 1025 h 10000"/>
                <a:gd name="connsiteX113" fmla="*/ 8818 w 9974"/>
                <a:gd name="connsiteY113" fmla="*/ 797 h 10000"/>
                <a:gd name="connsiteX114" fmla="*/ 8778 w 9974"/>
                <a:gd name="connsiteY114" fmla="*/ 503 h 10000"/>
                <a:gd name="connsiteX115" fmla="*/ 8520 w 9974"/>
                <a:gd name="connsiteY115" fmla="*/ 370 h 10000"/>
                <a:gd name="connsiteX116" fmla="*/ 8343 w 9974"/>
                <a:gd name="connsiteY116" fmla="*/ 218 h 10000"/>
                <a:gd name="connsiteX117" fmla="*/ 8194 w 9974"/>
                <a:gd name="connsiteY117" fmla="*/ 209 h 10000"/>
                <a:gd name="connsiteX118" fmla="*/ 7978 w 9974"/>
                <a:gd name="connsiteY118" fmla="*/ 0 h 10000"/>
                <a:gd name="connsiteX119" fmla="*/ 7758 w 9974"/>
                <a:gd name="connsiteY119" fmla="*/ 142 h 10000"/>
                <a:gd name="connsiteX120" fmla="*/ 7529 w 9974"/>
                <a:gd name="connsiteY120" fmla="*/ 152 h 10000"/>
                <a:gd name="connsiteX0" fmla="*/ 7426 w 9877"/>
                <a:gd name="connsiteY0" fmla="*/ 152 h 10000"/>
                <a:gd name="connsiteX1" fmla="*/ 7289 w 9877"/>
                <a:gd name="connsiteY1" fmla="*/ 408 h 10000"/>
                <a:gd name="connsiteX2" fmla="*/ 6988 w 9877"/>
                <a:gd name="connsiteY2" fmla="*/ 436 h 10000"/>
                <a:gd name="connsiteX3" fmla="*/ 6689 w 9877"/>
                <a:gd name="connsiteY3" fmla="*/ 731 h 10000"/>
                <a:gd name="connsiteX4" fmla="*/ 6350 w 9877"/>
                <a:gd name="connsiteY4" fmla="*/ 560 h 10000"/>
                <a:gd name="connsiteX5" fmla="*/ 5273 w 9877"/>
                <a:gd name="connsiteY5" fmla="*/ 531 h 10000"/>
                <a:gd name="connsiteX6" fmla="*/ 5203 w 9877"/>
                <a:gd name="connsiteY6" fmla="*/ 455 h 10000"/>
                <a:gd name="connsiteX7" fmla="*/ 5083 w 9877"/>
                <a:gd name="connsiteY7" fmla="*/ 569 h 10000"/>
                <a:gd name="connsiteX8" fmla="*/ 1184 w 9877"/>
                <a:gd name="connsiteY8" fmla="*/ 531 h 10000"/>
                <a:gd name="connsiteX9" fmla="*/ 1199 w 9877"/>
                <a:gd name="connsiteY9" fmla="*/ 1556 h 10000"/>
                <a:gd name="connsiteX10" fmla="*/ 545 w 9877"/>
                <a:gd name="connsiteY10" fmla="*/ 1565 h 10000"/>
                <a:gd name="connsiteX11" fmla="*/ 0 w 9877"/>
                <a:gd name="connsiteY11" fmla="*/ 3767 h 10000"/>
                <a:gd name="connsiteX12" fmla="*/ 1073 w 9877"/>
                <a:gd name="connsiteY12" fmla="*/ 6588 h 10000"/>
                <a:gd name="connsiteX13" fmla="*/ 506 w 9877"/>
                <a:gd name="connsiteY13" fmla="*/ 6774 h 10000"/>
                <a:gd name="connsiteX14" fmla="*/ 341 w 9877"/>
                <a:gd name="connsiteY14" fmla="*/ 7144 h 10000"/>
                <a:gd name="connsiteX15" fmla="*/ 450 w 9877"/>
                <a:gd name="connsiteY15" fmla="*/ 7211 h 10000"/>
                <a:gd name="connsiteX16" fmla="*/ 369 w 9877"/>
                <a:gd name="connsiteY16" fmla="*/ 7315 h 10000"/>
                <a:gd name="connsiteX17" fmla="*/ 833 w 9877"/>
                <a:gd name="connsiteY17" fmla="*/ 7343 h 10000"/>
                <a:gd name="connsiteX18" fmla="*/ 833 w 9877"/>
                <a:gd name="connsiteY18" fmla="*/ 7410 h 10000"/>
                <a:gd name="connsiteX19" fmla="*/ 818 w 9877"/>
                <a:gd name="connsiteY19" fmla="*/ 7562 h 10000"/>
                <a:gd name="connsiteX20" fmla="*/ 1308 w 9877"/>
                <a:gd name="connsiteY20" fmla="*/ 7619 h 10000"/>
                <a:gd name="connsiteX21" fmla="*/ 1308 w 9877"/>
                <a:gd name="connsiteY21" fmla="*/ 7742 h 10000"/>
                <a:gd name="connsiteX22" fmla="*/ 1567 w 9877"/>
                <a:gd name="connsiteY22" fmla="*/ 7837 h 10000"/>
                <a:gd name="connsiteX23" fmla="*/ 1486 w 9877"/>
                <a:gd name="connsiteY23" fmla="*/ 7979 h 10000"/>
                <a:gd name="connsiteX24" fmla="*/ 1852 w 9877"/>
                <a:gd name="connsiteY24" fmla="*/ 8102 h 10000"/>
                <a:gd name="connsiteX25" fmla="*/ 2072 w 9877"/>
                <a:gd name="connsiteY25" fmla="*/ 8330 h 10000"/>
                <a:gd name="connsiteX26" fmla="*/ 2275 w 9877"/>
                <a:gd name="connsiteY26" fmla="*/ 8416 h 10000"/>
                <a:gd name="connsiteX27" fmla="*/ 2194 w 9877"/>
                <a:gd name="connsiteY27" fmla="*/ 8491 h 10000"/>
                <a:gd name="connsiteX28" fmla="*/ 2302 w 9877"/>
                <a:gd name="connsiteY28" fmla="*/ 8577 h 10000"/>
                <a:gd name="connsiteX29" fmla="*/ 2288 w 9877"/>
                <a:gd name="connsiteY29" fmla="*/ 8700 h 10000"/>
                <a:gd name="connsiteX30" fmla="*/ 2495 w 9877"/>
                <a:gd name="connsiteY30" fmla="*/ 8710 h 10000"/>
                <a:gd name="connsiteX31" fmla="*/ 2725 w 9877"/>
                <a:gd name="connsiteY31" fmla="*/ 8843 h 10000"/>
                <a:gd name="connsiteX32" fmla="*/ 2781 w 9877"/>
                <a:gd name="connsiteY32" fmla="*/ 9051 h 10000"/>
                <a:gd name="connsiteX33" fmla="*/ 2833 w 9877"/>
                <a:gd name="connsiteY33" fmla="*/ 9127 h 10000"/>
                <a:gd name="connsiteX34" fmla="*/ 3121 w 9877"/>
                <a:gd name="connsiteY34" fmla="*/ 9307 h 10000"/>
                <a:gd name="connsiteX35" fmla="*/ 3121 w 9877"/>
                <a:gd name="connsiteY35" fmla="*/ 9440 h 10000"/>
                <a:gd name="connsiteX36" fmla="*/ 3544 w 9877"/>
                <a:gd name="connsiteY36" fmla="*/ 9583 h 10000"/>
                <a:gd name="connsiteX37" fmla="*/ 3774 w 9877"/>
                <a:gd name="connsiteY37" fmla="*/ 9431 h 10000"/>
                <a:gd name="connsiteX38" fmla="*/ 4061 w 9877"/>
                <a:gd name="connsiteY38" fmla="*/ 9545 h 10000"/>
                <a:gd name="connsiteX39" fmla="*/ 4290 w 9877"/>
                <a:gd name="connsiteY39" fmla="*/ 9374 h 10000"/>
                <a:gd name="connsiteX40" fmla="*/ 4550 w 9877"/>
                <a:gd name="connsiteY40" fmla="*/ 9649 h 10000"/>
                <a:gd name="connsiteX41" fmla="*/ 4918 w 9877"/>
                <a:gd name="connsiteY41" fmla="*/ 9801 h 10000"/>
                <a:gd name="connsiteX42" fmla="*/ 4958 w 9877"/>
                <a:gd name="connsiteY42" fmla="*/ 9934 h 10000"/>
                <a:gd name="connsiteX43" fmla="*/ 5109 w 9877"/>
                <a:gd name="connsiteY43" fmla="*/ 9953 h 10000"/>
                <a:gd name="connsiteX44" fmla="*/ 5326 w 9877"/>
                <a:gd name="connsiteY44" fmla="*/ 9829 h 10000"/>
                <a:gd name="connsiteX45" fmla="*/ 5601 w 9877"/>
                <a:gd name="connsiteY45" fmla="*/ 9905 h 10000"/>
                <a:gd name="connsiteX46" fmla="*/ 5694 w 9877"/>
                <a:gd name="connsiteY46" fmla="*/ 9839 h 10000"/>
                <a:gd name="connsiteX47" fmla="*/ 5791 w 9877"/>
                <a:gd name="connsiteY47" fmla="*/ 9829 h 10000"/>
                <a:gd name="connsiteX48" fmla="*/ 5980 w 9877"/>
                <a:gd name="connsiteY48" fmla="*/ 10000 h 10000"/>
                <a:gd name="connsiteX49" fmla="*/ 6158 w 9877"/>
                <a:gd name="connsiteY49" fmla="*/ 9858 h 10000"/>
                <a:gd name="connsiteX50" fmla="*/ 6376 w 9877"/>
                <a:gd name="connsiteY50" fmla="*/ 9867 h 10000"/>
                <a:gd name="connsiteX51" fmla="*/ 6539 w 9877"/>
                <a:gd name="connsiteY51" fmla="*/ 9791 h 10000"/>
                <a:gd name="connsiteX52" fmla="*/ 6772 w 9877"/>
                <a:gd name="connsiteY52" fmla="*/ 9867 h 10000"/>
                <a:gd name="connsiteX53" fmla="*/ 7071 w 9877"/>
                <a:gd name="connsiteY53" fmla="*/ 9630 h 10000"/>
                <a:gd name="connsiteX54" fmla="*/ 7179 w 9877"/>
                <a:gd name="connsiteY54" fmla="*/ 9630 h 10000"/>
                <a:gd name="connsiteX55" fmla="*/ 7370 w 9877"/>
                <a:gd name="connsiteY55" fmla="*/ 9440 h 10000"/>
                <a:gd name="connsiteX56" fmla="*/ 8187 w 9877"/>
                <a:gd name="connsiteY56" fmla="*/ 9431 h 10000"/>
                <a:gd name="connsiteX57" fmla="*/ 8365 w 9877"/>
                <a:gd name="connsiteY57" fmla="*/ 9355 h 10000"/>
                <a:gd name="connsiteX58" fmla="*/ 8352 w 9877"/>
                <a:gd name="connsiteY58" fmla="*/ 9260 h 10000"/>
                <a:gd name="connsiteX59" fmla="*/ 8297 w 9877"/>
                <a:gd name="connsiteY59" fmla="*/ 9051 h 10000"/>
                <a:gd name="connsiteX60" fmla="*/ 7956 w 9877"/>
                <a:gd name="connsiteY60" fmla="*/ 8985 h 10000"/>
                <a:gd name="connsiteX61" fmla="*/ 7793 w 9877"/>
                <a:gd name="connsiteY61" fmla="*/ 8653 h 10000"/>
                <a:gd name="connsiteX62" fmla="*/ 7697 w 9877"/>
                <a:gd name="connsiteY62" fmla="*/ 8615 h 10000"/>
                <a:gd name="connsiteX63" fmla="*/ 7671 w 9877"/>
                <a:gd name="connsiteY63" fmla="*/ 8378 h 10000"/>
                <a:gd name="connsiteX64" fmla="*/ 7549 w 9877"/>
                <a:gd name="connsiteY64" fmla="*/ 8368 h 10000"/>
                <a:gd name="connsiteX65" fmla="*/ 7506 w 9877"/>
                <a:gd name="connsiteY65" fmla="*/ 8245 h 10000"/>
                <a:gd name="connsiteX66" fmla="*/ 7302 w 9877"/>
                <a:gd name="connsiteY66" fmla="*/ 8216 h 10000"/>
                <a:gd name="connsiteX67" fmla="*/ 7233 w 9877"/>
                <a:gd name="connsiteY67" fmla="*/ 8027 h 10000"/>
                <a:gd name="connsiteX68" fmla="*/ 6894 w 9877"/>
                <a:gd name="connsiteY68" fmla="*/ 7846 h 10000"/>
                <a:gd name="connsiteX69" fmla="*/ 6525 w 9877"/>
                <a:gd name="connsiteY69" fmla="*/ 7818 h 10000"/>
                <a:gd name="connsiteX70" fmla="*/ 6623 w 9877"/>
                <a:gd name="connsiteY70" fmla="*/ 7609 h 10000"/>
                <a:gd name="connsiteX71" fmla="*/ 6596 w 9877"/>
                <a:gd name="connsiteY71" fmla="*/ 7457 h 10000"/>
                <a:gd name="connsiteX72" fmla="*/ 6908 w 9877"/>
                <a:gd name="connsiteY72" fmla="*/ 7467 h 10000"/>
                <a:gd name="connsiteX73" fmla="*/ 6974 w 9877"/>
                <a:gd name="connsiteY73" fmla="*/ 7514 h 10000"/>
                <a:gd name="connsiteX74" fmla="*/ 7166 w 9877"/>
                <a:gd name="connsiteY74" fmla="*/ 7419 h 10000"/>
                <a:gd name="connsiteX75" fmla="*/ 7220 w 9877"/>
                <a:gd name="connsiteY75" fmla="*/ 7078 h 10000"/>
                <a:gd name="connsiteX76" fmla="*/ 7140 w 9877"/>
                <a:gd name="connsiteY76" fmla="*/ 6822 h 10000"/>
                <a:gd name="connsiteX77" fmla="*/ 7370 w 9877"/>
                <a:gd name="connsiteY77" fmla="*/ 6613 h 10000"/>
                <a:gd name="connsiteX78" fmla="*/ 7302 w 9877"/>
                <a:gd name="connsiteY78" fmla="*/ 6414 h 10000"/>
                <a:gd name="connsiteX79" fmla="*/ 7453 w 9877"/>
                <a:gd name="connsiteY79" fmla="*/ 6224 h 10000"/>
                <a:gd name="connsiteX80" fmla="*/ 7549 w 9877"/>
                <a:gd name="connsiteY80" fmla="*/ 6328 h 10000"/>
                <a:gd name="connsiteX81" fmla="*/ 7710 w 9877"/>
                <a:gd name="connsiteY81" fmla="*/ 6281 h 10000"/>
                <a:gd name="connsiteX82" fmla="*/ 7697 w 9877"/>
                <a:gd name="connsiteY82" fmla="*/ 5987 h 10000"/>
                <a:gd name="connsiteX83" fmla="*/ 7793 w 9877"/>
                <a:gd name="connsiteY83" fmla="*/ 5882 h 10000"/>
                <a:gd name="connsiteX84" fmla="*/ 7766 w 9877"/>
                <a:gd name="connsiteY84" fmla="*/ 5740 h 10000"/>
                <a:gd name="connsiteX85" fmla="*/ 7984 w 9877"/>
                <a:gd name="connsiteY85" fmla="*/ 5655 h 10000"/>
                <a:gd name="connsiteX86" fmla="*/ 7997 w 9877"/>
                <a:gd name="connsiteY86" fmla="*/ 5465 h 10000"/>
                <a:gd name="connsiteX87" fmla="*/ 8161 w 9877"/>
                <a:gd name="connsiteY87" fmla="*/ 5285 h 10000"/>
                <a:gd name="connsiteX88" fmla="*/ 8458 w 9877"/>
                <a:gd name="connsiteY88" fmla="*/ 5266 h 10000"/>
                <a:gd name="connsiteX89" fmla="*/ 8433 w 9877"/>
                <a:gd name="connsiteY89" fmla="*/ 5019 h 10000"/>
                <a:gd name="connsiteX90" fmla="*/ 8652 w 9877"/>
                <a:gd name="connsiteY90" fmla="*/ 4753 h 10000"/>
                <a:gd name="connsiteX91" fmla="*/ 8652 w 9877"/>
                <a:gd name="connsiteY91" fmla="*/ 4469 h 10000"/>
                <a:gd name="connsiteX92" fmla="*/ 8624 w 9877"/>
                <a:gd name="connsiteY92" fmla="*/ 4156 h 10000"/>
                <a:gd name="connsiteX93" fmla="*/ 8557 w 9877"/>
                <a:gd name="connsiteY93" fmla="*/ 4061 h 10000"/>
                <a:gd name="connsiteX94" fmla="*/ 8718 w 9877"/>
                <a:gd name="connsiteY94" fmla="*/ 3928 h 10000"/>
                <a:gd name="connsiteX95" fmla="*/ 8731 w 9877"/>
                <a:gd name="connsiteY95" fmla="*/ 3767 h 10000"/>
                <a:gd name="connsiteX96" fmla="*/ 8897 w 9877"/>
                <a:gd name="connsiteY96" fmla="*/ 3577 h 10000"/>
                <a:gd name="connsiteX97" fmla="*/ 8813 w 9877"/>
                <a:gd name="connsiteY97" fmla="*/ 3283 h 10000"/>
                <a:gd name="connsiteX98" fmla="*/ 8965 w 9877"/>
                <a:gd name="connsiteY98" fmla="*/ 3207 h 10000"/>
                <a:gd name="connsiteX99" fmla="*/ 8965 w 9877"/>
                <a:gd name="connsiteY99" fmla="*/ 3112 h 10000"/>
                <a:gd name="connsiteX100" fmla="*/ 9221 w 9877"/>
                <a:gd name="connsiteY100" fmla="*/ 3046 h 10000"/>
                <a:gd name="connsiteX101" fmla="*/ 9235 w 9877"/>
                <a:gd name="connsiteY101" fmla="*/ 2903 h 10000"/>
                <a:gd name="connsiteX102" fmla="*/ 9728 w 9877"/>
                <a:gd name="connsiteY102" fmla="*/ 2808 h 10000"/>
                <a:gd name="connsiteX103" fmla="*/ 9877 w 9877"/>
                <a:gd name="connsiteY103" fmla="*/ 2571 h 10000"/>
                <a:gd name="connsiteX104" fmla="*/ 9537 w 9877"/>
                <a:gd name="connsiteY104" fmla="*/ 2429 h 10000"/>
                <a:gd name="connsiteX105" fmla="*/ 9416 w 9877"/>
                <a:gd name="connsiteY105" fmla="*/ 2239 h 10000"/>
                <a:gd name="connsiteX106" fmla="*/ 9074 w 9877"/>
                <a:gd name="connsiteY106" fmla="*/ 2163 h 10000"/>
                <a:gd name="connsiteX107" fmla="*/ 9007 w 9877"/>
                <a:gd name="connsiteY107" fmla="*/ 1670 h 10000"/>
                <a:gd name="connsiteX108" fmla="*/ 8910 w 9877"/>
                <a:gd name="connsiteY108" fmla="*/ 1651 h 10000"/>
                <a:gd name="connsiteX109" fmla="*/ 8882 w 9877"/>
                <a:gd name="connsiteY109" fmla="*/ 1205 h 10000"/>
                <a:gd name="connsiteX110" fmla="*/ 8813 w 9877"/>
                <a:gd name="connsiteY110" fmla="*/ 1053 h 10000"/>
                <a:gd name="connsiteX111" fmla="*/ 8978 w 9877"/>
                <a:gd name="connsiteY111" fmla="*/ 1025 h 10000"/>
                <a:gd name="connsiteX112" fmla="*/ 8718 w 9877"/>
                <a:gd name="connsiteY112" fmla="*/ 797 h 10000"/>
                <a:gd name="connsiteX113" fmla="*/ 8678 w 9877"/>
                <a:gd name="connsiteY113" fmla="*/ 503 h 10000"/>
                <a:gd name="connsiteX114" fmla="*/ 8419 w 9877"/>
                <a:gd name="connsiteY114" fmla="*/ 370 h 10000"/>
                <a:gd name="connsiteX115" fmla="*/ 8242 w 9877"/>
                <a:gd name="connsiteY115" fmla="*/ 218 h 10000"/>
                <a:gd name="connsiteX116" fmla="*/ 8092 w 9877"/>
                <a:gd name="connsiteY116" fmla="*/ 209 h 10000"/>
                <a:gd name="connsiteX117" fmla="*/ 7876 w 9877"/>
                <a:gd name="connsiteY117" fmla="*/ 0 h 10000"/>
                <a:gd name="connsiteX118" fmla="*/ 7655 w 9877"/>
                <a:gd name="connsiteY118" fmla="*/ 142 h 10000"/>
                <a:gd name="connsiteX119" fmla="*/ 7426 w 9877"/>
                <a:gd name="connsiteY119" fmla="*/ 152 h 10000"/>
                <a:gd name="connsiteX0" fmla="*/ 7175 w 9657"/>
                <a:gd name="connsiteY0" fmla="*/ 152 h 10000"/>
                <a:gd name="connsiteX1" fmla="*/ 7037 w 9657"/>
                <a:gd name="connsiteY1" fmla="*/ 408 h 10000"/>
                <a:gd name="connsiteX2" fmla="*/ 6732 w 9657"/>
                <a:gd name="connsiteY2" fmla="*/ 436 h 10000"/>
                <a:gd name="connsiteX3" fmla="*/ 6429 w 9657"/>
                <a:gd name="connsiteY3" fmla="*/ 731 h 10000"/>
                <a:gd name="connsiteX4" fmla="*/ 6086 w 9657"/>
                <a:gd name="connsiteY4" fmla="*/ 560 h 10000"/>
                <a:gd name="connsiteX5" fmla="*/ 4996 w 9657"/>
                <a:gd name="connsiteY5" fmla="*/ 531 h 10000"/>
                <a:gd name="connsiteX6" fmla="*/ 4925 w 9657"/>
                <a:gd name="connsiteY6" fmla="*/ 455 h 10000"/>
                <a:gd name="connsiteX7" fmla="*/ 4803 w 9657"/>
                <a:gd name="connsiteY7" fmla="*/ 569 h 10000"/>
                <a:gd name="connsiteX8" fmla="*/ 856 w 9657"/>
                <a:gd name="connsiteY8" fmla="*/ 531 h 10000"/>
                <a:gd name="connsiteX9" fmla="*/ 871 w 9657"/>
                <a:gd name="connsiteY9" fmla="*/ 1556 h 10000"/>
                <a:gd name="connsiteX10" fmla="*/ 209 w 9657"/>
                <a:gd name="connsiteY10" fmla="*/ 1565 h 10000"/>
                <a:gd name="connsiteX11" fmla="*/ 743 w 9657"/>
                <a:gd name="connsiteY11" fmla="*/ 6588 h 10000"/>
                <a:gd name="connsiteX12" fmla="*/ 169 w 9657"/>
                <a:gd name="connsiteY12" fmla="*/ 6774 h 10000"/>
                <a:gd name="connsiteX13" fmla="*/ 2 w 9657"/>
                <a:gd name="connsiteY13" fmla="*/ 7144 h 10000"/>
                <a:gd name="connsiteX14" fmla="*/ 113 w 9657"/>
                <a:gd name="connsiteY14" fmla="*/ 7211 h 10000"/>
                <a:gd name="connsiteX15" fmla="*/ 31 w 9657"/>
                <a:gd name="connsiteY15" fmla="*/ 7315 h 10000"/>
                <a:gd name="connsiteX16" fmla="*/ 500 w 9657"/>
                <a:gd name="connsiteY16" fmla="*/ 7343 h 10000"/>
                <a:gd name="connsiteX17" fmla="*/ 500 w 9657"/>
                <a:gd name="connsiteY17" fmla="*/ 7410 h 10000"/>
                <a:gd name="connsiteX18" fmla="*/ 485 w 9657"/>
                <a:gd name="connsiteY18" fmla="*/ 7562 h 10000"/>
                <a:gd name="connsiteX19" fmla="*/ 981 w 9657"/>
                <a:gd name="connsiteY19" fmla="*/ 7619 h 10000"/>
                <a:gd name="connsiteX20" fmla="*/ 981 w 9657"/>
                <a:gd name="connsiteY20" fmla="*/ 7742 h 10000"/>
                <a:gd name="connsiteX21" fmla="*/ 1244 w 9657"/>
                <a:gd name="connsiteY21" fmla="*/ 7837 h 10000"/>
                <a:gd name="connsiteX22" fmla="*/ 1162 w 9657"/>
                <a:gd name="connsiteY22" fmla="*/ 7979 h 10000"/>
                <a:gd name="connsiteX23" fmla="*/ 1532 w 9657"/>
                <a:gd name="connsiteY23" fmla="*/ 8102 h 10000"/>
                <a:gd name="connsiteX24" fmla="*/ 1755 w 9657"/>
                <a:gd name="connsiteY24" fmla="*/ 8330 h 10000"/>
                <a:gd name="connsiteX25" fmla="*/ 1960 w 9657"/>
                <a:gd name="connsiteY25" fmla="*/ 8416 h 10000"/>
                <a:gd name="connsiteX26" fmla="*/ 1878 w 9657"/>
                <a:gd name="connsiteY26" fmla="*/ 8491 h 10000"/>
                <a:gd name="connsiteX27" fmla="*/ 1988 w 9657"/>
                <a:gd name="connsiteY27" fmla="*/ 8577 h 10000"/>
                <a:gd name="connsiteX28" fmla="*/ 1973 w 9657"/>
                <a:gd name="connsiteY28" fmla="*/ 8700 h 10000"/>
                <a:gd name="connsiteX29" fmla="*/ 2183 w 9657"/>
                <a:gd name="connsiteY29" fmla="*/ 8710 h 10000"/>
                <a:gd name="connsiteX30" fmla="*/ 2416 w 9657"/>
                <a:gd name="connsiteY30" fmla="*/ 8843 h 10000"/>
                <a:gd name="connsiteX31" fmla="*/ 2473 w 9657"/>
                <a:gd name="connsiteY31" fmla="*/ 9051 h 10000"/>
                <a:gd name="connsiteX32" fmla="*/ 2525 w 9657"/>
                <a:gd name="connsiteY32" fmla="*/ 9127 h 10000"/>
                <a:gd name="connsiteX33" fmla="*/ 2817 w 9657"/>
                <a:gd name="connsiteY33" fmla="*/ 9307 h 10000"/>
                <a:gd name="connsiteX34" fmla="*/ 2817 w 9657"/>
                <a:gd name="connsiteY34" fmla="*/ 9440 h 10000"/>
                <a:gd name="connsiteX35" fmla="*/ 3245 w 9657"/>
                <a:gd name="connsiteY35" fmla="*/ 9583 h 10000"/>
                <a:gd name="connsiteX36" fmla="*/ 3478 w 9657"/>
                <a:gd name="connsiteY36" fmla="*/ 9431 h 10000"/>
                <a:gd name="connsiteX37" fmla="*/ 3769 w 9657"/>
                <a:gd name="connsiteY37" fmla="*/ 9545 h 10000"/>
                <a:gd name="connsiteX38" fmla="*/ 4000 w 9657"/>
                <a:gd name="connsiteY38" fmla="*/ 9374 h 10000"/>
                <a:gd name="connsiteX39" fmla="*/ 4264 w 9657"/>
                <a:gd name="connsiteY39" fmla="*/ 9649 h 10000"/>
                <a:gd name="connsiteX40" fmla="*/ 4636 w 9657"/>
                <a:gd name="connsiteY40" fmla="*/ 9801 h 10000"/>
                <a:gd name="connsiteX41" fmla="*/ 4677 w 9657"/>
                <a:gd name="connsiteY41" fmla="*/ 9934 h 10000"/>
                <a:gd name="connsiteX42" fmla="*/ 4830 w 9657"/>
                <a:gd name="connsiteY42" fmla="*/ 9953 h 10000"/>
                <a:gd name="connsiteX43" fmla="*/ 5049 w 9657"/>
                <a:gd name="connsiteY43" fmla="*/ 9829 h 10000"/>
                <a:gd name="connsiteX44" fmla="*/ 5328 w 9657"/>
                <a:gd name="connsiteY44" fmla="*/ 9905 h 10000"/>
                <a:gd name="connsiteX45" fmla="*/ 5422 w 9657"/>
                <a:gd name="connsiteY45" fmla="*/ 9839 h 10000"/>
                <a:gd name="connsiteX46" fmla="*/ 5520 w 9657"/>
                <a:gd name="connsiteY46" fmla="*/ 9829 h 10000"/>
                <a:gd name="connsiteX47" fmla="*/ 5711 w 9657"/>
                <a:gd name="connsiteY47" fmla="*/ 10000 h 10000"/>
                <a:gd name="connsiteX48" fmla="*/ 5892 w 9657"/>
                <a:gd name="connsiteY48" fmla="*/ 9858 h 10000"/>
                <a:gd name="connsiteX49" fmla="*/ 6112 w 9657"/>
                <a:gd name="connsiteY49" fmla="*/ 9867 h 10000"/>
                <a:gd name="connsiteX50" fmla="*/ 6277 w 9657"/>
                <a:gd name="connsiteY50" fmla="*/ 9791 h 10000"/>
                <a:gd name="connsiteX51" fmla="*/ 6513 w 9657"/>
                <a:gd name="connsiteY51" fmla="*/ 9867 h 10000"/>
                <a:gd name="connsiteX52" fmla="*/ 6816 w 9657"/>
                <a:gd name="connsiteY52" fmla="*/ 9630 h 10000"/>
                <a:gd name="connsiteX53" fmla="*/ 6925 w 9657"/>
                <a:gd name="connsiteY53" fmla="*/ 9630 h 10000"/>
                <a:gd name="connsiteX54" fmla="*/ 7119 w 9657"/>
                <a:gd name="connsiteY54" fmla="*/ 9440 h 10000"/>
                <a:gd name="connsiteX55" fmla="*/ 7946 w 9657"/>
                <a:gd name="connsiteY55" fmla="*/ 9431 h 10000"/>
                <a:gd name="connsiteX56" fmla="*/ 8126 w 9657"/>
                <a:gd name="connsiteY56" fmla="*/ 9355 h 10000"/>
                <a:gd name="connsiteX57" fmla="*/ 8113 w 9657"/>
                <a:gd name="connsiteY57" fmla="*/ 9260 h 10000"/>
                <a:gd name="connsiteX58" fmla="*/ 8057 w 9657"/>
                <a:gd name="connsiteY58" fmla="*/ 9051 h 10000"/>
                <a:gd name="connsiteX59" fmla="*/ 7712 w 9657"/>
                <a:gd name="connsiteY59" fmla="*/ 8985 h 10000"/>
                <a:gd name="connsiteX60" fmla="*/ 7547 w 9657"/>
                <a:gd name="connsiteY60" fmla="*/ 8653 h 10000"/>
                <a:gd name="connsiteX61" fmla="*/ 7450 w 9657"/>
                <a:gd name="connsiteY61" fmla="*/ 8615 h 10000"/>
                <a:gd name="connsiteX62" fmla="*/ 7424 w 9657"/>
                <a:gd name="connsiteY62" fmla="*/ 8378 h 10000"/>
                <a:gd name="connsiteX63" fmla="*/ 7300 w 9657"/>
                <a:gd name="connsiteY63" fmla="*/ 8368 h 10000"/>
                <a:gd name="connsiteX64" fmla="*/ 7256 w 9657"/>
                <a:gd name="connsiteY64" fmla="*/ 8245 h 10000"/>
                <a:gd name="connsiteX65" fmla="*/ 7050 w 9657"/>
                <a:gd name="connsiteY65" fmla="*/ 8216 h 10000"/>
                <a:gd name="connsiteX66" fmla="*/ 6980 w 9657"/>
                <a:gd name="connsiteY66" fmla="*/ 8027 h 10000"/>
                <a:gd name="connsiteX67" fmla="*/ 6637 w 9657"/>
                <a:gd name="connsiteY67" fmla="*/ 7846 h 10000"/>
                <a:gd name="connsiteX68" fmla="*/ 6263 w 9657"/>
                <a:gd name="connsiteY68" fmla="*/ 7818 h 10000"/>
                <a:gd name="connsiteX69" fmla="*/ 6362 w 9657"/>
                <a:gd name="connsiteY69" fmla="*/ 7609 h 10000"/>
                <a:gd name="connsiteX70" fmla="*/ 6335 w 9657"/>
                <a:gd name="connsiteY70" fmla="*/ 7457 h 10000"/>
                <a:gd name="connsiteX71" fmla="*/ 6651 w 9657"/>
                <a:gd name="connsiteY71" fmla="*/ 7467 h 10000"/>
                <a:gd name="connsiteX72" fmla="*/ 6718 w 9657"/>
                <a:gd name="connsiteY72" fmla="*/ 7514 h 10000"/>
                <a:gd name="connsiteX73" fmla="*/ 6912 w 9657"/>
                <a:gd name="connsiteY73" fmla="*/ 7419 h 10000"/>
                <a:gd name="connsiteX74" fmla="*/ 6967 w 9657"/>
                <a:gd name="connsiteY74" fmla="*/ 7078 h 10000"/>
                <a:gd name="connsiteX75" fmla="*/ 6886 w 9657"/>
                <a:gd name="connsiteY75" fmla="*/ 6822 h 10000"/>
                <a:gd name="connsiteX76" fmla="*/ 7119 w 9657"/>
                <a:gd name="connsiteY76" fmla="*/ 6613 h 10000"/>
                <a:gd name="connsiteX77" fmla="*/ 7050 w 9657"/>
                <a:gd name="connsiteY77" fmla="*/ 6414 h 10000"/>
                <a:gd name="connsiteX78" fmla="*/ 7203 w 9657"/>
                <a:gd name="connsiteY78" fmla="*/ 6224 h 10000"/>
                <a:gd name="connsiteX79" fmla="*/ 7300 w 9657"/>
                <a:gd name="connsiteY79" fmla="*/ 6328 h 10000"/>
                <a:gd name="connsiteX80" fmla="*/ 7463 w 9657"/>
                <a:gd name="connsiteY80" fmla="*/ 6281 h 10000"/>
                <a:gd name="connsiteX81" fmla="*/ 7450 w 9657"/>
                <a:gd name="connsiteY81" fmla="*/ 5987 h 10000"/>
                <a:gd name="connsiteX82" fmla="*/ 7547 w 9657"/>
                <a:gd name="connsiteY82" fmla="*/ 5882 h 10000"/>
                <a:gd name="connsiteX83" fmla="*/ 7520 w 9657"/>
                <a:gd name="connsiteY83" fmla="*/ 5740 h 10000"/>
                <a:gd name="connsiteX84" fmla="*/ 7740 w 9657"/>
                <a:gd name="connsiteY84" fmla="*/ 5655 h 10000"/>
                <a:gd name="connsiteX85" fmla="*/ 7754 w 9657"/>
                <a:gd name="connsiteY85" fmla="*/ 5465 h 10000"/>
                <a:gd name="connsiteX86" fmla="*/ 7920 w 9657"/>
                <a:gd name="connsiteY86" fmla="*/ 5285 h 10000"/>
                <a:gd name="connsiteX87" fmla="*/ 8220 w 9657"/>
                <a:gd name="connsiteY87" fmla="*/ 5266 h 10000"/>
                <a:gd name="connsiteX88" fmla="*/ 8195 w 9657"/>
                <a:gd name="connsiteY88" fmla="*/ 5019 h 10000"/>
                <a:gd name="connsiteX89" fmla="*/ 8417 w 9657"/>
                <a:gd name="connsiteY89" fmla="*/ 4753 h 10000"/>
                <a:gd name="connsiteX90" fmla="*/ 8417 w 9657"/>
                <a:gd name="connsiteY90" fmla="*/ 4469 h 10000"/>
                <a:gd name="connsiteX91" fmla="*/ 8388 w 9657"/>
                <a:gd name="connsiteY91" fmla="*/ 4156 h 10000"/>
                <a:gd name="connsiteX92" fmla="*/ 8321 w 9657"/>
                <a:gd name="connsiteY92" fmla="*/ 4061 h 10000"/>
                <a:gd name="connsiteX93" fmla="*/ 8484 w 9657"/>
                <a:gd name="connsiteY93" fmla="*/ 3928 h 10000"/>
                <a:gd name="connsiteX94" fmla="*/ 8497 w 9657"/>
                <a:gd name="connsiteY94" fmla="*/ 3767 h 10000"/>
                <a:gd name="connsiteX95" fmla="*/ 8665 w 9657"/>
                <a:gd name="connsiteY95" fmla="*/ 3577 h 10000"/>
                <a:gd name="connsiteX96" fmla="*/ 8580 w 9657"/>
                <a:gd name="connsiteY96" fmla="*/ 3283 h 10000"/>
                <a:gd name="connsiteX97" fmla="*/ 8734 w 9657"/>
                <a:gd name="connsiteY97" fmla="*/ 3207 h 10000"/>
                <a:gd name="connsiteX98" fmla="*/ 8734 w 9657"/>
                <a:gd name="connsiteY98" fmla="*/ 3112 h 10000"/>
                <a:gd name="connsiteX99" fmla="*/ 8993 w 9657"/>
                <a:gd name="connsiteY99" fmla="*/ 3046 h 10000"/>
                <a:gd name="connsiteX100" fmla="*/ 9007 w 9657"/>
                <a:gd name="connsiteY100" fmla="*/ 2903 h 10000"/>
                <a:gd name="connsiteX101" fmla="*/ 9506 w 9657"/>
                <a:gd name="connsiteY101" fmla="*/ 2808 h 10000"/>
                <a:gd name="connsiteX102" fmla="*/ 9657 w 9657"/>
                <a:gd name="connsiteY102" fmla="*/ 2571 h 10000"/>
                <a:gd name="connsiteX103" fmla="*/ 9313 w 9657"/>
                <a:gd name="connsiteY103" fmla="*/ 2429 h 10000"/>
                <a:gd name="connsiteX104" fmla="*/ 9190 w 9657"/>
                <a:gd name="connsiteY104" fmla="*/ 2239 h 10000"/>
                <a:gd name="connsiteX105" fmla="*/ 8844 w 9657"/>
                <a:gd name="connsiteY105" fmla="*/ 2163 h 10000"/>
                <a:gd name="connsiteX106" fmla="*/ 8776 w 9657"/>
                <a:gd name="connsiteY106" fmla="*/ 1670 h 10000"/>
                <a:gd name="connsiteX107" fmla="*/ 8678 w 9657"/>
                <a:gd name="connsiteY107" fmla="*/ 1651 h 10000"/>
                <a:gd name="connsiteX108" fmla="*/ 8650 w 9657"/>
                <a:gd name="connsiteY108" fmla="*/ 1205 h 10000"/>
                <a:gd name="connsiteX109" fmla="*/ 8580 w 9657"/>
                <a:gd name="connsiteY109" fmla="*/ 1053 h 10000"/>
                <a:gd name="connsiteX110" fmla="*/ 8747 w 9657"/>
                <a:gd name="connsiteY110" fmla="*/ 1025 h 10000"/>
                <a:gd name="connsiteX111" fmla="*/ 8484 w 9657"/>
                <a:gd name="connsiteY111" fmla="*/ 797 h 10000"/>
                <a:gd name="connsiteX112" fmla="*/ 8443 w 9657"/>
                <a:gd name="connsiteY112" fmla="*/ 503 h 10000"/>
                <a:gd name="connsiteX113" fmla="*/ 8181 w 9657"/>
                <a:gd name="connsiteY113" fmla="*/ 370 h 10000"/>
                <a:gd name="connsiteX114" fmla="*/ 8002 w 9657"/>
                <a:gd name="connsiteY114" fmla="*/ 218 h 10000"/>
                <a:gd name="connsiteX115" fmla="*/ 7850 w 9657"/>
                <a:gd name="connsiteY115" fmla="*/ 209 h 10000"/>
                <a:gd name="connsiteX116" fmla="*/ 7631 w 9657"/>
                <a:gd name="connsiteY116" fmla="*/ 0 h 10000"/>
                <a:gd name="connsiteX117" fmla="*/ 7407 w 9657"/>
                <a:gd name="connsiteY117" fmla="*/ 142 h 10000"/>
                <a:gd name="connsiteX118" fmla="*/ 7175 w 9657"/>
                <a:gd name="connsiteY118" fmla="*/ 152 h 10000"/>
                <a:gd name="connsiteX0" fmla="*/ 7430 w 10000"/>
                <a:gd name="connsiteY0" fmla="*/ 152 h 10000"/>
                <a:gd name="connsiteX1" fmla="*/ 7287 w 10000"/>
                <a:gd name="connsiteY1" fmla="*/ 408 h 10000"/>
                <a:gd name="connsiteX2" fmla="*/ 6971 w 10000"/>
                <a:gd name="connsiteY2" fmla="*/ 436 h 10000"/>
                <a:gd name="connsiteX3" fmla="*/ 6657 w 10000"/>
                <a:gd name="connsiteY3" fmla="*/ 731 h 10000"/>
                <a:gd name="connsiteX4" fmla="*/ 6302 w 10000"/>
                <a:gd name="connsiteY4" fmla="*/ 560 h 10000"/>
                <a:gd name="connsiteX5" fmla="*/ 5173 w 10000"/>
                <a:gd name="connsiteY5" fmla="*/ 531 h 10000"/>
                <a:gd name="connsiteX6" fmla="*/ 5100 w 10000"/>
                <a:gd name="connsiteY6" fmla="*/ 455 h 10000"/>
                <a:gd name="connsiteX7" fmla="*/ 4974 w 10000"/>
                <a:gd name="connsiteY7" fmla="*/ 569 h 10000"/>
                <a:gd name="connsiteX8" fmla="*/ 886 w 10000"/>
                <a:gd name="connsiteY8" fmla="*/ 531 h 10000"/>
                <a:gd name="connsiteX9" fmla="*/ 902 w 10000"/>
                <a:gd name="connsiteY9" fmla="*/ 1556 h 10000"/>
                <a:gd name="connsiteX10" fmla="*/ 769 w 10000"/>
                <a:gd name="connsiteY10" fmla="*/ 6588 h 10000"/>
                <a:gd name="connsiteX11" fmla="*/ 175 w 10000"/>
                <a:gd name="connsiteY11" fmla="*/ 6774 h 10000"/>
                <a:gd name="connsiteX12" fmla="*/ 2 w 10000"/>
                <a:gd name="connsiteY12" fmla="*/ 7144 h 10000"/>
                <a:gd name="connsiteX13" fmla="*/ 117 w 10000"/>
                <a:gd name="connsiteY13" fmla="*/ 7211 h 10000"/>
                <a:gd name="connsiteX14" fmla="*/ 32 w 10000"/>
                <a:gd name="connsiteY14" fmla="*/ 7315 h 10000"/>
                <a:gd name="connsiteX15" fmla="*/ 518 w 10000"/>
                <a:gd name="connsiteY15" fmla="*/ 7343 h 10000"/>
                <a:gd name="connsiteX16" fmla="*/ 518 w 10000"/>
                <a:gd name="connsiteY16" fmla="*/ 7410 h 10000"/>
                <a:gd name="connsiteX17" fmla="*/ 502 w 10000"/>
                <a:gd name="connsiteY17" fmla="*/ 7562 h 10000"/>
                <a:gd name="connsiteX18" fmla="*/ 1016 w 10000"/>
                <a:gd name="connsiteY18" fmla="*/ 7619 h 10000"/>
                <a:gd name="connsiteX19" fmla="*/ 1016 w 10000"/>
                <a:gd name="connsiteY19" fmla="*/ 7742 h 10000"/>
                <a:gd name="connsiteX20" fmla="*/ 1288 w 10000"/>
                <a:gd name="connsiteY20" fmla="*/ 7837 h 10000"/>
                <a:gd name="connsiteX21" fmla="*/ 1203 w 10000"/>
                <a:gd name="connsiteY21" fmla="*/ 7979 h 10000"/>
                <a:gd name="connsiteX22" fmla="*/ 1586 w 10000"/>
                <a:gd name="connsiteY22" fmla="*/ 8102 h 10000"/>
                <a:gd name="connsiteX23" fmla="*/ 1817 w 10000"/>
                <a:gd name="connsiteY23" fmla="*/ 8330 h 10000"/>
                <a:gd name="connsiteX24" fmla="*/ 2030 w 10000"/>
                <a:gd name="connsiteY24" fmla="*/ 8416 h 10000"/>
                <a:gd name="connsiteX25" fmla="*/ 1945 w 10000"/>
                <a:gd name="connsiteY25" fmla="*/ 8491 h 10000"/>
                <a:gd name="connsiteX26" fmla="*/ 2059 w 10000"/>
                <a:gd name="connsiteY26" fmla="*/ 8577 h 10000"/>
                <a:gd name="connsiteX27" fmla="*/ 2043 w 10000"/>
                <a:gd name="connsiteY27" fmla="*/ 8700 h 10000"/>
                <a:gd name="connsiteX28" fmla="*/ 2261 w 10000"/>
                <a:gd name="connsiteY28" fmla="*/ 8710 h 10000"/>
                <a:gd name="connsiteX29" fmla="*/ 2502 w 10000"/>
                <a:gd name="connsiteY29" fmla="*/ 8843 h 10000"/>
                <a:gd name="connsiteX30" fmla="*/ 2561 w 10000"/>
                <a:gd name="connsiteY30" fmla="*/ 9051 h 10000"/>
                <a:gd name="connsiteX31" fmla="*/ 2615 w 10000"/>
                <a:gd name="connsiteY31" fmla="*/ 9127 h 10000"/>
                <a:gd name="connsiteX32" fmla="*/ 2917 w 10000"/>
                <a:gd name="connsiteY32" fmla="*/ 9307 h 10000"/>
                <a:gd name="connsiteX33" fmla="*/ 2917 w 10000"/>
                <a:gd name="connsiteY33" fmla="*/ 9440 h 10000"/>
                <a:gd name="connsiteX34" fmla="*/ 3360 w 10000"/>
                <a:gd name="connsiteY34" fmla="*/ 9583 h 10000"/>
                <a:gd name="connsiteX35" fmla="*/ 3602 w 10000"/>
                <a:gd name="connsiteY35" fmla="*/ 9431 h 10000"/>
                <a:gd name="connsiteX36" fmla="*/ 3903 w 10000"/>
                <a:gd name="connsiteY36" fmla="*/ 9545 h 10000"/>
                <a:gd name="connsiteX37" fmla="*/ 4142 w 10000"/>
                <a:gd name="connsiteY37" fmla="*/ 9374 h 10000"/>
                <a:gd name="connsiteX38" fmla="*/ 4415 w 10000"/>
                <a:gd name="connsiteY38" fmla="*/ 9649 h 10000"/>
                <a:gd name="connsiteX39" fmla="*/ 4801 w 10000"/>
                <a:gd name="connsiteY39" fmla="*/ 9801 h 10000"/>
                <a:gd name="connsiteX40" fmla="*/ 4843 w 10000"/>
                <a:gd name="connsiteY40" fmla="*/ 9934 h 10000"/>
                <a:gd name="connsiteX41" fmla="*/ 5002 w 10000"/>
                <a:gd name="connsiteY41" fmla="*/ 9953 h 10000"/>
                <a:gd name="connsiteX42" fmla="*/ 5228 w 10000"/>
                <a:gd name="connsiteY42" fmla="*/ 9829 h 10000"/>
                <a:gd name="connsiteX43" fmla="*/ 5517 w 10000"/>
                <a:gd name="connsiteY43" fmla="*/ 9905 h 10000"/>
                <a:gd name="connsiteX44" fmla="*/ 5615 w 10000"/>
                <a:gd name="connsiteY44" fmla="*/ 9839 h 10000"/>
                <a:gd name="connsiteX45" fmla="*/ 5716 w 10000"/>
                <a:gd name="connsiteY45" fmla="*/ 9829 h 10000"/>
                <a:gd name="connsiteX46" fmla="*/ 5914 w 10000"/>
                <a:gd name="connsiteY46" fmla="*/ 10000 h 10000"/>
                <a:gd name="connsiteX47" fmla="*/ 6101 w 10000"/>
                <a:gd name="connsiteY47" fmla="*/ 9858 h 10000"/>
                <a:gd name="connsiteX48" fmla="*/ 6329 w 10000"/>
                <a:gd name="connsiteY48" fmla="*/ 9867 h 10000"/>
                <a:gd name="connsiteX49" fmla="*/ 6500 w 10000"/>
                <a:gd name="connsiteY49" fmla="*/ 9791 h 10000"/>
                <a:gd name="connsiteX50" fmla="*/ 6744 w 10000"/>
                <a:gd name="connsiteY50" fmla="*/ 9867 h 10000"/>
                <a:gd name="connsiteX51" fmla="*/ 7058 w 10000"/>
                <a:gd name="connsiteY51" fmla="*/ 9630 h 10000"/>
                <a:gd name="connsiteX52" fmla="*/ 7171 w 10000"/>
                <a:gd name="connsiteY52" fmla="*/ 9630 h 10000"/>
                <a:gd name="connsiteX53" fmla="*/ 7372 w 10000"/>
                <a:gd name="connsiteY53" fmla="*/ 9440 h 10000"/>
                <a:gd name="connsiteX54" fmla="*/ 8228 w 10000"/>
                <a:gd name="connsiteY54" fmla="*/ 9431 h 10000"/>
                <a:gd name="connsiteX55" fmla="*/ 8415 w 10000"/>
                <a:gd name="connsiteY55" fmla="*/ 9355 h 10000"/>
                <a:gd name="connsiteX56" fmla="*/ 8401 w 10000"/>
                <a:gd name="connsiteY56" fmla="*/ 9260 h 10000"/>
                <a:gd name="connsiteX57" fmla="*/ 8343 w 10000"/>
                <a:gd name="connsiteY57" fmla="*/ 9051 h 10000"/>
                <a:gd name="connsiteX58" fmla="*/ 7986 w 10000"/>
                <a:gd name="connsiteY58" fmla="*/ 8985 h 10000"/>
                <a:gd name="connsiteX59" fmla="*/ 7815 w 10000"/>
                <a:gd name="connsiteY59" fmla="*/ 8653 h 10000"/>
                <a:gd name="connsiteX60" fmla="*/ 7715 w 10000"/>
                <a:gd name="connsiteY60" fmla="*/ 8615 h 10000"/>
                <a:gd name="connsiteX61" fmla="*/ 7688 w 10000"/>
                <a:gd name="connsiteY61" fmla="*/ 8378 h 10000"/>
                <a:gd name="connsiteX62" fmla="*/ 7559 w 10000"/>
                <a:gd name="connsiteY62" fmla="*/ 8368 h 10000"/>
                <a:gd name="connsiteX63" fmla="*/ 7514 w 10000"/>
                <a:gd name="connsiteY63" fmla="*/ 8245 h 10000"/>
                <a:gd name="connsiteX64" fmla="*/ 7300 w 10000"/>
                <a:gd name="connsiteY64" fmla="*/ 8216 h 10000"/>
                <a:gd name="connsiteX65" fmla="*/ 7228 w 10000"/>
                <a:gd name="connsiteY65" fmla="*/ 8027 h 10000"/>
                <a:gd name="connsiteX66" fmla="*/ 6873 w 10000"/>
                <a:gd name="connsiteY66" fmla="*/ 7846 h 10000"/>
                <a:gd name="connsiteX67" fmla="*/ 6485 w 10000"/>
                <a:gd name="connsiteY67" fmla="*/ 7818 h 10000"/>
                <a:gd name="connsiteX68" fmla="*/ 6588 w 10000"/>
                <a:gd name="connsiteY68" fmla="*/ 7609 h 10000"/>
                <a:gd name="connsiteX69" fmla="*/ 6560 w 10000"/>
                <a:gd name="connsiteY69" fmla="*/ 7457 h 10000"/>
                <a:gd name="connsiteX70" fmla="*/ 6887 w 10000"/>
                <a:gd name="connsiteY70" fmla="*/ 7467 h 10000"/>
                <a:gd name="connsiteX71" fmla="*/ 6957 w 10000"/>
                <a:gd name="connsiteY71" fmla="*/ 7514 h 10000"/>
                <a:gd name="connsiteX72" fmla="*/ 7158 w 10000"/>
                <a:gd name="connsiteY72" fmla="*/ 7419 h 10000"/>
                <a:gd name="connsiteX73" fmla="*/ 7214 w 10000"/>
                <a:gd name="connsiteY73" fmla="*/ 7078 h 10000"/>
                <a:gd name="connsiteX74" fmla="*/ 7131 w 10000"/>
                <a:gd name="connsiteY74" fmla="*/ 6822 h 10000"/>
                <a:gd name="connsiteX75" fmla="*/ 7372 w 10000"/>
                <a:gd name="connsiteY75" fmla="*/ 6613 h 10000"/>
                <a:gd name="connsiteX76" fmla="*/ 7300 w 10000"/>
                <a:gd name="connsiteY76" fmla="*/ 6414 h 10000"/>
                <a:gd name="connsiteX77" fmla="*/ 7459 w 10000"/>
                <a:gd name="connsiteY77" fmla="*/ 6224 h 10000"/>
                <a:gd name="connsiteX78" fmla="*/ 7559 w 10000"/>
                <a:gd name="connsiteY78" fmla="*/ 6328 h 10000"/>
                <a:gd name="connsiteX79" fmla="*/ 7728 w 10000"/>
                <a:gd name="connsiteY79" fmla="*/ 6281 h 10000"/>
                <a:gd name="connsiteX80" fmla="*/ 7715 w 10000"/>
                <a:gd name="connsiteY80" fmla="*/ 5987 h 10000"/>
                <a:gd name="connsiteX81" fmla="*/ 7815 w 10000"/>
                <a:gd name="connsiteY81" fmla="*/ 5882 h 10000"/>
                <a:gd name="connsiteX82" fmla="*/ 7787 w 10000"/>
                <a:gd name="connsiteY82" fmla="*/ 5740 h 10000"/>
                <a:gd name="connsiteX83" fmla="*/ 8015 w 10000"/>
                <a:gd name="connsiteY83" fmla="*/ 5655 h 10000"/>
                <a:gd name="connsiteX84" fmla="*/ 8029 w 10000"/>
                <a:gd name="connsiteY84" fmla="*/ 5465 h 10000"/>
                <a:gd name="connsiteX85" fmla="*/ 8201 w 10000"/>
                <a:gd name="connsiteY85" fmla="*/ 5285 h 10000"/>
                <a:gd name="connsiteX86" fmla="*/ 8512 w 10000"/>
                <a:gd name="connsiteY86" fmla="*/ 5266 h 10000"/>
                <a:gd name="connsiteX87" fmla="*/ 8486 w 10000"/>
                <a:gd name="connsiteY87" fmla="*/ 5019 h 10000"/>
                <a:gd name="connsiteX88" fmla="*/ 8716 w 10000"/>
                <a:gd name="connsiteY88" fmla="*/ 4753 h 10000"/>
                <a:gd name="connsiteX89" fmla="*/ 8716 w 10000"/>
                <a:gd name="connsiteY89" fmla="*/ 4469 h 10000"/>
                <a:gd name="connsiteX90" fmla="*/ 8686 w 10000"/>
                <a:gd name="connsiteY90" fmla="*/ 4156 h 10000"/>
                <a:gd name="connsiteX91" fmla="*/ 8617 w 10000"/>
                <a:gd name="connsiteY91" fmla="*/ 4061 h 10000"/>
                <a:gd name="connsiteX92" fmla="*/ 8785 w 10000"/>
                <a:gd name="connsiteY92" fmla="*/ 3928 h 10000"/>
                <a:gd name="connsiteX93" fmla="*/ 8799 w 10000"/>
                <a:gd name="connsiteY93" fmla="*/ 3767 h 10000"/>
                <a:gd name="connsiteX94" fmla="*/ 8973 w 10000"/>
                <a:gd name="connsiteY94" fmla="*/ 3577 h 10000"/>
                <a:gd name="connsiteX95" fmla="*/ 8885 w 10000"/>
                <a:gd name="connsiteY95" fmla="*/ 3283 h 10000"/>
                <a:gd name="connsiteX96" fmla="*/ 9044 w 10000"/>
                <a:gd name="connsiteY96" fmla="*/ 3207 h 10000"/>
                <a:gd name="connsiteX97" fmla="*/ 9044 w 10000"/>
                <a:gd name="connsiteY97" fmla="*/ 3112 h 10000"/>
                <a:gd name="connsiteX98" fmla="*/ 9312 w 10000"/>
                <a:gd name="connsiteY98" fmla="*/ 3046 h 10000"/>
                <a:gd name="connsiteX99" fmla="*/ 9327 w 10000"/>
                <a:gd name="connsiteY99" fmla="*/ 2903 h 10000"/>
                <a:gd name="connsiteX100" fmla="*/ 9844 w 10000"/>
                <a:gd name="connsiteY100" fmla="*/ 2808 h 10000"/>
                <a:gd name="connsiteX101" fmla="*/ 10000 w 10000"/>
                <a:gd name="connsiteY101" fmla="*/ 2571 h 10000"/>
                <a:gd name="connsiteX102" fmla="*/ 9644 w 10000"/>
                <a:gd name="connsiteY102" fmla="*/ 2429 h 10000"/>
                <a:gd name="connsiteX103" fmla="*/ 9516 w 10000"/>
                <a:gd name="connsiteY103" fmla="*/ 2239 h 10000"/>
                <a:gd name="connsiteX104" fmla="*/ 9158 w 10000"/>
                <a:gd name="connsiteY104" fmla="*/ 2163 h 10000"/>
                <a:gd name="connsiteX105" fmla="*/ 9088 w 10000"/>
                <a:gd name="connsiteY105" fmla="*/ 1670 h 10000"/>
                <a:gd name="connsiteX106" fmla="*/ 8986 w 10000"/>
                <a:gd name="connsiteY106" fmla="*/ 1651 h 10000"/>
                <a:gd name="connsiteX107" fmla="*/ 8957 w 10000"/>
                <a:gd name="connsiteY107" fmla="*/ 1205 h 10000"/>
                <a:gd name="connsiteX108" fmla="*/ 8885 w 10000"/>
                <a:gd name="connsiteY108" fmla="*/ 1053 h 10000"/>
                <a:gd name="connsiteX109" fmla="*/ 9058 w 10000"/>
                <a:gd name="connsiteY109" fmla="*/ 1025 h 10000"/>
                <a:gd name="connsiteX110" fmla="*/ 8785 w 10000"/>
                <a:gd name="connsiteY110" fmla="*/ 797 h 10000"/>
                <a:gd name="connsiteX111" fmla="*/ 8743 w 10000"/>
                <a:gd name="connsiteY111" fmla="*/ 503 h 10000"/>
                <a:gd name="connsiteX112" fmla="*/ 8472 w 10000"/>
                <a:gd name="connsiteY112" fmla="*/ 370 h 10000"/>
                <a:gd name="connsiteX113" fmla="*/ 8286 w 10000"/>
                <a:gd name="connsiteY113" fmla="*/ 218 h 10000"/>
                <a:gd name="connsiteX114" fmla="*/ 8129 w 10000"/>
                <a:gd name="connsiteY114" fmla="*/ 209 h 10000"/>
                <a:gd name="connsiteX115" fmla="*/ 7902 w 10000"/>
                <a:gd name="connsiteY115" fmla="*/ 0 h 10000"/>
                <a:gd name="connsiteX116" fmla="*/ 7670 w 10000"/>
                <a:gd name="connsiteY116" fmla="*/ 142 h 10000"/>
                <a:gd name="connsiteX117" fmla="*/ 7430 w 10000"/>
                <a:gd name="connsiteY117" fmla="*/ 152 h 10000"/>
                <a:gd name="connsiteX0" fmla="*/ 7430 w 10000"/>
                <a:gd name="connsiteY0" fmla="*/ 152 h 10000"/>
                <a:gd name="connsiteX1" fmla="*/ 7287 w 10000"/>
                <a:gd name="connsiteY1" fmla="*/ 408 h 10000"/>
                <a:gd name="connsiteX2" fmla="*/ 6971 w 10000"/>
                <a:gd name="connsiteY2" fmla="*/ 436 h 10000"/>
                <a:gd name="connsiteX3" fmla="*/ 6657 w 10000"/>
                <a:gd name="connsiteY3" fmla="*/ 731 h 10000"/>
                <a:gd name="connsiteX4" fmla="*/ 6302 w 10000"/>
                <a:gd name="connsiteY4" fmla="*/ 560 h 10000"/>
                <a:gd name="connsiteX5" fmla="*/ 5173 w 10000"/>
                <a:gd name="connsiteY5" fmla="*/ 531 h 10000"/>
                <a:gd name="connsiteX6" fmla="*/ 5100 w 10000"/>
                <a:gd name="connsiteY6" fmla="*/ 455 h 10000"/>
                <a:gd name="connsiteX7" fmla="*/ 4974 w 10000"/>
                <a:gd name="connsiteY7" fmla="*/ 569 h 10000"/>
                <a:gd name="connsiteX8" fmla="*/ 886 w 10000"/>
                <a:gd name="connsiteY8" fmla="*/ 531 h 10000"/>
                <a:gd name="connsiteX9" fmla="*/ 1754 w 10000"/>
                <a:gd name="connsiteY9" fmla="*/ 5799 h 10000"/>
                <a:gd name="connsiteX10" fmla="*/ 769 w 10000"/>
                <a:gd name="connsiteY10" fmla="*/ 6588 h 10000"/>
                <a:gd name="connsiteX11" fmla="*/ 175 w 10000"/>
                <a:gd name="connsiteY11" fmla="*/ 6774 h 10000"/>
                <a:gd name="connsiteX12" fmla="*/ 2 w 10000"/>
                <a:gd name="connsiteY12" fmla="*/ 7144 h 10000"/>
                <a:gd name="connsiteX13" fmla="*/ 117 w 10000"/>
                <a:gd name="connsiteY13" fmla="*/ 7211 h 10000"/>
                <a:gd name="connsiteX14" fmla="*/ 32 w 10000"/>
                <a:gd name="connsiteY14" fmla="*/ 7315 h 10000"/>
                <a:gd name="connsiteX15" fmla="*/ 518 w 10000"/>
                <a:gd name="connsiteY15" fmla="*/ 7343 h 10000"/>
                <a:gd name="connsiteX16" fmla="*/ 518 w 10000"/>
                <a:gd name="connsiteY16" fmla="*/ 7410 h 10000"/>
                <a:gd name="connsiteX17" fmla="*/ 502 w 10000"/>
                <a:gd name="connsiteY17" fmla="*/ 7562 h 10000"/>
                <a:gd name="connsiteX18" fmla="*/ 1016 w 10000"/>
                <a:gd name="connsiteY18" fmla="*/ 7619 h 10000"/>
                <a:gd name="connsiteX19" fmla="*/ 1016 w 10000"/>
                <a:gd name="connsiteY19" fmla="*/ 7742 h 10000"/>
                <a:gd name="connsiteX20" fmla="*/ 1288 w 10000"/>
                <a:gd name="connsiteY20" fmla="*/ 7837 h 10000"/>
                <a:gd name="connsiteX21" fmla="*/ 1203 w 10000"/>
                <a:gd name="connsiteY21" fmla="*/ 7979 h 10000"/>
                <a:gd name="connsiteX22" fmla="*/ 1586 w 10000"/>
                <a:gd name="connsiteY22" fmla="*/ 8102 h 10000"/>
                <a:gd name="connsiteX23" fmla="*/ 1817 w 10000"/>
                <a:gd name="connsiteY23" fmla="*/ 8330 h 10000"/>
                <a:gd name="connsiteX24" fmla="*/ 2030 w 10000"/>
                <a:gd name="connsiteY24" fmla="*/ 8416 h 10000"/>
                <a:gd name="connsiteX25" fmla="*/ 1945 w 10000"/>
                <a:gd name="connsiteY25" fmla="*/ 8491 h 10000"/>
                <a:gd name="connsiteX26" fmla="*/ 2059 w 10000"/>
                <a:gd name="connsiteY26" fmla="*/ 8577 h 10000"/>
                <a:gd name="connsiteX27" fmla="*/ 2043 w 10000"/>
                <a:gd name="connsiteY27" fmla="*/ 8700 h 10000"/>
                <a:gd name="connsiteX28" fmla="*/ 2261 w 10000"/>
                <a:gd name="connsiteY28" fmla="*/ 8710 h 10000"/>
                <a:gd name="connsiteX29" fmla="*/ 2502 w 10000"/>
                <a:gd name="connsiteY29" fmla="*/ 8843 h 10000"/>
                <a:gd name="connsiteX30" fmla="*/ 2561 w 10000"/>
                <a:gd name="connsiteY30" fmla="*/ 9051 h 10000"/>
                <a:gd name="connsiteX31" fmla="*/ 2615 w 10000"/>
                <a:gd name="connsiteY31" fmla="*/ 9127 h 10000"/>
                <a:gd name="connsiteX32" fmla="*/ 2917 w 10000"/>
                <a:gd name="connsiteY32" fmla="*/ 9307 h 10000"/>
                <a:gd name="connsiteX33" fmla="*/ 2917 w 10000"/>
                <a:gd name="connsiteY33" fmla="*/ 9440 h 10000"/>
                <a:gd name="connsiteX34" fmla="*/ 3360 w 10000"/>
                <a:gd name="connsiteY34" fmla="*/ 9583 h 10000"/>
                <a:gd name="connsiteX35" fmla="*/ 3602 w 10000"/>
                <a:gd name="connsiteY35" fmla="*/ 9431 h 10000"/>
                <a:gd name="connsiteX36" fmla="*/ 3903 w 10000"/>
                <a:gd name="connsiteY36" fmla="*/ 9545 h 10000"/>
                <a:gd name="connsiteX37" fmla="*/ 4142 w 10000"/>
                <a:gd name="connsiteY37" fmla="*/ 9374 h 10000"/>
                <a:gd name="connsiteX38" fmla="*/ 4415 w 10000"/>
                <a:gd name="connsiteY38" fmla="*/ 9649 h 10000"/>
                <a:gd name="connsiteX39" fmla="*/ 4801 w 10000"/>
                <a:gd name="connsiteY39" fmla="*/ 9801 h 10000"/>
                <a:gd name="connsiteX40" fmla="*/ 4843 w 10000"/>
                <a:gd name="connsiteY40" fmla="*/ 9934 h 10000"/>
                <a:gd name="connsiteX41" fmla="*/ 5002 w 10000"/>
                <a:gd name="connsiteY41" fmla="*/ 9953 h 10000"/>
                <a:gd name="connsiteX42" fmla="*/ 5228 w 10000"/>
                <a:gd name="connsiteY42" fmla="*/ 9829 h 10000"/>
                <a:gd name="connsiteX43" fmla="*/ 5517 w 10000"/>
                <a:gd name="connsiteY43" fmla="*/ 9905 h 10000"/>
                <a:gd name="connsiteX44" fmla="*/ 5615 w 10000"/>
                <a:gd name="connsiteY44" fmla="*/ 9839 h 10000"/>
                <a:gd name="connsiteX45" fmla="*/ 5716 w 10000"/>
                <a:gd name="connsiteY45" fmla="*/ 9829 h 10000"/>
                <a:gd name="connsiteX46" fmla="*/ 5914 w 10000"/>
                <a:gd name="connsiteY46" fmla="*/ 10000 h 10000"/>
                <a:gd name="connsiteX47" fmla="*/ 6101 w 10000"/>
                <a:gd name="connsiteY47" fmla="*/ 9858 h 10000"/>
                <a:gd name="connsiteX48" fmla="*/ 6329 w 10000"/>
                <a:gd name="connsiteY48" fmla="*/ 9867 h 10000"/>
                <a:gd name="connsiteX49" fmla="*/ 6500 w 10000"/>
                <a:gd name="connsiteY49" fmla="*/ 9791 h 10000"/>
                <a:gd name="connsiteX50" fmla="*/ 6744 w 10000"/>
                <a:gd name="connsiteY50" fmla="*/ 9867 h 10000"/>
                <a:gd name="connsiteX51" fmla="*/ 7058 w 10000"/>
                <a:gd name="connsiteY51" fmla="*/ 9630 h 10000"/>
                <a:gd name="connsiteX52" fmla="*/ 7171 w 10000"/>
                <a:gd name="connsiteY52" fmla="*/ 9630 h 10000"/>
                <a:gd name="connsiteX53" fmla="*/ 7372 w 10000"/>
                <a:gd name="connsiteY53" fmla="*/ 9440 h 10000"/>
                <a:gd name="connsiteX54" fmla="*/ 8228 w 10000"/>
                <a:gd name="connsiteY54" fmla="*/ 9431 h 10000"/>
                <a:gd name="connsiteX55" fmla="*/ 8415 w 10000"/>
                <a:gd name="connsiteY55" fmla="*/ 9355 h 10000"/>
                <a:gd name="connsiteX56" fmla="*/ 8401 w 10000"/>
                <a:gd name="connsiteY56" fmla="*/ 9260 h 10000"/>
                <a:gd name="connsiteX57" fmla="*/ 8343 w 10000"/>
                <a:gd name="connsiteY57" fmla="*/ 9051 h 10000"/>
                <a:gd name="connsiteX58" fmla="*/ 7986 w 10000"/>
                <a:gd name="connsiteY58" fmla="*/ 8985 h 10000"/>
                <a:gd name="connsiteX59" fmla="*/ 7815 w 10000"/>
                <a:gd name="connsiteY59" fmla="*/ 8653 h 10000"/>
                <a:gd name="connsiteX60" fmla="*/ 7715 w 10000"/>
                <a:gd name="connsiteY60" fmla="*/ 8615 h 10000"/>
                <a:gd name="connsiteX61" fmla="*/ 7688 w 10000"/>
                <a:gd name="connsiteY61" fmla="*/ 8378 h 10000"/>
                <a:gd name="connsiteX62" fmla="*/ 7559 w 10000"/>
                <a:gd name="connsiteY62" fmla="*/ 8368 h 10000"/>
                <a:gd name="connsiteX63" fmla="*/ 7514 w 10000"/>
                <a:gd name="connsiteY63" fmla="*/ 8245 h 10000"/>
                <a:gd name="connsiteX64" fmla="*/ 7300 w 10000"/>
                <a:gd name="connsiteY64" fmla="*/ 8216 h 10000"/>
                <a:gd name="connsiteX65" fmla="*/ 7228 w 10000"/>
                <a:gd name="connsiteY65" fmla="*/ 8027 h 10000"/>
                <a:gd name="connsiteX66" fmla="*/ 6873 w 10000"/>
                <a:gd name="connsiteY66" fmla="*/ 7846 h 10000"/>
                <a:gd name="connsiteX67" fmla="*/ 6485 w 10000"/>
                <a:gd name="connsiteY67" fmla="*/ 7818 h 10000"/>
                <a:gd name="connsiteX68" fmla="*/ 6588 w 10000"/>
                <a:gd name="connsiteY68" fmla="*/ 7609 h 10000"/>
                <a:gd name="connsiteX69" fmla="*/ 6560 w 10000"/>
                <a:gd name="connsiteY69" fmla="*/ 7457 h 10000"/>
                <a:gd name="connsiteX70" fmla="*/ 6887 w 10000"/>
                <a:gd name="connsiteY70" fmla="*/ 7467 h 10000"/>
                <a:gd name="connsiteX71" fmla="*/ 6957 w 10000"/>
                <a:gd name="connsiteY71" fmla="*/ 7514 h 10000"/>
                <a:gd name="connsiteX72" fmla="*/ 7158 w 10000"/>
                <a:gd name="connsiteY72" fmla="*/ 7419 h 10000"/>
                <a:gd name="connsiteX73" fmla="*/ 7214 w 10000"/>
                <a:gd name="connsiteY73" fmla="*/ 7078 h 10000"/>
                <a:gd name="connsiteX74" fmla="*/ 7131 w 10000"/>
                <a:gd name="connsiteY74" fmla="*/ 6822 h 10000"/>
                <a:gd name="connsiteX75" fmla="*/ 7372 w 10000"/>
                <a:gd name="connsiteY75" fmla="*/ 6613 h 10000"/>
                <a:gd name="connsiteX76" fmla="*/ 7300 w 10000"/>
                <a:gd name="connsiteY76" fmla="*/ 6414 h 10000"/>
                <a:gd name="connsiteX77" fmla="*/ 7459 w 10000"/>
                <a:gd name="connsiteY77" fmla="*/ 6224 h 10000"/>
                <a:gd name="connsiteX78" fmla="*/ 7559 w 10000"/>
                <a:gd name="connsiteY78" fmla="*/ 6328 h 10000"/>
                <a:gd name="connsiteX79" fmla="*/ 7728 w 10000"/>
                <a:gd name="connsiteY79" fmla="*/ 6281 h 10000"/>
                <a:gd name="connsiteX80" fmla="*/ 7715 w 10000"/>
                <a:gd name="connsiteY80" fmla="*/ 5987 h 10000"/>
                <a:gd name="connsiteX81" fmla="*/ 7815 w 10000"/>
                <a:gd name="connsiteY81" fmla="*/ 5882 h 10000"/>
                <a:gd name="connsiteX82" fmla="*/ 7787 w 10000"/>
                <a:gd name="connsiteY82" fmla="*/ 5740 h 10000"/>
                <a:gd name="connsiteX83" fmla="*/ 8015 w 10000"/>
                <a:gd name="connsiteY83" fmla="*/ 5655 h 10000"/>
                <a:gd name="connsiteX84" fmla="*/ 8029 w 10000"/>
                <a:gd name="connsiteY84" fmla="*/ 5465 h 10000"/>
                <a:gd name="connsiteX85" fmla="*/ 8201 w 10000"/>
                <a:gd name="connsiteY85" fmla="*/ 5285 h 10000"/>
                <a:gd name="connsiteX86" fmla="*/ 8512 w 10000"/>
                <a:gd name="connsiteY86" fmla="*/ 5266 h 10000"/>
                <a:gd name="connsiteX87" fmla="*/ 8486 w 10000"/>
                <a:gd name="connsiteY87" fmla="*/ 5019 h 10000"/>
                <a:gd name="connsiteX88" fmla="*/ 8716 w 10000"/>
                <a:gd name="connsiteY88" fmla="*/ 4753 h 10000"/>
                <a:gd name="connsiteX89" fmla="*/ 8716 w 10000"/>
                <a:gd name="connsiteY89" fmla="*/ 4469 h 10000"/>
                <a:gd name="connsiteX90" fmla="*/ 8686 w 10000"/>
                <a:gd name="connsiteY90" fmla="*/ 4156 h 10000"/>
                <a:gd name="connsiteX91" fmla="*/ 8617 w 10000"/>
                <a:gd name="connsiteY91" fmla="*/ 4061 h 10000"/>
                <a:gd name="connsiteX92" fmla="*/ 8785 w 10000"/>
                <a:gd name="connsiteY92" fmla="*/ 3928 h 10000"/>
                <a:gd name="connsiteX93" fmla="*/ 8799 w 10000"/>
                <a:gd name="connsiteY93" fmla="*/ 3767 h 10000"/>
                <a:gd name="connsiteX94" fmla="*/ 8973 w 10000"/>
                <a:gd name="connsiteY94" fmla="*/ 3577 h 10000"/>
                <a:gd name="connsiteX95" fmla="*/ 8885 w 10000"/>
                <a:gd name="connsiteY95" fmla="*/ 3283 h 10000"/>
                <a:gd name="connsiteX96" fmla="*/ 9044 w 10000"/>
                <a:gd name="connsiteY96" fmla="*/ 3207 h 10000"/>
                <a:gd name="connsiteX97" fmla="*/ 9044 w 10000"/>
                <a:gd name="connsiteY97" fmla="*/ 3112 h 10000"/>
                <a:gd name="connsiteX98" fmla="*/ 9312 w 10000"/>
                <a:gd name="connsiteY98" fmla="*/ 3046 h 10000"/>
                <a:gd name="connsiteX99" fmla="*/ 9327 w 10000"/>
                <a:gd name="connsiteY99" fmla="*/ 2903 h 10000"/>
                <a:gd name="connsiteX100" fmla="*/ 9844 w 10000"/>
                <a:gd name="connsiteY100" fmla="*/ 2808 h 10000"/>
                <a:gd name="connsiteX101" fmla="*/ 10000 w 10000"/>
                <a:gd name="connsiteY101" fmla="*/ 2571 h 10000"/>
                <a:gd name="connsiteX102" fmla="*/ 9644 w 10000"/>
                <a:gd name="connsiteY102" fmla="*/ 2429 h 10000"/>
                <a:gd name="connsiteX103" fmla="*/ 9516 w 10000"/>
                <a:gd name="connsiteY103" fmla="*/ 2239 h 10000"/>
                <a:gd name="connsiteX104" fmla="*/ 9158 w 10000"/>
                <a:gd name="connsiteY104" fmla="*/ 2163 h 10000"/>
                <a:gd name="connsiteX105" fmla="*/ 9088 w 10000"/>
                <a:gd name="connsiteY105" fmla="*/ 1670 h 10000"/>
                <a:gd name="connsiteX106" fmla="*/ 8986 w 10000"/>
                <a:gd name="connsiteY106" fmla="*/ 1651 h 10000"/>
                <a:gd name="connsiteX107" fmla="*/ 8957 w 10000"/>
                <a:gd name="connsiteY107" fmla="*/ 1205 h 10000"/>
                <a:gd name="connsiteX108" fmla="*/ 8885 w 10000"/>
                <a:gd name="connsiteY108" fmla="*/ 1053 h 10000"/>
                <a:gd name="connsiteX109" fmla="*/ 9058 w 10000"/>
                <a:gd name="connsiteY109" fmla="*/ 1025 h 10000"/>
                <a:gd name="connsiteX110" fmla="*/ 8785 w 10000"/>
                <a:gd name="connsiteY110" fmla="*/ 797 h 10000"/>
                <a:gd name="connsiteX111" fmla="*/ 8743 w 10000"/>
                <a:gd name="connsiteY111" fmla="*/ 503 h 10000"/>
                <a:gd name="connsiteX112" fmla="*/ 8472 w 10000"/>
                <a:gd name="connsiteY112" fmla="*/ 370 h 10000"/>
                <a:gd name="connsiteX113" fmla="*/ 8286 w 10000"/>
                <a:gd name="connsiteY113" fmla="*/ 218 h 10000"/>
                <a:gd name="connsiteX114" fmla="*/ 8129 w 10000"/>
                <a:gd name="connsiteY114" fmla="*/ 209 h 10000"/>
                <a:gd name="connsiteX115" fmla="*/ 7902 w 10000"/>
                <a:gd name="connsiteY115" fmla="*/ 0 h 10000"/>
                <a:gd name="connsiteX116" fmla="*/ 7670 w 10000"/>
                <a:gd name="connsiteY116" fmla="*/ 142 h 10000"/>
                <a:gd name="connsiteX117" fmla="*/ 7430 w 10000"/>
                <a:gd name="connsiteY117" fmla="*/ 152 h 10000"/>
                <a:gd name="connsiteX0" fmla="*/ 7430 w 10000"/>
                <a:gd name="connsiteY0" fmla="*/ 152 h 10000"/>
                <a:gd name="connsiteX1" fmla="*/ 7287 w 10000"/>
                <a:gd name="connsiteY1" fmla="*/ 408 h 10000"/>
                <a:gd name="connsiteX2" fmla="*/ 6971 w 10000"/>
                <a:gd name="connsiteY2" fmla="*/ 436 h 10000"/>
                <a:gd name="connsiteX3" fmla="*/ 6657 w 10000"/>
                <a:gd name="connsiteY3" fmla="*/ 731 h 10000"/>
                <a:gd name="connsiteX4" fmla="*/ 6302 w 10000"/>
                <a:gd name="connsiteY4" fmla="*/ 560 h 10000"/>
                <a:gd name="connsiteX5" fmla="*/ 5173 w 10000"/>
                <a:gd name="connsiteY5" fmla="*/ 531 h 10000"/>
                <a:gd name="connsiteX6" fmla="*/ 5100 w 10000"/>
                <a:gd name="connsiteY6" fmla="*/ 455 h 10000"/>
                <a:gd name="connsiteX7" fmla="*/ 4974 w 10000"/>
                <a:gd name="connsiteY7" fmla="*/ 569 h 10000"/>
                <a:gd name="connsiteX8" fmla="*/ 1754 w 10000"/>
                <a:gd name="connsiteY8" fmla="*/ 5799 h 10000"/>
                <a:gd name="connsiteX9" fmla="*/ 769 w 10000"/>
                <a:gd name="connsiteY9" fmla="*/ 6588 h 10000"/>
                <a:gd name="connsiteX10" fmla="*/ 175 w 10000"/>
                <a:gd name="connsiteY10" fmla="*/ 6774 h 10000"/>
                <a:gd name="connsiteX11" fmla="*/ 2 w 10000"/>
                <a:gd name="connsiteY11" fmla="*/ 7144 h 10000"/>
                <a:gd name="connsiteX12" fmla="*/ 117 w 10000"/>
                <a:gd name="connsiteY12" fmla="*/ 7211 h 10000"/>
                <a:gd name="connsiteX13" fmla="*/ 32 w 10000"/>
                <a:gd name="connsiteY13" fmla="*/ 7315 h 10000"/>
                <a:gd name="connsiteX14" fmla="*/ 518 w 10000"/>
                <a:gd name="connsiteY14" fmla="*/ 7343 h 10000"/>
                <a:gd name="connsiteX15" fmla="*/ 518 w 10000"/>
                <a:gd name="connsiteY15" fmla="*/ 7410 h 10000"/>
                <a:gd name="connsiteX16" fmla="*/ 502 w 10000"/>
                <a:gd name="connsiteY16" fmla="*/ 7562 h 10000"/>
                <a:gd name="connsiteX17" fmla="*/ 1016 w 10000"/>
                <a:gd name="connsiteY17" fmla="*/ 7619 h 10000"/>
                <a:gd name="connsiteX18" fmla="*/ 1016 w 10000"/>
                <a:gd name="connsiteY18" fmla="*/ 7742 h 10000"/>
                <a:gd name="connsiteX19" fmla="*/ 1288 w 10000"/>
                <a:gd name="connsiteY19" fmla="*/ 7837 h 10000"/>
                <a:gd name="connsiteX20" fmla="*/ 1203 w 10000"/>
                <a:gd name="connsiteY20" fmla="*/ 7979 h 10000"/>
                <a:gd name="connsiteX21" fmla="*/ 1586 w 10000"/>
                <a:gd name="connsiteY21" fmla="*/ 8102 h 10000"/>
                <a:gd name="connsiteX22" fmla="*/ 1817 w 10000"/>
                <a:gd name="connsiteY22" fmla="*/ 8330 h 10000"/>
                <a:gd name="connsiteX23" fmla="*/ 2030 w 10000"/>
                <a:gd name="connsiteY23" fmla="*/ 8416 h 10000"/>
                <a:gd name="connsiteX24" fmla="*/ 1945 w 10000"/>
                <a:gd name="connsiteY24" fmla="*/ 8491 h 10000"/>
                <a:gd name="connsiteX25" fmla="*/ 2059 w 10000"/>
                <a:gd name="connsiteY25" fmla="*/ 8577 h 10000"/>
                <a:gd name="connsiteX26" fmla="*/ 2043 w 10000"/>
                <a:gd name="connsiteY26" fmla="*/ 8700 h 10000"/>
                <a:gd name="connsiteX27" fmla="*/ 2261 w 10000"/>
                <a:gd name="connsiteY27" fmla="*/ 8710 h 10000"/>
                <a:gd name="connsiteX28" fmla="*/ 2502 w 10000"/>
                <a:gd name="connsiteY28" fmla="*/ 8843 h 10000"/>
                <a:gd name="connsiteX29" fmla="*/ 2561 w 10000"/>
                <a:gd name="connsiteY29" fmla="*/ 9051 h 10000"/>
                <a:gd name="connsiteX30" fmla="*/ 2615 w 10000"/>
                <a:gd name="connsiteY30" fmla="*/ 9127 h 10000"/>
                <a:gd name="connsiteX31" fmla="*/ 2917 w 10000"/>
                <a:gd name="connsiteY31" fmla="*/ 9307 h 10000"/>
                <a:gd name="connsiteX32" fmla="*/ 2917 w 10000"/>
                <a:gd name="connsiteY32" fmla="*/ 9440 h 10000"/>
                <a:gd name="connsiteX33" fmla="*/ 3360 w 10000"/>
                <a:gd name="connsiteY33" fmla="*/ 9583 h 10000"/>
                <a:gd name="connsiteX34" fmla="*/ 3602 w 10000"/>
                <a:gd name="connsiteY34" fmla="*/ 9431 h 10000"/>
                <a:gd name="connsiteX35" fmla="*/ 3903 w 10000"/>
                <a:gd name="connsiteY35" fmla="*/ 9545 h 10000"/>
                <a:gd name="connsiteX36" fmla="*/ 4142 w 10000"/>
                <a:gd name="connsiteY36" fmla="*/ 9374 h 10000"/>
                <a:gd name="connsiteX37" fmla="*/ 4415 w 10000"/>
                <a:gd name="connsiteY37" fmla="*/ 9649 h 10000"/>
                <a:gd name="connsiteX38" fmla="*/ 4801 w 10000"/>
                <a:gd name="connsiteY38" fmla="*/ 9801 h 10000"/>
                <a:gd name="connsiteX39" fmla="*/ 4843 w 10000"/>
                <a:gd name="connsiteY39" fmla="*/ 9934 h 10000"/>
                <a:gd name="connsiteX40" fmla="*/ 5002 w 10000"/>
                <a:gd name="connsiteY40" fmla="*/ 9953 h 10000"/>
                <a:gd name="connsiteX41" fmla="*/ 5228 w 10000"/>
                <a:gd name="connsiteY41" fmla="*/ 9829 h 10000"/>
                <a:gd name="connsiteX42" fmla="*/ 5517 w 10000"/>
                <a:gd name="connsiteY42" fmla="*/ 9905 h 10000"/>
                <a:gd name="connsiteX43" fmla="*/ 5615 w 10000"/>
                <a:gd name="connsiteY43" fmla="*/ 9839 h 10000"/>
                <a:gd name="connsiteX44" fmla="*/ 5716 w 10000"/>
                <a:gd name="connsiteY44" fmla="*/ 9829 h 10000"/>
                <a:gd name="connsiteX45" fmla="*/ 5914 w 10000"/>
                <a:gd name="connsiteY45" fmla="*/ 10000 h 10000"/>
                <a:gd name="connsiteX46" fmla="*/ 6101 w 10000"/>
                <a:gd name="connsiteY46" fmla="*/ 9858 h 10000"/>
                <a:gd name="connsiteX47" fmla="*/ 6329 w 10000"/>
                <a:gd name="connsiteY47" fmla="*/ 9867 h 10000"/>
                <a:gd name="connsiteX48" fmla="*/ 6500 w 10000"/>
                <a:gd name="connsiteY48" fmla="*/ 9791 h 10000"/>
                <a:gd name="connsiteX49" fmla="*/ 6744 w 10000"/>
                <a:gd name="connsiteY49" fmla="*/ 9867 h 10000"/>
                <a:gd name="connsiteX50" fmla="*/ 7058 w 10000"/>
                <a:gd name="connsiteY50" fmla="*/ 9630 h 10000"/>
                <a:gd name="connsiteX51" fmla="*/ 7171 w 10000"/>
                <a:gd name="connsiteY51" fmla="*/ 9630 h 10000"/>
                <a:gd name="connsiteX52" fmla="*/ 7372 w 10000"/>
                <a:gd name="connsiteY52" fmla="*/ 9440 h 10000"/>
                <a:gd name="connsiteX53" fmla="*/ 8228 w 10000"/>
                <a:gd name="connsiteY53" fmla="*/ 9431 h 10000"/>
                <a:gd name="connsiteX54" fmla="*/ 8415 w 10000"/>
                <a:gd name="connsiteY54" fmla="*/ 9355 h 10000"/>
                <a:gd name="connsiteX55" fmla="*/ 8401 w 10000"/>
                <a:gd name="connsiteY55" fmla="*/ 9260 h 10000"/>
                <a:gd name="connsiteX56" fmla="*/ 8343 w 10000"/>
                <a:gd name="connsiteY56" fmla="*/ 9051 h 10000"/>
                <a:gd name="connsiteX57" fmla="*/ 7986 w 10000"/>
                <a:gd name="connsiteY57" fmla="*/ 8985 h 10000"/>
                <a:gd name="connsiteX58" fmla="*/ 7815 w 10000"/>
                <a:gd name="connsiteY58" fmla="*/ 8653 h 10000"/>
                <a:gd name="connsiteX59" fmla="*/ 7715 w 10000"/>
                <a:gd name="connsiteY59" fmla="*/ 8615 h 10000"/>
                <a:gd name="connsiteX60" fmla="*/ 7688 w 10000"/>
                <a:gd name="connsiteY60" fmla="*/ 8378 h 10000"/>
                <a:gd name="connsiteX61" fmla="*/ 7559 w 10000"/>
                <a:gd name="connsiteY61" fmla="*/ 8368 h 10000"/>
                <a:gd name="connsiteX62" fmla="*/ 7514 w 10000"/>
                <a:gd name="connsiteY62" fmla="*/ 8245 h 10000"/>
                <a:gd name="connsiteX63" fmla="*/ 7300 w 10000"/>
                <a:gd name="connsiteY63" fmla="*/ 8216 h 10000"/>
                <a:gd name="connsiteX64" fmla="*/ 7228 w 10000"/>
                <a:gd name="connsiteY64" fmla="*/ 8027 h 10000"/>
                <a:gd name="connsiteX65" fmla="*/ 6873 w 10000"/>
                <a:gd name="connsiteY65" fmla="*/ 7846 h 10000"/>
                <a:gd name="connsiteX66" fmla="*/ 6485 w 10000"/>
                <a:gd name="connsiteY66" fmla="*/ 7818 h 10000"/>
                <a:gd name="connsiteX67" fmla="*/ 6588 w 10000"/>
                <a:gd name="connsiteY67" fmla="*/ 7609 h 10000"/>
                <a:gd name="connsiteX68" fmla="*/ 6560 w 10000"/>
                <a:gd name="connsiteY68" fmla="*/ 7457 h 10000"/>
                <a:gd name="connsiteX69" fmla="*/ 6887 w 10000"/>
                <a:gd name="connsiteY69" fmla="*/ 7467 h 10000"/>
                <a:gd name="connsiteX70" fmla="*/ 6957 w 10000"/>
                <a:gd name="connsiteY70" fmla="*/ 7514 h 10000"/>
                <a:gd name="connsiteX71" fmla="*/ 7158 w 10000"/>
                <a:gd name="connsiteY71" fmla="*/ 7419 h 10000"/>
                <a:gd name="connsiteX72" fmla="*/ 7214 w 10000"/>
                <a:gd name="connsiteY72" fmla="*/ 7078 h 10000"/>
                <a:gd name="connsiteX73" fmla="*/ 7131 w 10000"/>
                <a:gd name="connsiteY73" fmla="*/ 6822 h 10000"/>
                <a:gd name="connsiteX74" fmla="*/ 7372 w 10000"/>
                <a:gd name="connsiteY74" fmla="*/ 6613 h 10000"/>
                <a:gd name="connsiteX75" fmla="*/ 7300 w 10000"/>
                <a:gd name="connsiteY75" fmla="*/ 6414 h 10000"/>
                <a:gd name="connsiteX76" fmla="*/ 7459 w 10000"/>
                <a:gd name="connsiteY76" fmla="*/ 6224 h 10000"/>
                <a:gd name="connsiteX77" fmla="*/ 7559 w 10000"/>
                <a:gd name="connsiteY77" fmla="*/ 6328 h 10000"/>
                <a:gd name="connsiteX78" fmla="*/ 7728 w 10000"/>
                <a:gd name="connsiteY78" fmla="*/ 6281 h 10000"/>
                <a:gd name="connsiteX79" fmla="*/ 7715 w 10000"/>
                <a:gd name="connsiteY79" fmla="*/ 5987 h 10000"/>
                <a:gd name="connsiteX80" fmla="*/ 7815 w 10000"/>
                <a:gd name="connsiteY80" fmla="*/ 5882 h 10000"/>
                <a:gd name="connsiteX81" fmla="*/ 7787 w 10000"/>
                <a:gd name="connsiteY81" fmla="*/ 5740 h 10000"/>
                <a:gd name="connsiteX82" fmla="*/ 8015 w 10000"/>
                <a:gd name="connsiteY82" fmla="*/ 5655 h 10000"/>
                <a:gd name="connsiteX83" fmla="*/ 8029 w 10000"/>
                <a:gd name="connsiteY83" fmla="*/ 5465 h 10000"/>
                <a:gd name="connsiteX84" fmla="*/ 8201 w 10000"/>
                <a:gd name="connsiteY84" fmla="*/ 5285 h 10000"/>
                <a:gd name="connsiteX85" fmla="*/ 8512 w 10000"/>
                <a:gd name="connsiteY85" fmla="*/ 5266 h 10000"/>
                <a:gd name="connsiteX86" fmla="*/ 8486 w 10000"/>
                <a:gd name="connsiteY86" fmla="*/ 5019 h 10000"/>
                <a:gd name="connsiteX87" fmla="*/ 8716 w 10000"/>
                <a:gd name="connsiteY87" fmla="*/ 4753 h 10000"/>
                <a:gd name="connsiteX88" fmla="*/ 8716 w 10000"/>
                <a:gd name="connsiteY88" fmla="*/ 4469 h 10000"/>
                <a:gd name="connsiteX89" fmla="*/ 8686 w 10000"/>
                <a:gd name="connsiteY89" fmla="*/ 4156 h 10000"/>
                <a:gd name="connsiteX90" fmla="*/ 8617 w 10000"/>
                <a:gd name="connsiteY90" fmla="*/ 4061 h 10000"/>
                <a:gd name="connsiteX91" fmla="*/ 8785 w 10000"/>
                <a:gd name="connsiteY91" fmla="*/ 3928 h 10000"/>
                <a:gd name="connsiteX92" fmla="*/ 8799 w 10000"/>
                <a:gd name="connsiteY92" fmla="*/ 3767 h 10000"/>
                <a:gd name="connsiteX93" fmla="*/ 8973 w 10000"/>
                <a:gd name="connsiteY93" fmla="*/ 3577 h 10000"/>
                <a:gd name="connsiteX94" fmla="*/ 8885 w 10000"/>
                <a:gd name="connsiteY94" fmla="*/ 3283 h 10000"/>
                <a:gd name="connsiteX95" fmla="*/ 9044 w 10000"/>
                <a:gd name="connsiteY95" fmla="*/ 3207 h 10000"/>
                <a:gd name="connsiteX96" fmla="*/ 9044 w 10000"/>
                <a:gd name="connsiteY96" fmla="*/ 3112 h 10000"/>
                <a:gd name="connsiteX97" fmla="*/ 9312 w 10000"/>
                <a:gd name="connsiteY97" fmla="*/ 3046 h 10000"/>
                <a:gd name="connsiteX98" fmla="*/ 9327 w 10000"/>
                <a:gd name="connsiteY98" fmla="*/ 2903 h 10000"/>
                <a:gd name="connsiteX99" fmla="*/ 9844 w 10000"/>
                <a:gd name="connsiteY99" fmla="*/ 2808 h 10000"/>
                <a:gd name="connsiteX100" fmla="*/ 10000 w 10000"/>
                <a:gd name="connsiteY100" fmla="*/ 2571 h 10000"/>
                <a:gd name="connsiteX101" fmla="*/ 9644 w 10000"/>
                <a:gd name="connsiteY101" fmla="*/ 2429 h 10000"/>
                <a:gd name="connsiteX102" fmla="*/ 9516 w 10000"/>
                <a:gd name="connsiteY102" fmla="*/ 2239 h 10000"/>
                <a:gd name="connsiteX103" fmla="*/ 9158 w 10000"/>
                <a:gd name="connsiteY103" fmla="*/ 2163 h 10000"/>
                <a:gd name="connsiteX104" fmla="*/ 9088 w 10000"/>
                <a:gd name="connsiteY104" fmla="*/ 1670 h 10000"/>
                <a:gd name="connsiteX105" fmla="*/ 8986 w 10000"/>
                <a:gd name="connsiteY105" fmla="*/ 1651 h 10000"/>
                <a:gd name="connsiteX106" fmla="*/ 8957 w 10000"/>
                <a:gd name="connsiteY106" fmla="*/ 1205 h 10000"/>
                <a:gd name="connsiteX107" fmla="*/ 8885 w 10000"/>
                <a:gd name="connsiteY107" fmla="*/ 1053 h 10000"/>
                <a:gd name="connsiteX108" fmla="*/ 9058 w 10000"/>
                <a:gd name="connsiteY108" fmla="*/ 1025 h 10000"/>
                <a:gd name="connsiteX109" fmla="*/ 8785 w 10000"/>
                <a:gd name="connsiteY109" fmla="*/ 797 h 10000"/>
                <a:gd name="connsiteX110" fmla="*/ 8743 w 10000"/>
                <a:gd name="connsiteY110" fmla="*/ 503 h 10000"/>
                <a:gd name="connsiteX111" fmla="*/ 8472 w 10000"/>
                <a:gd name="connsiteY111" fmla="*/ 370 h 10000"/>
                <a:gd name="connsiteX112" fmla="*/ 8286 w 10000"/>
                <a:gd name="connsiteY112" fmla="*/ 218 h 10000"/>
                <a:gd name="connsiteX113" fmla="*/ 8129 w 10000"/>
                <a:gd name="connsiteY113" fmla="*/ 209 h 10000"/>
                <a:gd name="connsiteX114" fmla="*/ 7902 w 10000"/>
                <a:gd name="connsiteY114" fmla="*/ 0 h 10000"/>
                <a:gd name="connsiteX115" fmla="*/ 7670 w 10000"/>
                <a:gd name="connsiteY115" fmla="*/ 142 h 10000"/>
                <a:gd name="connsiteX116" fmla="*/ 7430 w 10000"/>
                <a:gd name="connsiteY116" fmla="*/ 152 h 10000"/>
                <a:gd name="connsiteX0" fmla="*/ 7430 w 10000"/>
                <a:gd name="connsiteY0" fmla="*/ 152 h 10000"/>
                <a:gd name="connsiteX1" fmla="*/ 7287 w 10000"/>
                <a:gd name="connsiteY1" fmla="*/ 408 h 10000"/>
                <a:gd name="connsiteX2" fmla="*/ 6971 w 10000"/>
                <a:gd name="connsiteY2" fmla="*/ 436 h 10000"/>
                <a:gd name="connsiteX3" fmla="*/ 6657 w 10000"/>
                <a:gd name="connsiteY3" fmla="*/ 731 h 10000"/>
                <a:gd name="connsiteX4" fmla="*/ 6302 w 10000"/>
                <a:gd name="connsiteY4" fmla="*/ 560 h 10000"/>
                <a:gd name="connsiteX5" fmla="*/ 5173 w 10000"/>
                <a:gd name="connsiteY5" fmla="*/ 531 h 10000"/>
                <a:gd name="connsiteX6" fmla="*/ 5100 w 10000"/>
                <a:gd name="connsiteY6" fmla="*/ 455 h 10000"/>
                <a:gd name="connsiteX7" fmla="*/ 1754 w 10000"/>
                <a:gd name="connsiteY7" fmla="*/ 5799 h 10000"/>
                <a:gd name="connsiteX8" fmla="*/ 769 w 10000"/>
                <a:gd name="connsiteY8" fmla="*/ 6588 h 10000"/>
                <a:gd name="connsiteX9" fmla="*/ 175 w 10000"/>
                <a:gd name="connsiteY9" fmla="*/ 6774 h 10000"/>
                <a:gd name="connsiteX10" fmla="*/ 2 w 10000"/>
                <a:gd name="connsiteY10" fmla="*/ 7144 h 10000"/>
                <a:gd name="connsiteX11" fmla="*/ 117 w 10000"/>
                <a:gd name="connsiteY11" fmla="*/ 7211 h 10000"/>
                <a:gd name="connsiteX12" fmla="*/ 32 w 10000"/>
                <a:gd name="connsiteY12" fmla="*/ 7315 h 10000"/>
                <a:gd name="connsiteX13" fmla="*/ 518 w 10000"/>
                <a:gd name="connsiteY13" fmla="*/ 7343 h 10000"/>
                <a:gd name="connsiteX14" fmla="*/ 518 w 10000"/>
                <a:gd name="connsiteY14" fmla="*/ 7410 h 10000"/>
                <a:gd name="connsiteX15" fmla="*/ 502 w 10000"/>
                <a:gd name="connsiteY15" fmla="*/ 7562 h 10000"/>
                <a:gd name="connsiteX16" fmla="*/ 1016 w 10000"/>
                <a:gd name="connsiteY16" fmla="*/ 7619 h 10000"/>
                <a:gd name="connsiteX17" fmla="*/ 1016 w 10000"/>
                <a:gd name="connsiteY17" fmla="*/ 7742 h 10000"/>
                <a:gd name="connsiteX18" fmla="*/ 1288 w 10000"/>
                <a:gd name="connsiteY18" fmla="*/ 7837 h 10000"/>
                <a:gd name="connsiteX19" fmla="*/ 1203 w 10000"/>
                <a:gd name="connsiteY19" fmla="*/ 7979 h 10000"/>
                <a:gd name="connsiteX20" fmla="*/ 1586 w 10000"/>
                <a:gd name="connsiteY20" fmla="*/ 8102 h 10000"/>
                <a:gd name="connsiteX21" fmla="*/ 1817 w 10000"/>
                <a:gd name="connsiteY21" fmla="*/ 8330 h 10000"/>
                <a:gd name="connsiteX22" fmla="*/ 2030 w 10000"/>
                <a:gd name="connsiteY22" fmla="*/ 8416 h 10000"/>
                <a:gd name="connsiteX23" fmla="*/ 1945 w 10000"/>
                <a:gd name="connsiteY23" fmla="*/ 8491 h 10000"/>
                <a:gd name="connsiteX24" fmla="*/ 2059 w 10000"/>
                <a:gd name="connsiteY24" fmla="*/ 8577 h 10000"/>
                <a:gd name="connsiteX25" fmla="*/ 2043 w 10000"/>
                <a:gd name="connsiteY25" fmla="*/ 8700 h 10000"/>
                <a:gd name="connsiteX26" fmla="*/ 2261 w 10000"/>
                <a:gd name="connsiteY26" fmla="*/ 8710 h 10000"/>
                <a:gd name="connsiteX27" fmla="*/ 2502 w 10000"/>
                <a:gd name="connsiteY27" fmla="*/ 8843 h 10000"/>
                <a:gd name="connsiteX28" fmla="*/ 2561 w 10000"/>
                <a:gd name="connsiteY28" fmla="*/ 9051 h 10000"/>
                <a:gd name="connsiteX29" fmla="*/ 2615 w 10000"/>
                <a:gd name="connsiteY29" fmla="*/ 9127 h 10000"/>
                <a:gd name="connsiteX30" fmla="*/ 2917 w 10000"/>
                <a:gd name="connsiteY30" fmla="*/ 9307 h 10000"/>
                <a:gd name="connsiteX31" fmla="*/ 2917 w 10000"/>
                <a:gd name="connsiteY31" fmla="*/ 9440 h 10000"/>
                <a:gd name="connsiteX32" fmla="*/ 3360 w 10000"/>
                <a:gd name="connsiteY32" fmla="*/ 9583 h 10000"/>
                <a:gd name="connsiteX33" fmla="*/ 3602 w 10000"/>
                <a:gd name="connsiteY33" fmla="*/ 9431 h 10000"/>
                <a:gd name="connsiteX34" fmla="*/ 3903 w 10000"/>
                <a:gd name="connsiteY34" fmla="*/ 9545 h 10000"/>
                <a:gd name="connsiteX35" fmla="*/ 4142 w 10000"/>
                <a:gd name="connsiteY35" fmla="*/ 9374 h 10000"/>
                <a:gd name="connsiteX36" fmla="*/ 4415 w 10000"/>
                <a:gd name="connsiteY36" fmla="*/ 9649 h 10000"/>
                <a:gd name="connsiteX37" fmla="*/ 4801 w 10000"/>
                <a:gd name="connsiteY37" fmla="*/ 9801 h 10000"/>
                <a:gd name="connsiteX38" fmla="*/ 4843 w 10000"/>
                <a:gd name="connsiteY38" fmla="*/ 9934 h 10000"/>
                <a:gd name="connsiteX39" fmla="*/ 5002 w 10000"/>
                <a:gd name="connsiteY39" fmla="*/ 9953 h 10000"/>
                <a:gd name="connsiteX40" fmla="*/ 5228 w 10000"/>
                <a:gd name="connsiteY40" fmla="*/ 9829 h 10000"/>
                <a:gd name="connsiteX41" fmla="*/ 5517 w 10000"/>
                <a:gd name="connsiteY41" fmla="*/ 9905 h 10000"/>
                <a:gd name="connsiteX42" fmla="*/ 5615 w 10000"/>
                <a:gd name="connsiteY42" fmla="*/ 9839 h 10000"/>
                <a:gd name="connsiteX43" fmla="*/ 5716 w 10000"/>
                <a:gd name="connsiteY43" fmla="*/ 9829 h 10000"/>
                <a:gd name="connsiteX44" fmla="*/ 5914 w 10000"/>
                <a:gd name="connsiteY44" fmla="*/ 10000 h 10000"/>
                <a:gd name="connsiteX45" fmla="*/ 6101 w 10000"/>
                <a:gd name="connsiteY45" fmla="*/ 9858 h 10000"/>
                <a:gd name="connsiteX46" fmla="*/ 6329 w 10000"/>
                <a:gd name="connsiteY46" fmla="*/ 9867 h 10000"/>
                <a:gd name="connsiteX47" fmla="*/ 6500 w 10000"/>
                <a:gd name="connsiteY47" fmla="*/ 9791 h 10000"/>
                <a:gd name="connsiteX48" fmla="*/ 6744 w 10000"/>
                <a:gd name="connsiteY48" fmla="*/ 9867 h 10000"/>
                <a:gd name="connsiteX49" fmla="*/ 7058 w 10000"/>
                <a:gd name="connsiteY49" fmla="*/ 9630 h 10000"/>
                <a:gd name="connsiteX50" fmla="*/ 7171 w 10000"/>
                <a:gd name="connsiteY50" fmla="*/ 9630 h 10000"/>
                <a:gd name="connsiteX51" fmla="*/ 7372 w 10000"/>
                <a:gd name="connsiteY51" fmla="*/ 9440 h 10000"/>
                <a:gd name="connsiteX52" fmla="*/ 8228 w 10000"/>
                <a:gd name="connsiteY52" fmla="*/ 9431 h 10000"/>
                <a:gd name="connsiteX53" fmla="*/ 8415 w 10000"/>
                <a:gd name="connsiteY53" fmla="*/ 9355 h 10000"/>
                <a:gd name="connsiteX54" fmla="*/ 8401 w 10000"/>
                <a:gd name="connsiteY54" fmla="*/ 9260 h 10000"/>
                <a:gd name="connsiteX55" fmla="*/ 8343 w 10000"/>
                <a:gd name="connsiteY55" fmla="*/ 9051 h 10000"/>
                <a:gd name="connsiteX56" fmla="*/ 7986 w 10000"/>
                <a:gd name="connsiteY56" fmla="*/ 8985 h 10000"/>
                <a:gd name="connsiteX57" fmla="*/ 7815 w 10000"/>
                <a:gd name="connsiteY57" fmla="*/ 8653 h 10000"/>
                <a:gd name="connsiteX58" fmla="*/ 7715 w 10000"/>
                <a:gd name="connsiteY58" fmla="*/ 8615 h 10000"/>
                <a:gd name="connsiteX59" fmla="*/ 7688 w 10000"/>
                <a:gd name="connsiteY59" fmla="*/ 8378 h 10000"/>
                <a:gd name="connsiteX60" fmla="*/ 7559 w 10000"/>
                <a:gd name="connsiteY60" fmla="*/ 8368 h 10000"/>
                <a:gd name="connsiteX61" fmla="*/ 7514 w 10000"/>
                <a:gd name="connsiteY61" fmla="*/ 8245 h 10000"/>
                <a:gd name="connsiteX62" fmla="*/ 7300 w 10000"/>
                <a:gd name="connsiteY62" fmla="*/ 8216 h 10000"/>
                <a:gd name="connsiteX63" fmla="*/ 7228 w 10000"/>
                <a:gd name="connsiteY63" fmla="*/ 8027 h 10000"/>
                <a:gd name="connsiteX64" fmla="*/ 6873 w 10000"/>
                <a:gd name="connsiteY64" fmla="*/ 7846 h 10000"/>
                <a:gd name="connsiteX65" fmla="*/ 6485 w 10000"/>
                <a:gd name="connsiteY65" fmla="*/ 7818 h 10000"/>
                <a:gd name="connsiteX66" fmla="*/ 6588 w 10000"/>
                <a:gd name="connsiteY66" fmla="*/ 7609 h 10000"/>
                <a:gd name="connsiteX67" fmla="*/ 6560 w 10000"/>
                <a:gd name="connsiteY67" fmla="*/ 7457 h 10000"/>
                <a:gd name="connsiteX68" fmla="*/ 6887 w 10000"/>
                <a:gd name="connsiteY68" fmla="*/ 7467 h 10000"/>
                <a:gd name="connsiteX69" fmla="*/ 6957 w 10000"/>
                <a:gd name="connsiteY69" fmla="*/ 7514 h 10000"/>
                <a:gd name="connsiteX70" fmla="*/ 7158 w 10000"/>
                <a:gd name="connsiteY70" fmla="*/ 7419 h 10000"/>
                <a:gd name="connsiteX71" fmla="*/ 7214 w 10000"/>
                <a:gd name="connsiteY71" fmla="*/ 7078 h 10000"/>
                <a:gd name="connsiteX72" fmla="*/ 7131 w 10000"/>
                <a:gd name="connsiteY72" fmla="*/ 6822 h 10000"/>
                <a:gd name="connsiteX73" fmla="*/ 7372 w 10000"/>
                <a:gd name="connsiteY73" fmla="*/ 6613 h 10000"/>
                <a:gd name="connsiteX74" fmla="*/ 7300 w 10000"/>
                <a:gd name="connsiteY74" fmla="*/ 6414 h 10000"/>
                <a:gd name="connsiteX75" fmla="*/ 7459 w 10000"/>
                <a:gd name="connsiteY75" fmla="*/ 6224 h 10000"/>
                <a:gd name="connsiteX76" fmla="*/ 7559 w 10000"/>
                <a:gd name="connsiteY76" fmla="*/ 6328 h 10000"/>
                <a:gd name="connsiteX77" fmla="*/ 7728 w 10000"/>
                <a:gd name="connsiteY77" fmla="*/ 6281 h 10000"/>
                <a:gd name="connsiteX78" fmla="*/ 7715 w 10000"/>
                <a:gd name="connsiteY78" fmla="*/ 5987 h 10000"/>
                <a:gd name="connsiteX79" fmla="*/ 7815 w 10000"/>
                <a:gd name="connsiteY79" fmla="*/ 5882 h 10000"/>
                <a:gd name="connsiteX80" fmla="*/ 7787 w 10000"/>
                <a:gd name="connsiteY80" fmla="*/ 5740 h 10000"/>
                <a:gd name="connsiteX81" fmla="*/ 8015 w 10000"/>
                <a:gd name="connsiteY81" fmla="*/ 5655 h 10000"/>
                <a:gd name="connsiteX82" fmla="*/ 8029 w 10000"/>
                <a:gd name="connsiteY82" fmla="*/ 5465 h 10000"/>
                <a:gd name="connsiteX83" fmla="*/ 8201 w 10000"/>
                <a:gd name="connsiteY83" fmla="*/ 5285 h 10000"/>
                <a:gd name="connsiteX84" fmla="*/ 8512 w 10000"/>
                <a:gd name="connsiteY84" fmla="*/ 5266 h 10000"/>
                <a:gd name="connsiteX85" fmla="*/ 8486 w 10000"/>
                <a:gd name="connsiteY85" fmla="*/ 5019 h 10000"/>
                <a:gd name="connsiteX86" fmla="*/ 8716 w 10000"/>
                <a:gd name="connsiteY86" fmla="*/ 4753 h 10000"/>
                <a:gd name="connsiteX87" fmla="*/ 8716 w 10000"/>
                <a:gd name="connsiteY87" fmla="*/ 4469 h 10000"/>
                <a:gd name="connsiteX88" fmla="*/ 8686 w 10000"/>
                <a:gd name="connsiteY88" fmla="*/ 4156 h 10000"/>
                <a:gd name="connsiteX89" fmla="*/ 8617 w 10000"/>
                <a:gd name="connsiteY89" fmla="*/ 4061 h 10000"/>
                <a:gd name="connsiteX90" fmla="*/ 8785 w 10000"/>
                <a:gd name="connsiteY90" fmla="*/ 3928 h 10000"/>
                <a:gd name="connsiteX91" fmla="*/ 8799 w 10000"/>
                <a:gd name="connsiteY91" fmla="*/ 3767 h 10000"/>
                <a:gd name="connsiteX92" fmla="*/ 8973 w 10000"/>
                <a:gd name="connsiteY92" fmla="*/ 3577 h 10000"/>
                <a:gd name="connsiteX93" fmla="*/ 8885 w 10000"/>
                <a:gd name="connsiteY93" fmla="*/ 3283 h 10000"/>
                <a:gd name="connsiteX94" fmla="*/ 9044 w 10000"/>
                <a:gd name="connsiteY94" fmla="*/ 3207 h 10000"/>
                <a:gd name="connsiteX95" fmla="*/ 9044 w 10000"/>
                <a:gd name="connsiteY95" fmla="*/ 3112 h 10000"/>
                <a:gd name="connsiteX96" fmla="*/ 9312 w 10000"/>
                <a:gd name="connsiteY96" fmla="*/ 3046 h 10000"/>
                <a:gd name="connsiteX97" fmla="*/ 9327 w 10000"/>
                <a:gd name="connsiteY97" fmla="*/ 2903 h 10000"/>
                <a:gd name="connsiteX98" fmla="*/ 9844 w 10000"/>
                <a:gd name="connsiteY98" fmla="*/ 2808 h 10000"/>
                <a:gd name="connsiteX99" fmla="*/ 10000 w 10000"/>
                <a:gd name="connsiteY99" fmla="*/ 2571 h 10000"/>
                <a:gd name="connsiteX100" fmla="*/ 9644 w 10000"/>
                <a:gd name="connsiteY100" fmla="*/ 2429 h 10000"/>
                <a:gd name="connsiteX101" fmla="*/ 9516 w 10000"/>
                <a:gd name="connsiteY101" fmla="*/ 2239 h 10000"/>
                <a:gd name="connsiteX102" fmla="*/ 9158 w 10000"/>
                <a:gd name="connsiteY102" fmla="*/ 2163 h 10000"/>
                <a:gd name="connsiteX103" fmla="*/ 9088 w 10000"/>
                <a:gd name="connsiteY103" fmla="*/ 1670 h 10000"/>
                <a:gd name="connsiteX104" fmla="*/ 8986 w 10000"/>
                <a:gd name="connsiteY104" fmla="*/ 1651 h 10000"/>
                <a:gd name="connsiteX105" fmla="*/ 8957 w 10000"/>
                <a:gd name="connsiteY105" fmla="*/ 1205 h 10000"/>
                <a:gd name="connsiteX106" fmla="*/ 8885 w 10000"/>
                <a:gd name="connsiteY106" fmla="*/ 1053 h 10000"/>
                <a:gd name="connsiteX107" fmla="*/ 9058 w 10000"/>
                <a:gd name="connsiteY107" fmla="*/ 1025 h 10000"/>
                <a:gd name="connsiteX108" fmla="*/ 8785 w 10000"/>
                <a:gd name="connsiteY108" fmla="*/ 797 h 10000"/>
                <a:gd name="connsiteX109" fmla="*/ 8743 w 10000"/>
                <a:gd name="connsiteY109" fmla="*/ 503 h 10000"/>
                <a:gd name="connsiteX110" fmla="*/ 8472 w 10000"/>
                <a:gd name="connsiteY110" fmla="*/ 370 h 10000"/>
                <a:gd name="connsiteX111" fmla="*/ 8286 w 10000"/>
                <a:gd name="connsiteY111" fmla="*/ 218 h 10000"/>
                <a:gd name="connsiteX112" fmla="*/ 8129 w 10000"/>
                <a:gd name="connsiteY112" fmla="*/ 209 h 10000"/>
                <a:gd name="connsiteX113" fmla="*/ 7902 w 10000"/>
                <a:gd name="connsiteY113" fmla="*/ 0 h 10000"/>
                <a:gd name="connsiteX114" fmla="*/ 7670 w 10000"/>
                <a:gd name="connsiteY114" fmla="*/ 142 h 10000"/>
                <a:gd name="connsiteX115" fmla="*/ 7430 w 10000"/>
                <a:gd name="connsiteY115" fmla="*/ 152 h 10000"/>
                <a:gd name="connsiteX0" fmla="*/ 7430 w 10000"/>
                <a:gd name="connsiteY0" fmla="*/ 152 h 10000"/>
                <a:gd name="connsiteX1" fmla="*/ 7287 w 10000"/>
                <a:gd name="connsiteY1" fmla="*/ 408 h 10000"/>
                <a:gd name="connsiteX2" fmla="*/ 6971 w 10000"/>
                <a:gd name="connsiteY2" fmla="*/ 436 h 10000"/>
                <a:gd name="connsiteX3" fmla="*/ 6657 w 10000"/>
                <a:gd name="connsiteY3" fmla="*/ 731 h 10000"/>
                <a:gd name="connsiteX4" fmla="*/ 5173 w 10000"/>
                <a:gd name="connsiteY4" fmla="*/ 531 h 10000"/>
                <a:gd name="connsiteX5" fmla="*/ 5100 w 10000"/>
                <a:gd name="connsiteY5" fmla="*/ 455 h 10000"/>
                <a:gd name="connsiteX6" fmla="*/ 1754 w 10000"/>
                <a:gd name="connsiteY6" fmla="*/ 5799 h 10000"/>
                <a:gd name="connsiteX7" fmla="*/ 769 w 10000"/>
                <a:gd name="connsiteY7" fmla="*/ 6588 h 10000"/>
                <a:gd name="connsiteX8" fmla="*/ 175 w 10000"/>
                <a:gd name="connsiteY8" fmla="*/ 6774 h 10000"/>
                <a:gd name="connsiteX9" fmla="*/ 2 w 10000"/>
                <a:gd name="connsiteY9" fmla="*/ 7144 h 10000"/>
                <a:gd name="connsiteX10" fmla="*/ 117 w 10000"/>
                <a:gd name="connsiteY10" fmla="*/ 7211 h 10000"/>
                <a:gd name="connsiteX11" fmla="*/ 32 w 10000"/>
                <a:gd name="connsiteY11" fmla="*/ 7315 h 10000"/>
                <a:gd name="connsiteX12" fmla="*/ 518 w 10000"/>
                <a:gd name="connsiteY12" fmla="*/ 7343 h 10000"/>
                <a:gd name="connsiteX13" fmla="*/ 518 w 10000"/>
                <a:gd name="connsiteY13" fmla="*/ 7410 h 10000"/>
                <a:gd name="connsiteX14" fmla="*/ 502 w 10000"/>
                <a:gd name="connsiteY14" fmla="*/ 7562 h 10000"/>
                <a:gd name="connsiteX15" fmla="*/ 1016 w 10000"/>
                <a:gd name="connsiteY15" fmla="*/ 7619 h 10000"/>
                <a:gd name="connsiteX16" fmla="*/ 1016 w 10000"/>
                <a:gd name="connsiteY16" fmla="*/ 7742 h 10000"/>
                <a:gd name="connsiteX17" fmla="*/ 1288 w 10000"/>
                <a:gd name="connsiteY17" fmla="*/ 7837 h 10000"/>
                <a:gd name="connsiteX18" fmla="*/ 1203 w 10000"/>
                <a:gd name="connsiteY18" fmla="*/ 7979 h 10000"/>
                <a:gd name="connsiteX19" fmla="*/ 1586 w 10000"/>
                <a:gd name="connsiteY19" fmla="*/ 8102 h 10000"/>
                <a:gd name="connsiteX20" fmla="*/ 1817 w 10000"/>
                <a:gd name="connsiteY20" fmla="*/ 8330 h 10000"/>
                <a:gd name="connsiteX21" fmla="*/ 2030 w 10000"/>
                <a:gd name="connsiteY21" fmla="*/ 8416 h 10000"/>
                <a:gd name="connsiteX22" fmla="*/ 1945 w 10000"/>
                <a:gd name="connsiteY22" fmla="*/ 8491 h 10000"/>
                <a:gd name="connsiteX23" fmla="*/ 2059 w 10000"/>
                <a:gd name="connsiteY23" fmla="*/ 8577 h 10000"/>
                <a:gd name="connsiteX24" fmla="*/ 2043 w 10000"/>
                <a:gd name="connsiteY24" fmla="*/ 8700 h 10000"/>
                <a:gd name="connsiteX25" fmla="*/ 2261 w 10000"/>
                <a:gd name="connsiteY25" fmla="*/ 8710 h 10000"/>
                <a:gd name="connsiteX26" fmla="*/ 2502 w 10000"/>
                <a:gd name="connsiteY26" fmla="*/ 8843 h 10000"/>
                <a:gd name="connsiteX27" fmla="*/ 2561 w 10000"/>
                <a:gd name="connsiteY27" fmla="*/ 9051 h 10000"/>
                <a:gd name="connsiteX28" fmla="*/ 2615 w 10000"/>
                <a:gd name="connsiteY28" fmla="*/ 9127 h 10000"/>
                <a:gd name="connsiteX29" fmla="*/ 2917 w 10000"/>
                <a:gd name="connsiteY29" fmla="*/ 9307 h 10000"/>
                <a:gd name="connsiteX30" fmla="*/ 2917 w 10000"/>
                <a:gd name="connsiteY30" fmla="*/ 9440 h 10000"/>
                <a:gd name="connsiteX31" fmla="*/ 3360 w 10000"/>
                <a:gd name="connsiteY31" fmla="*/ 9583 h 10000"/>
                <a:gd name="connsiteX32" fmla="*/ 3602 w 10000"/>
                <a:gd name="connsiteY32" fmla="*/ 9431 h 10000"/>
                <a:gd name="connsiteX33" fmla="*/ 3903 w 10000"/>
                <a:gd name="connsiteY33" fmla="*/ 9545 h 10000"/>
                <a:gd name="connsiteX34" fmla="*/ 4142 w 10000"/>
                <a:gd name="connsiteY34" fmla="*/ 9374 h 10000"/>
                <a:gd name="connsiteX35" fmla="*/ 4415 w 10000"/>
                <a:gd name="connsiteY35" fmla="*/ 9649 h 10000"/>
                <a:gd name="connsiteX36" fmla="*/ 4801 w 10000"/>
                <a:gd name="connsiteY36" fmla="*/ 9801 h 10000"/>
                <a:gd name="connsiteX37" fmla="*/ 4843 w 10000"/>
                <a:gd name="connsiteY37" fmla="*/ 9934 h 10000"/>
                <a:gd name="connsiteX38" fmla="*/ 5002 w 10000"/>
                <a:gd name="connsiteY38" fmla="*/ 9953 h 10000"/>
                <a:gd name="connsiteX39" fmla="*/ 5228 w 10000"/>
                <a:gd name="connsiteY39" fmla="*/ 9829 h 10000"/>
                <a:gd name="connsiteX40" fmla="*/ 5517 w 10000"/>
                <a:gd name="connsiteY40" fmla="*/ 9905 h 10000"/>
                <a:gd name="connsiteX41" fmla="*/ 5615 w 10000"/>
                <a:gd name="connsiteY41" fmla="*/ 9839 h 10000"/>
                <a:gd name="connsiteX42" fmla="*/ 5716 w 10000"/>
                <a:gd name="connsiteY42" fmla="*/ 9829 h 10000"/>
                <a:gd name="connsiteX43" fmla="*/ 5914 w 10000"/>
                <a:gd name="connsiteY43" fmla="*/ 10000 h 10000"/>
                <a:gd name="connsiteX44" fmla="*/ 6101 w 10000"/>
                <a:gd name="connsiteY44" fmla="*/ 9858 h 10000"/>
                <a:gd name="connsiteX45" fmla="*/ 6329 w 10000"/>
                <a:gd name="connsiteY45" fmla="*/ 9867 h 10000"/>
                <a:gd name="connsiteX46" fmla="*/ 6500 w 10000"/>
                <a:gd name="connsiteY46" fmla="*/ 9791 h 10000"/>
                <a:gd name="connsiteX47" fmla="*/ 6744 w 10000"/>
                <a:gd name="connsiteY47" fmla="*/ 9867 h 10000"/>
                <a:gd name="connsiteX48" fmla="*/ 7058 w 10000"/>
                <a:gd name="connsiteY48" fmla="*/ 9630 h 10000"/>
                <a:gd name="connsiteX49" fmla="*/ 7171 w 10000"/>
                <a:gd name="connsiteY49" fmla="*/ 9630 h 10000"/>
                <a:gd name="connsiteX50" fmla="*/ 7372 w 10000"/>
                <a:gd name="connsiteY50" fmla="*/ 9440 h 10000"/>
                <a:gd name="connsiteX51" fmla="*/ 8228 w 10000"/>
                <a:gd name="connsiteY51" fmla="*/ 9431 h 10000"/>
                <a:gd name="connsiteX52" fmla="*/ 8415 w 10000"/>
                <a:gd name="connsiteY52" fmla="*/ 9355 h 10000"/>
                <a:gd name="connsiteX53" fmla="*/ 8401 w 10000"/>
                <a:gd name="connsiteY53" fmla="*/ 9260 h 10000"/>
                <a:gd name="connsiteX54" fmla="*/ 8343 w 10000"/>
                <a:gd name="connsiteY54" fmla="*/ 9051 h 10000"/>
                <a:gd name="connsiteX55" fmla="*/ 7986 w 10000"/>
                <a:gd name="connsiteY55" fmla="*/ 8985 h 10000"/>
                <a:gd name="connsiteX56" fmla="*/ 7815 w 10000"/>
                <a:gd name="connsiteY56" fmla="*/ 8653 h 10000"/>
                <a:gd name="connsiteX57" fmla="*/ 7715 w 10000"/>
                <a:gd name="connsiteY57" fmla="*/ 8615 h 10000"/>
                <a:gd name="connsiteX58" fmla="*/ 7688 w 10000"/>
                <a:gd name="connsiteY58" fmla="*/ 8378 h 10000"/>
                <a:gd name="connsiteX59" fmla="*/ 7559 w 10000"/>
                <a:gd name="connsiteY59" fmla="*/ 8368 h 10000"/>
                <a:gd name="connsiteX60" fmla="*/ 7514 w 10000"/>
                <a:gd name="connsiteY60" fmla="*/ 8245 h 10000"/>
                <a:gd name="connsiteX61" fmla="*/ 7300 w 10000"/>
                <a:gd name="connsiteY61" fmla="*/ 8216 h 10000"/>
                <a:gd name="connsiteX62" fmla="*/ 7228 w 10000"/>
                <a:gd name="connsiteY62" fmla="*/ 8027 h 10000"/>
                <a:gd name="connsiteX63" fmla="*/ 6873 w 10000"/>
                <a:gd name="connsiteY63" fmla="*/ 7846 h 10000"/>
                <a:gd name="connsiteX64" fmla="*/ 6485 w 10000"/>
                <a:gd name="connsiteY64" fmla="*/ 7818 h 10000"/>
                <a:gd name="connsiteX65" fmla="*/ 6588 w 10000"/>
                <a:gd name="connsiteY65" fmla="*/ 7609 h 10000"/>
                <a:gd name="connsiteX66" fmla="*/ 6560 w 10000"/>
                <a:gd name="connsiteY66" fmla="*/ 7457 h 10000"/>
                <a:gd name="connsiteX67" fmla="*/ 6887 w 10000"/>
                <a:gd name="connsiteY67" fmla="*/ 7467 h 10000"/>
                <a:gd name="connsiteX68" fmla="*/ 6957 w 10000"/>
                <a:gd name="connsiteY68" fmla="*/ 7514 h 10000"/>
                <a:gd name="connsiteX69" fmla="*/ 7158 w 10000"/>
                <a:gd name="connsiteY69" fmla="*/ 7419 h 10000"/>
                <a:gd name="connsiteX70" fmla="*/ 7214 w 10000"/>
                <a:gd name="connsiteY70" fmla="*/ 7078 h 10000"/>
                <a:gd name="connsiteX71" fmla="*/ 7131 w 10000"/>
                <a:gd name="connsiteY71" fmla="*/ 6822 h 10000"/>
                <a:gd name="connsiteX72" fmla="*/ 7372 w 10000"/>
                <a:gd name="connsiteY72" fmla="*/ 6613 h 10000"/>
                <a:gd name="connsiteX73" fmla="*/ 7300 w 10000"/>
                <a:gd name="connsiteY73" fmla="*/ 6414 h 10000"/>
                <a:gd name="connsiteX74" fmla="*/ 7459 w 10000"/>
                <a:gd name="connsiteY74" fmla="*/ 6224 h 10000"/>
                <a:gd name="connsiteX75" fmla="*/ 7559 w 10000"/>
                <a:gd name="connsiteY75" fmla="*/ 6328 h 10000"/>
                <a:gd name="connsiteX76" fmla="*/ 7728 w 10000"/>
                <a:gd name="connsiteY76" fmla="*/ 6281 h 10000"/>
                <a:gd name="connsiteX77" fmla="*/ 7715 w 10000"/>
                <a:gd name="connsiteY77" fmla="*/ 5987 h 10000"/>
                <a:gd name="connsiteX78" fmla="*/ 7815 w 10000"/>
                <a:gd name="connsiteY78" fmla="*/ 5882 h 10000"/>
                <a:gd name="connsiteX79" fmla="*/ 7787 w 10000"/>
                <a:gd name="connsiteY79" fmla="*/ 5740 h 10000"/>
                <a:gd name="connsiteX80" fmla="*/ 8015 w 10000"/>
                <a:gd name="connsiteY80" fmla="*/ 5655 h 10000"/>
                <a:gd name="connsiteX81" fmla="*/ 8029 w 10000"/>
                <a:gd name="connsiteY81" fmla="*/ 5465 h 10000"/>
                <a:gd name="connsiteX82" fmla="*/ 8201 w 10000"/>
                <a:gd name="connsiteY82" fmla="*/ 5285 h 10000"/>
                <a:gd name="connsiteX83" fmla="*/ 8512 w 10000"/>
                <a:gd name="connsiteY83" fmla="*/ 5266 h 10000"/>
                <a:gd name="connsiteX84" fmla="*/ 8486 w 10000"/>
                <a:gd name="connsiteY84" fmla="*/ 5019 h 10000"/>
                <a:gd name="connsiteX85" fmla="*/ 8716 w 10000"/>
                <a:gd name="connsiteY85" fmla="*/ 4753 h 10000"/>
                <a:gd name="connsiteX86" fmla="*/ 8716 w 10000"/>
                <a:gd name="connsiteY86" fmla="*/ 4469 h 10000"/>
                <a:gd name="connsiteX87" fmla="*/ 8686 w 10000"/>
                <a:gd name="connsiteY87" fmla="*/ 4156 h 10000"/>
                <a:gd name="connsiteX88" fmla="*/ 8617 w 10000"/>
                <a:gd name="connsiteY88" fmla="*/ 4061 h 10000"/>
                <a:gd name="connsiteX89" fmla="*/ 8785 w 10000"/>
                <a:gd name="connsiteY89" fmla="*/ 3928 h 10000"/>
                <a:gd name="connsiteX90" fmla="*/ 8799 w 10000"/>
                <a:gd name="connsiteY90" fmla="*/ 3767 h 10000"/>
                <a:gd name="connsiteX91" fmla="*/ 8973 w 10000"/>
                <a:gd name="connsiteY91" fmla="*/ 3577 h 10000"/>
                <a:gd name="connsiteX92" fmla="*/ 8885 w 10000"/>
                <a:gd name="connsiteY92" fmla="*/ 3283 h 10000"/>
                <a:gd name="connsiteX93" fmla="*/ 9044 w 10000"/>
                <a:gd name="connsiteY93" fmla="*/ 3207 h 10000"/>
                <a:gd name="connsiteX94" fmla="*/ 9044 w 10000"/>
                <a:gd name="connsiteY94" fmla="*/ 3112 h 10000"/>
                <a:gd name="connsiteX95" fmla="*/ 9312 w 10000"/>
                <a:gd name="connsiteY95" fmla="*/ 3046 h 10000"/>
                <a:gd name="connsiteX96" fmla="*/ 9327 w 10000"/>
                <a:gd name="connsiteY96" fmla="*/ 2903 h 10000"/>
                <a:gd name="connsiteX97" fmla="*/ 9844 w 10000"/>
                <a:gd name="connsiteY97" fmla="*/ 2808 h 10000"/>
                <a:gd name="connsiteX98" fmla="*/ 10000 w 10000"/>
                <a:gd name="connsiteY98" fmla="*/ 2571 h 10000"/>
                <a:gd name="connsiteX99" fmla="*/ 9644 w 10000"/>
                <a:gd name="connsiteY99" fmla="*/ 2429 h 10000"/>
                <a:gd name="connsiteX100" fmla="*/ 9516 w 10000"/>
                <a:gd name="connsiteY100" fmla="*/ 2239 h 10000"/>
                <a:gd name="connsiteX101" fmla="*/ 9158 w 10000"/>
                <a:gd name="connsiteY101" fmla="*/ 2163 h 10000"/>
                <a:gd name="connsiteX102" fmla="*/ 9088 w 10000"/>
                <a:gd name="connsiteY102" fmla="*/ 1670 h 10000"/>
                <a:gd name="connsiteX103" fmla="*/ 8986 w 10000"/>
                <a:gd name="connsiteY103" fmla="*/ 1651 h 10000"/>
                <a:gd name="connsiteX104" fmla="*/ 8957 w 10000"/>
                <a:gd name="connsiteY104" fmla="*/ 1205 h 10000"/>
                <a:gd name="connsiteX105" fmla="*/ 8885 w 10000"/>
                <a:gd name="connsiteY105" fmla="*/ 1053 h 10000"/>
                <a:gd name="connsiteX106" fmla="*/ 9058 w 10000"/>
                <a:gd name="connsiteY106" fmla="*/ 1025 h 10000"/>
                <a:gd name="connsiteX107" fmla="*/ 8785 w 10000"/>
                <a:gd name="connsiteY107" fmla="*/ 797 h 10000"/>
                <a:gd name="connsiteX108" fmla="*/ 8743 w 10000"/>
                <a:gd name="connsiteY108" fmla="*/ 503 h 10000"/>
                <a:gd name="connsiteX109" fmla="*/ 8472 w 10000"/>
                <a:gd name="connsiteY109" fmla="*/ 370 h 10000"/>
                <a:gd name="connsiteX110" fmla="*/ 8286 w 10000"/>
                <a:gd name="connsiteY110" fmla="*/ 218 h 10000"/>
                <a:gd name="connsiteX111" fmla="*/ 8129 w 10000"/>
                <a:gd name="connsiteY111" fmla="*/ 209 h 10000"/>
                <a:gd name="connsiteX112" fmla="*/ 7902 w 10000"/>
                <a:gd name="connsiteY112" fmla="*/ 0 h 10000"/>
                <a:gd name="connsiteX113" fmla="*/ 7670 w 10000"/>
                <a:gd name="connsiteY113" fmla="*/ 142 h 10000"/>
                <a:gd name="connsiteX114" fmla="*/ 7430 w 10000"/>
                <a:gd name="connsiteY114" fmla="*/ 152 h 10000"/>
                <a:gd name="connsiteX0" fmla="*/ 7430 w 10000"/>
                <a:gd name="connsiteY0" fmla="*/ 152 h 10000"/>
                <a:gd name="connsiteX1" fmla="*/ 7287 w 10000"/>
                <a:gd name="connsiteY1" fmla="*/ 408 h 10000"/>
                <a:gd name="connsiteX2" fmla="*/ 6971 w 10000"/>
                <a:gd name="connsiteY2" fmla="*/ 436 h 10000"/>
                <a:gd name="connsiteX3" fmla="*/ 6657 w 10000"/>
                <a:gd name="connsiteY3" fmla="*/ 731 h 10000"/>
                <a:gd name="connsiteX4" fmla="*/ 5173 w 10000"/>
                <a:gd name="connsiteY4" fmla="*/ 531 h 10000"/>
                <a:gd name="connsiteX5" fmla="*/ 4796 w 10000"/>
                <a:gd name="connsiteY5" fmla="*/ 5811 h 10000"/>
                <a:gd name="connsiteX6" fmla="*/ 1754 w 10000"/>
                <a:gd name="connsiteY6" fmla="*/ 5799 h 10000"/>
                <a:gd name="connsiteX7" fmla="*/ 769 w 10000"/>
                <a:gd name="connsiteY7" fmla="*/ 6588 h 10000"/>
                <a:gd name="connsiteX8" fmla="*/ 175 w 10000"/>
                <a:gd name="connsiteY8" fmla="*/ 6774 h 10000"/>
                <a:gd name="connsiteX9" fmla="*/ 2 w 10000"/>
                <a:gd name="connsiteY9" fmla="*/ 7144 h 10000"/>
                <a:gd name="connsiteX10" fmla="*/ 117 w 10000"/>
                <a:gd name="connsiteY10" fmla="*/ 7211 h 10000"/>
                <a:gd name="connsiteX11" fmla="*/ 32 w 10000"/>
                <a:gd name="connsiteY11" fmla="*/ 7315 h 10000"/>
                <a:gd name="connsiteX12" fmla="*/ 518 w 10000"/>
                <a:gd name="connsiteY12" fmla="*/ 7343 h 10000"/>
                <a:gd name="connsiteX13" fmla="*/ 518 w 10000"/>
                <a:gd name="connsiteY13" fmla="*/ 7410 h 10000"/>
                <a:gd name="connsiteX14" fmla="*/ 502 w 10000"/>
                <a:gd name="connsiteY14" fmla="*/ 7562 h 10000"/>
                <a:gd name="connsiteX15" fmla="*/ 1016 w 10000"/>
                <a:gd name="connsiteY15" fmla="*/ 7619 h 10000"/>
                <a:gd name="connsiteX16" fmla="*/ 1016 w 10000"/>
                <a:gd name="connsiteY16" fmla="*/ 7742 h 10000"/>
                <a:gd name="connsiteX17" fmla="*/ 1288 w 10000"/>
                <a:gd name="connsiteY17" fmla="*/ 7837 h 10000"/>
                <a:gd name="connsiteX18" fmla="*/ 1203 w 10000"/>
                <a:gd name="connsiteY18" fmla="*/ 7979 h 10000"/>
                <a:gd name="connsiteX19" fmla="*/ 1586 w 10000"/>
                <a:gd name="connsiteY19" fmla="*/ 8102 h 10000"/>
                <a:gd name="connsiteX20" fmla="*/ 1817 w 10000"/>
                <a:gd name="connsiteY20" fmla="*/ 8330 h 10000"/>
                <a:gd name="connsiteX21" fmla="*/ 2030 w 10000"/>
                <a:gd name="connsiteY21" fmla="*/ 8416 h 10000"/>
                <a:gd name="connsiteX22" fmla="*/ 1945 w 10000"/>
                <a:gd name="connsiteY22" fmla="*/ 8491 h 10000"/>
                <a:gd name="connsiteX23" fmla="*/ 2059 w 10000"/>
                <a:gd name="connsiteY23" fmla="*/ 8577 h 10000"/>
                <a:gd name="connsiteX24" fmla="*/ 2043 w 10000"/>
                <a:gd name="connsiteY24" fmla="*/ 8700 h 10000"/>
                <a:gd name="connsiteX25" fmla="*/ 2261 w 10000"/>
                <a:gd name="connsiteY25" fmla="*/ 8710 h 10000"/>
                <a:gd name="connsiteX26" fmla="*/ 2502 w 10000"/>
                <a:gd name="connsiteY26" fmla="*/ 8843 h 10000"/>
                <a:gd name="connsiteX27" fmla="*/ 2561 w 10000"/>
                <a:gd name="connsiteY27" fmla="*/ 9051 h 10000"/>
                <a:gd name="connsiteX28" fmla="*/ 2615 w 10000"/>
                <a:gd name="connsiteY28" fmla="*/ 9127 h 10000"/>
                <a:gd name="connsiteX29" fmla="*/ 2917 w 10000"/>
                <a:gd name="connsiteY29" fmla="*/ 9307 h 10000"/>
                <a:gd name="connsiteX30" fmla="*/ 2917 w 10000"/>
                <a:gd name="connsiteY30" fmla="*/ 9440 h 10000"/>
                <a:gd name="connsiteX31" fmla="*/ 3360 w 10000"/>
                <a:gd name="connsiteY31" fmla="*/ 9583 h 10000"/>
                <a:gd name="connsiteX32" fmla="*/ 3602 w 10000"/>
                <a:gd name="connsiteY32" fmla="*/ 9431 h 10000"/>
                <a:gd name="connsiteX33" fmla="*/ 3903 w 10000"/>
                <a:gd name="connsiteY33" fmla="*/ 9545 h 10000"/>
                <a:gd name="connsiteX34" fmla="*/ 4142 w 10000"/>
                <a:gd name="connsiteY34" fmla="*/ 9374 h 10000"/>
                <a:gd name="connsiteX35" fmla="*/ 4415 w 10000"/>
                <a:gd name="connsiteY35" fmla="*/ 9649 h 10000"/>
                <a:gd name="connsiteX36" fmla="*/ 4801 w 10000"/>
                <a:gd name="connsiteY36" fmla="*/ 9801 h 10000"/>
                <a:gd name="connsiteX37" fmla="*/ 4843 w 10000"/>
                <a:gd name="connsiteY37" fmla="*/ 9934 h 10000"/>
                <a:gd name="connsiteX38" fmla="*/ 5002 w 10000"/>
                <a:gd name="connsiteY38" fmla="*/ 9953 h 10000"/>
                <a:gd name="connsiteX39" fmla="*/ 5228 w 10000"/>
                <a:gd name="connsiteY39" fmla="*/ 9829 h 10000"/>
                <a:gd name="connsiteX40" fmla="*/ 5517 w 10000"/>
                <a:gd name="connsiteY40" fmla="*/ 9905 h 10000"/>
                <a:gd name="connsiteX41" fmla="*/ 5615 w 10000"/>
                <a:gd name="connsiteY41" fmla="*/ 9839 h 10000"/>
                <a:gd name="connsiteX42" fmla="*/ 5716 w 10000"/>
                <a:gd name="connsiteY42" fmla="*/ 9829 h 10000"/>
                <a:gd name="connsiteX43" fmla="*/ 5914 w 10000"/>
                <a:gd name="connsiteY43" fmla="*/ 10000 h 10000"/>
                <a:gd name="connsiteX44" fmla="*/ 6101 w 10000"/>
                <a:gd name="connsiteY44" fmla="*/ 9858 h 10000"/>
                <a:gd name="connsiteX45" fmla="*/ 6329 w 10000"/>
                <a:gd name="connsiteY45" fmla="*/ 9867 h 10000"/>
                <a:gd name="connsiteX46" fmla="*/ 6500 w 10000"/>
                <a:gd name="connsiteY46" fmla="*/ 9791 h 10000"/>
                <a:gd name="connsiteX47" fmla="*/ 6744 w 10000"/>
                <a:gd name="connsiteY47" fmla="*/ 9867 h 10000"/>
                <a:gd name="connsiteX48" fmla="*/ 7058 w 10000"/>
                <a:gd name="connsiteY48" fmla="*/ 9630 h 10000"/>
                <a:gd name="connsiteX49" fmla="*/ 7171 w 10000"/>
                <a:gd name="connsiteY49" fmla="*/ 9630 h 10000"/>
                <a:gd name="connsiteX50" fmla="*/ 7372 w 10000"/>
                <a:gd name="connsiteY50" fmla="*/ 9440 h 10000"/>
                <a:gd name="connsiteX51" fmla="*/ 8228 w 10000"/>
                <a:gd name="connsiteY51" fmla="*/ 9431 h 10000"/>
                <a:gd name="connsiteX52" fmla="*/ 8415 w 10000"/>
                <a:gd name="connsiteY52" fmla="*/ 9355 h 10000"/>
                <a:gd name="connsiteX53" fmla="*/ 8401 w 10000"/>
                <a:gd name="connsiteY53" fmla="*/ 9260 h 10000"/>
                <a:gd name="connsiteX54" fmla="*/ 8343 w 10000"/>
                <a:gd name="connsiteY54" fmla="*/ 9051 h 10000"/>
                <a:gd name="connsiteX55" fmla="*/ 7986 w 10000"/>
                <a:gd name="connsiteY55" fmla="*/ 8985 h 10000"/>
                <a:gd name="connsiteX56" fmla="*/ 7815 w 10000"/>
                <a:gd name="connsiteY56" fmla="*/ 8653 h 10000"/>
                <a:gd name="connsiteX57" fmla="*/ 7715 w 10000"/>
                <a:gd name="connsiteY57" fmla="*/ 8615 h 10000"/>
                <a:gd name="connsiteX58" fmla="*/ 7688 w 10000"/>
                <a:gd name="connsiteY58" fmla="*/ 8378 h 10000"/>
                <a:gd name="connsiteX59" fmla="*/ 7559 w 10000"/>
                <a:gd name="connsiteY59" fmla="*/ 8368 h 10000"/>
                <a:gd name="connsiteX60" fmla="*/ 7514 w 10000"/>
                <a:gd name="connsiteY60" fmla="*/ 8245 h 10000"/>
                <a:gd name="connsiteX61" fmla="*/ 7300 w 10000"/>
                <a:gd name="connsiteY61" fmla="*/ 8216 h 10000"/>
                <a:gd name="connsiteX62" fmla="*/ 7228 w 10000"/>
                <a:gd name="connsiteY62" fmla="*/ 8027 h 10000"/>
                <a:gd name="connsiteX63" fmla="*/ 6873 w 10000"/>
                <a:gd name="connsiteY63" fmla="*/ 7846 h 10000"/>
                <a:gd name="connsiteX64" fmla="*/ 6485 w 10000"/>
                <a:gd name="connsiteY64" fmla="*/ 7818 h 10000"/>
                <a:gd name="connsiteX65" fmla="*/ 6588 w 10000"/>
                <a:gd name="connsiteY65" fmla="*/ 7609 h 10000"/>
                <a:gd name="connsiteX66" fmla="*/ 6560 w 10000"/>
                <a:gd name="connsiteY66" fmla="*/ 7457 h 10000"/>
                <a:gd name="connsiteX67" fmla="*/ 6887 w 10000"/>
                <a:gd name="connsiteY67" fmla="*/ 7467 h 10000"/>
                <a:gd name="connsiteX68" fmla="*/ 6957 w 10000"/>
                <a:gd name="connsiteY68" fmla="*/ 7514 h 10000"/>
                <a:gd name="connsiteX69" fmla="*/ 7158 w 10000"/>
                <a:gd name="connsiteY69" fmla="*/ 7419 h 10000"/>
                <a:gd name="connsiteX70" fmla="*/ 7214 w 10000"/>
                <a:gd name="connsiteY70" fmla="*/ 7078 h 10000"/>
                <a:gd name="connsiteX71" fmla="*/ 7131 w 10000"/>
                <a:gd name="connsiteY71" fmla="*/ 6822 h 10000"/>
                <a:gd name="connsiteX72" fmla="*/ 7372 w 10000"/>
                <a:gd name="connsiteY72" fmla="*/ 6613 h 10000"/>
                <a:gd name="connsiteX73" fmla="*/ 7300 w 10000"/>
                <a:gd name="connsiteY73" fmla="*/ 6414 h 10000"/>
                <a:gd name="connsiteX74" fmla="*/ 7459 w 10000"/>
                <a:gd name="connsiteY74" fmla="*/ 6224 h 10000"/>
                <a:gd name="connsiteX75" fmla="*/ 7559 w 10000"/>
                <a:gd name="connsiteY75" fmla="*/ 6328 h 10000"/>
                <a:gd name="connsiteX76" fmla="*/ 7728 w 10000"/>
                <a:gd name="connsiteY76" fmla="*/ 6281 h 10000"/>
                <a:gd name="connsiteX77" fmla="*/ 7715 w 10000"/>
                <a:gd name="connsiteY77" fmla="*/ 5987 h 10000"/>
                <a:gd name="connsiteX78" fmla="*/ 7815 w 10000"/>
                <a:gd name="connsiteY78" fmla="*/ 5882 h 10000"/>
                <a:gd name="connsiteX79" fmla="*/ 7787 w 10000"/>
                <a:gd name="connsiteY79" fmla="*/ 5740 h 10000"/>
                <a:gd name="connsiteX80" fmla="*/ 8015 w 10000"/>
                <a:gd name="connsiteY80" fmla="*/ 5655 h 10000"/>
                <a:gd name="connsiteX81" fmla="*/ 8029 w 10000"/>
                <a:gd name="connsiteY81" fmla="*/ 5465 h 10000"/>
                <a:gd name="connsiteX82" fmla="*/ 8201 w 10000"/>
                <a:gd name="connsiteY82" fmla="*/ 5285 h 10000"/>
                <a:gd name="connsiteX83" fmla="*/ 8512 w 10000"/>
                <a:gd name="connsiteY83" fmla="*/ 5266 h 10000"/>
                <a:gd name="connsiteX84" fmla="*/ 8486 w 10000"/>
                <a:gd name="connsiteY84" fmla="*/ 5019 h 10000"/>
                <a:gd name="connsiteX85" fmla="*/ 8716 w 10000"/>
                <a:gd name="connsiteY85" fmla="*/ 4753 h 10000"/>
                <a:gd name="connsiteX86" fmla="*/ 8716 w 10000"/>
                <a:gd name="connsiteY86" fmla="*/ 4469 h 10000"/>
                <a:gd name="connsiteX87" fmla="*/ 8686 w 10000"/>
                <a:gd name="connsiteY87" fmla="*/ 4156 h 10000"/>
                <a:gd name="connsiteX88" fmla="*/ 8617 w 10000"/>
                <a:gd name="connsiteY88" fmla="*/ 4061 h 10000"/>
                <a:gd name="connsiteX89" fmla="*/ 8785 w 10000"/>
                <a:gd name="connsiteY89" fmla="*/ 3928 h 10000"/>
                <a:gd name="connsiteX90" fmla="*/ 8799 w 10000"/>
                <a:gd name="connsiteY90" fmla="*/ 3767 h 10000"/>
                <a:gd name="connsiteX91" fmla="*/ 8973 w 10000"/>
                <a:gd name="connsiteY91" fmla="*/ 3577 h 10000"/>
                <a:gd name="connsiteX92" fmla="*/ 8885 w 10000"/>
                <a:gd name="connsiteY92" fmla="*/ 3283 h 10000"/>
                <a:gd name="connsiteX93" fmla="*/ 9044 w 10000"/>
                <a:gd name="connsiteY93" fmla="*/ 3207 h 10000"/>
                <a:gd name="connsiteX94" fmla="*/ 9044 w 10000"/>
                <a:gd name="connsiteY94" fmla="*/ 3112 h 10000"/>
                <a:gd name="connsiteX95" fmla="*/ 9312 w 10000"/>
                <a:gd name="connsiteY95" fmla="*/ 3046 h 10000"/>
                <a:gd name="connsiteX96" fmla="*/ 9327 w 10000"/>
                <a:gd name="connsiteY96" fmla="*/ 2903 h 10000"/>
                <a:gd name="connsiteX97" fmla="*/ 9844 w 10000"/>
                <a:gd name="connsiteY97" fmla="*/ 2808 h 10000"/>
                <a:gd name="connsiteX98" fmla="*/ 10000 w 10000"/>
                <a:gd name="connsiteY98" fmla="*/ 2571 h 10000"/>
                <a:gd name="connsiteX99" fmla="*/ 9644 w 10000"/>
                <a:gd name="connsiteY99" fmla="*/ 2429 h 10000"/>
                <a:gd name="connsiteX100" fmla="*/ 9516 w 10000"/>
                <a:gd name="connsiteY100" fmla="*/ 2239 h 10000"/>
                <a:gd name="connsiteX101" fmla="*/ 9158 w 10000"/>
                <a:gd name="connsiteY101" fmla="*/ 2163 h 10000"/>
                <a:gd name="connsiteX102" fmla="*/ 9088 w 10000"/>
                <a:gd name="connsiteY102" fmla="*/ 1670 h 10000"/>
                <a:gd name="connsiteX103" fmla="*/ 8986 w 10000"/>
                <a:gd name="connsiteY103" fmla="*/ 1651 h 10000"/>
                <a:gd name="connsiteX104" fmla="*/ 8957 w 10000"/>
                <a:gd name="connsiteY104" fmla="*/ 1205 h 10000"/>
                <a:gd name="connsiteX105" fmla="*/ 8885 w 10000"/>
                <a:gd name="connsiteY105" fmla="*/ 1053 h 10000"/>
                <a:gd name="connsiteX106" fmla="*/ 9058 w 10000"/>
                <a:gd name="connsiteY106" fmla="*/ 1025 h 10000"/>
                <a:gd name="connsiteX107" fmla="*/ 8785 w 10000"/>
                <a:gd name="connsiteY107" fmla="*/ 797 h 10000"/>
                <a:gd name="connsiteX108" fmla="*/ 8743 w 10000"/>
                <a:gd name="connsiteY108" fmla="*/ 503 h 10000"/>
                <a:gd name="connsiteX109" fmla="*/ 8472 w 10000"/>
                <a:gd name="connsiteY109" fmla="*/ 370 h 10000"/>
                <a:gd name="connsiteX110" fmla="*/ 8286 w 10000"/>
                <a:gd name="connsiteY110" fmla="*/ 218 h 10000"/>
                <a:gd name="connsiteX111" fmla="*/ 8129 w 10000"/>
                <a:gd name="connsiteY111" fmla="*/ 209 h 10000"/>
                <a:gd name="connsiteX112" fmla="*/ 7902 w 10000"/>
                <a:gd name="connsiteY112" fmla="*/ 0 h 10000"/>
                <a:gd name="connsiteX113" fmla="*/ 7670 w 10000"/>
                <a:gd name="connsiteY113" fmla="*/ 142 h 10000"/>
                <a:gd name="connsiteX114" fmla="*/ 7430 w 10000"/>
                <a:gd name="connsiteY114" fmla="*/ 152 h 10000"/>
                <a:gd name="connsiteX0" fmla="*/ 7430 w 10000"/>
                <a:gd name="connsiteY0" fmla="*/ 152 h 10000"/>
                <a:gd name="connsiteX1" fmla="*/ 7287 w 10000"/>
                <a:gd name="connsiteY1" fmla="*/ 408 h 10000"/>
                <a:gd name="connsiteX2" fmla="*/ 6971 w 10000"/>
                <a:gd name="connsiteY2" fmla="*/ 436 h 10000"/>
                <a:gd name="connsiteX3" fmla="*/ 5173 w 10000"/>
                <a:gd name="connsiteY3" fmla="*/ 531 h 10000"/>
                <a:gd name="connsiteX4" fmla="*/ 4796 w 10000"/>
                <a:gd name="connsiteY4" fmla="*/ 5811 h 10000"/>
                <a:gd name="connsiteX5" fmla="*/ 1754 w 10000"/>
                <a:gd name="connsiteY5" fmla="*/ 5799 h 10000"/>
                <a:gd name="connsiteX6" fmla="*/ 769 w 10000"/>
                <a:gd name="connsiteY6" fmla="*/ 6588 h 10000"/>
                <a:gd name="connsiteX7" fmla="*/ 175 w 10000"/>
                <a:gd name="connsiteY7" fmla="*/ 6774 h 10000"/>
                <a:gd name="connsiteX8" fmla="*/ 2 w 10000"/>
                <a:gd name="connsiteY8" fmla="*/ 7144 h 10000"/>
                <a:gd name="connsiteX9" fmla="*/ 117 w 10000"/>
                <a:gd name="connsiteY9" fmla="*/ 7211 h 10000"/>
                <a:gd name="connsiteX10" fmla="*/ 32 w 10000"/>
                <a:gd name="connsiteY10" fmla="*/ 7315 h 10000"/>
                <a:gd name="connsiteX11" fmla="*/ 518 w 10000"/>
                <a:gd name="connsiteY11" fmla="*/ 7343 h 10000"/>
                <a:gd name="connsiteX12" fmla="*/ 518 w 10000"/>
                <a:gd name="connsiteY12" fmla="*/ 7410 h 10000"/>
                <a:gd name="connsiteX13" fmla="*/ 502 w 10000"/>
                <a:gd name="connsiteY13" fmla="*/ 7562 h 10000"/>
                <a:gd name="connsiteX14" fmla="*/ 1016 w 10000"/>
                <a:gd name="connsiteY14" fmla="*/ 7619 h 10000"/>
                <a:gd name="connsiteX15" fmla="*/ 1016 w 10000"/>
                <a:gd name="connsiteY15" fmla="*/ 7742 h 10000"/>
                <a:gd name="connsiteX16" fmla="*/ 1288 w 10000"/>
                <a:gd name="connsiteY16" fmla="*/ 7837 h 10000"/>
                <a:gd name="connsiteX17" fmla="*/ 1203 w 10000"/>
                <a:gd name="connsiteY17" fmla="*/ 7979 h 10000"/>
                <a:gd name="connsiteX18" fmla="*/ 1586 w 10000"/>
                <a:gd name="connsiteY18" fmla="*/ 8102 h 10000"/>
                <a:gd name="connsiteX19" fmla="*/ 1817 w 10000"/>
                <a:gd name="connsiteY19" fmla="*/ 8330 h 10000"/>
                <a:gd name="connsiteX20" fmla="*/ 2030 w 10000"/>
                <a:gd name="connsiteY20" fmla="*/ 8416 h 10000"/>
                <a:gd name="connsiteX21" fmla="*/ 1945 w 10000"/>
                <a:gd name="connsiteY21" fmla="*/ 8491 h 10000"/>
                <a:gd name="connsiteX22" fmla="*/ 2059 w 10000"/>
                <a:gd name="connsiteY22" fmla="*/ 8577 h 10000"/>
                <a:gd name="connsiteX23" fmla="*/ 2043 w 10000"/>
                <a:gd name="connsiteY23" fmla="*/ 8700 h 10000"/>
                <a:gd name="connsiteX24" fmla="*/ 2261 w 10000"/>
                <a:gd name="connsiteY24" fmla="*/ 8710 h 10000"/>
                <a:gd name="connsiteX25" fmla="*/ 2502 w 10000"/>
                <a:gd name="connsiteY25" fmla="*/ 8843 h 10000"/>
                <a:gd name="connsiteX26" fmla="*/ 2561 w 10000"/>
                <a:gd name="connsiteY26" fmla="*/ 9051 h 10000"/>
                <a:gd name="connsiteX27" fmla="*/ 2615 w 10000"/>
                <a:gd name="connsiteY27" fmla="*/ 9127 h 10000"/>
                <a:gd name="connsiteX28" fmla="*/ 2917 w 10000"/>
                <a:gd name="connsiteY28" fmla="*/ 9307 h 10000"/>
                <a:gd name="connsiteX29" fmla="*/ 2917 w 10000"/>
                <a:gd name="connsiteY29" fmla="*/ 9440 h 10000"/>
                <a:gd name="connsiteX30" fmla="*/ 3360 w 10000"/>
                <a:gd name="connsiteY30" fmla="*/ 9583 h 10000"/>
                <a:gd name="connsiteX31" fmla="*/ 3602 w 10000"/>
                <a:gd name="connsiteY31" fmla="*/ 9431 h 10000"/>
                <a:gd name="connsiteX32" fmla="*/ 3903 w 10000"/>
                <a:gd name="connsiteY32" fmla="*/ 9545 h 10000"/>
                <a:gd name="connsiteX33" fmla="*/ 4142 w 10000"/>
                <a:gd name="connsiteY33" fmla="*/ 9374 h 10000"/>
                <a:gd name="connsiteX34" fmla="*/ 4415 w 10000"/>
                <a:gd name="connsiteY34" fmla="*/ 9649 h 10000"/>
                <a:gd name="connsiteX35" fmla="*/ 4801 w 10000"/>
                <a:gd name="connsiteY35" fmla="*/ 9801 h 10000"/>
                <a:gd name="connsiteX36" fmla="*/ 4843 w 10000"/>
                <a:gd name="connsiteY36" fmla="*/ 9934 h 10000"/>
                <a:gd name="connsiteX37" fmla="*/ 5002 w 10000"/>
                <a:gd name="connsiteY37" fmla="*/ 9953 h 10000"/>
                <a:gd name="connsiteX38" fmla="*/ 5228 w 10000"/>
                <a:gd name="connsiteY38" fmla="*/ 9829 h 10000"/>
                <a:gd name="connsiteX39" fmla="*/ 5517 w 10000"/>
                <a:gd name="connsiteY39" fmla="*/ 9905 h 10000"/>
                <a:gd name="connsiteX40" fmla="*/ 5615 w 10000"/>
                <a:gd name="connsiteY40" fmla="*/ 9839 h 10000"/>
                <a:gd name="connsiteX41" fmla="*/ 5716 w 10000"/>
                <a:gd name="connsiteY41" fmla="*/ 9829 h 10000"/>
                <a:gd name="connsiteX42" fmla="*/ 5914 w 10000"/>
                <a:gd name="connsiteY42" fmla="*/ 10000 h 10000"/>
                <a:gd name="connsiteX43" fmla="*/ 6101 w 10000"/>
                <a:gd name="connsiteY43" fmla="*/ 9858 h 10000"/>
                <a:gd name="connsiteX44" fmla="*/ 6329 w 10000"/>
                <a:gd name="connsiteY44" fmla="*/ 9867 h 10000"/>
                <a:gd name="connsiteX45" fmla="*/ 6500 w 10000"/>
                <a:gd name="connsiteY45" fmla="*/ 9791 h 10000"/>
                <a:gd name="connsiteX46" fmla="*/ 6744 w 10000"/>
                <a:gd name="connsiteY46" fmla="*/ 9867 h 10000"/>
                <a:gd name="connsiteX47" fmla="*/ 7058 w 10000"/>
                <a:gd name="connsiteY47" fmla="*/ 9630 h 10000"/>
                <a:gd name="connsiteX48" fmla="*/ 7171 w 10000"/>
                <a:gd name="connsiteY48" fmla="*/ 9630 h 10000"/>
                <a:gd name="connsiteX49" fmla="*/ 7372 w 10000"/>
                <a:gd name="connsiteY49" fmla="*/ 9440 h 10000"/>
                <a:gd name="connsiteX50" fmla="*/ 8228 w 10000"/>
                <a:gd name="connsiteY50" fmla="*/ 9431 h 10000"/>
                <a:gd name="connsiteX51" fmla="*/ 8415 w 10000"/>
                <a:gd name="connsiteY51" fmla="*/ 9355 h 10000"/>
                <a:gd name="connsiteX52" fmla="*/ 8401 w 10000"/>
                <a:gd name="connsiteY52" fmla="*/ 9260 h 10000"/>
                <a:gd name="connsiteX53" fmla="*/ 8343 w 10000"/>
                <a:gd name="connsiteY53" fmla="*/ 9051 h 10000"/>
                <a:gd name="connsiteX54" fmla="*/ 7986 w 10000"/>
                <a:gd name="connsiteY54" fmla="*/ 8985 h 10000"/>
                <a:gd name="connsiteX55" fmla="*/ 7815 w 10000"/>
                <a:gd name="connsiteY55" fmla="*/ 8653 h 10000"/>
                <a:gd name="connsiteX56" fmla="*/ 7715 w 10000"/>
                <a:gd name="connsiteY56" fmla="*/ 8615 h 10000"/>
                <a:gd name="connsiteX57" fmla="*/ 7688 w 10000"/>
                <a:gd name="connsiteY57" fmla="*/ 8378 h 10000"/>
                <a:gd name="connsiteX58" fmla="*/ 7559 w 10000"/>
                <a:gd name="connsiteY58" fmla="*/ 8368 h 10000"/>
                <a:gd name="connsiteX59" fmla="*/ 7514 w 10000"/>
                <a:gd name="connsiteY59" fmla="*/ 8245 h 10000"/>
                <a:gd name="connsiteX60" fmla="*/ 7300 w 10000"/>
                <a:gd name="connsiteY60" fmla="*/ 8216 h 10000"/>
                <a:gd name="connsiteX61" fmla="*/ 7228 w 10000"/>
                <a:gd name="connsiteY61" fmla="*/ 8027 h 10000"/>
                <a:gd name="connsiteX62" fmla="*/ 6873 w 10000"/>
                <a:gd name="connsiteY62" fmla="*/ 7846 h 10000"/>
                <a:gd name="connsiteX63" fmla="*/ 6485 w 10000"/>
                <a:gd name="connsiteY63" fmla="*/ 7818 h 10000"/>
                <a:gd name="connsiteX64" fmla="*/ 6588 w 10000"/>
                <a:gd name="connsiteY64" fmla="*/ 7609 h 10000"/>
                <a:gd name="connsiteX65" fmla="*/ 6560 w 10000"/>
                <a:gd name="connsiteY65" fmla="*/ 7457 h 10000"/>
                <a:gd name="connsiteX66" fmla="*/ 6887 w 10000"/>
                <a:gd name="connsiteY66" fmla="*/ 7467 h 10000"/>
                <a:gd name="connsiteX67" fmla="*/ 6957 w 10000"/>
                <a:gd name="connsiteY67" fmla="*/ 7514 h 10000"/>
                <a:gd name="connsiteX68" fmla="*/ 7158 w 10000"/>
                <a:gd name="connsiteY68" fmla="*/ 7419 h 10000"/>
                <a:gd name="connsiteX69" fmla="*/ 7214 w 10000"/>
                <a:gd name="connsiteY69" fmla="*/ 7078 h 10000"/>
                <a:gd name="connsiteX70" fmla="*/ 7131 w 10000"/>
                <a:gd name="connsiteY70" fmla="*/ 6822 h 10000"/>
                <a:gd name="connsiteX71" fmla="*/ 7372 w 10000"/>
                <a:gd name="connsiteY71" fmla="*/ 6613 h 10000"/>
                <a:gd name="connsiteX72" fmla="*/ 7300 w 10000"/>
                <a:gd name="connsiteY72" fmla="*/ 6414 h 10000"/>
                <a:gd name="connsiteX73" fmla="*/ 7459 w 10000"/>
                <a:gd name="connsiteY73" fmla="*/ 6224 h 10000"/>
                <a:gd name="connsiteX74" fmla="*/ 7559 w 10000"/>
                <a:gd name="connsiteY74" fmla="*/ 6328 h 10000"/>
                <a:gd name="connsiteX75" fmla="*/ 7728 w 10000"/>
                <a:gd name="connsiteY75" fmla="*/ 6281 h 10000"/>
                <a:gd name="connsiteX76" fmla="*/ 7715 w 10000"/>
                <a:gd name="connsiteY76" fmla="*/ 5987 h 10000"/>
                <a:gd name="connsiteX77" fmla="*/ 7815 w 10000"/>
                <a:gd name="connsiteY77" fmla="*/ 5882 h 10000"/>
                <a:gd name="connsiteX78" fmla="*/ 7787 w 10000"/>
                <a:gd name="connsiteY78" fmla="*/ 5740 h 10000"/>
                <a:gd name="connsiteX79" fmla="*/ 8015 w 10000"/>
                <a:gd name="connsiteY79" fmla="*/ 5655 h 10000"/>
                <a:gd name="connsiteX80" fmla="*/ 8029 w 10000"/>
                <a:gd name="connsiteY80" fmla="*/ 5465 h 10000"/>
                <a:gd name="connsiteX81" fmla="*/ 8201 w 10000"/>
                <a:gd name="connsiteY81" fmla="*/ 5285 h 10000"/>
                <a:gd name="connsiteX82" fmla="*/ 8512 w 10000"/>
                <a:gd name="connsiteY82" fmla="*/ 5266 h 10000"/>
                <a:gd name="connsiteX83" fmla="*/ 8486 w 10000"/>
                <a:gd name="connsiteY83" fmla="*/ 5019 h 10000"/>
                <a:gd name="connsiteX84" fmla="*/ 8716 w 10000"/>
                <a:gd name="connsiteY84" fmla="*/ 4753 h 10000"/>
                <a:gd name="connsiteX85" fmla="*/ 8716 w 10000"/>
                <a:gd name="connsiteY85" fmla="*/ 4469 h 10000"/>
                <a:gd name="connsiteX86" fmla="*/ 8686 w 10000"/>
                <a:gd name="connsiteY86" fmla="*/ 4156 h 10000"/>
                <a:gd name="connsiteX87" fmla="*/ 8617 w 10000"/>
                <a:gd name="connsiteY87" fmla="*/ 4061 h 10000"/>
                <a:gd name="connsiteX88" fmla="*/ 8785 w 10000"/>
                <a:gd name="connsiteY88" fmla="*/ 3928 h 10000"/>
                <a:gd name="connsiteX89" fmla="*/ 8799 w 10000"/>
                <a:gd name="connsiteY89" fmla="*/ 3767 h 10000"/>
                <a:gd name="connsiteX90" fmla="*/ 8973 w 10000"/>
                <a:gd name="connsiteY90" fmla="*/ 3577 h 10000"/>
                <a:gd name="connsiteX91" fmla="*/ 8885 w 10000"/>
                <a:gd name="connsiteY91" fmla="*/ 3283 h 10000"/>
                <a:gd name="connsiteX92" fmla="*/ 9044 w 10000"/>
                <a:gd name="connsiteY92" fmla="*/ 3207 h 10000"/>
                <a:gd name="connsiteX93" fmla="*/ 9044 w 10000"/>
                <a:gd name="connsiteY93" fmla="*/ 3112 h 10000"/>
                <a:gd name="connsiteX94" fmla="*/ 9312 w 10000"/>
                <a:gd name="connsiteY94" fmla="*/ 3046 h 10000"/>
                <a:gd name="connsiteX95" fmla="*/ 9327 w 10000"/>
                <a:gd name="connsiteY95" fmla="*/ 2903 h 10000"/>
                <a:gd name="connsiteX96" fmla="*/ 9844 w 10000"/>
                <a:gd name="connsiteY96" fmla="*/ 2808 h 10000"/>
                <a:gd name="connsiteX97" fmla="*/ 10000 w 10000"/>
                <a:gd name="connsiteY97" fmla="*/ 2571 h 10000"/>
                <a:gd name="connsiteX98" fmla="*/ 9644 w 10000"/>
                <a:gd name="connsiteY98" fmla="*/ 2429 h 10000"/>
                <a:gd name="connsiteX99" fmla="*/ 9516 w 10000"/>
                <a:gd name="connsiteY99" fmla="*/ 2239 h 10000"/>
                <a:gd name="connsiteX100" fmla="*/ 9158 w 10000"/>
                <a:gd name="connsiteY100" fmla="*/ 2163 h 10000"/>
                <a:gd name="connsiteX101" fmla="*/ 9088 w 10000"/>
                <a:gd name="connsiteY101" fmla="*/ 1670 h 10000"/>
                <a:gd name="connsiteX102" fmla="*/ 8986 w 10000"/>
                <a:gd name="connsiteY102" fmla="*/ 1651 h 10000"/>
                <a:gd name="connsiteX103" fmla="*/ 8957 w 10000"/>
                <a:gd name="connsiteY103" fmla="*/ 1205 h 10000"/>
                <a:gd name="connsiteX104" fmla="*/ 8885 w 10000"/>
                <a:gd name="connsiteY104" fmla="*/ 1053 h 10000"/>
                <a:gd name="connsiteX105" fmla="*/ 9058 w 10000"/>
                <a:gd name="connsiteY105" fmla="*/ 1025 h 10000"/>
                <a:gd name="connsiteX106" fmla="*/ 8785 w 10000"/>
                <a:gd name="connsiteY106" fmla="*/ 797 h 10000"/>
                <a:gd name="connsiteX107" fmla="*/ 8743 w 10000"/>
                <a:gd name="connsiteY107" fmla="*/ 503 h 10000"/>
                <a:gd name="connsiteX108" fmla="*/ 8472 w 10000"/>
                <a:gd name="connsiteY108" fmla="*/ 370 h 10000"/>
                <a:gd name="connsiteX109" fmla="*/ 8286 w 10000"/>
                <a:gd name="connsiteY109" fmla="*/ 218 h 10000"/>
                <a:gd name="connsiteX110" fmla="*/ 8129 w 10000"/>
                <a:gd name="connsiteY110" fmla="*/ 209 h 10000"/>
                <a:gd name="connsiteX111" fmla="*/ 7902 w 10000"/>
                <a:gd name="connsiteY111" fmla="*/ 0 h 10000"/>
                <a:gd name="connsiteX112" fmla="*/ 7670 w 10000"/>
                <a:gd name="connsiteY112" fmla="*/ 142 h 10000"/>
                <a:gd name="connsiteX113" fmla="*/ 7430 w 10000"/>
                <a:gd name="connsiteY113" fmla="*/ 152 h 10000"/>
                <a:gd name="connsiteX0" fmla="*/ 7430 w 10000"/>
                <a:gd name="connsiteY0" fmla="*/ 152 h 10000"/>
                <a:gd name="connsiteX1" fmla="*/ 7287 w 10000"/>
                <a:gd name="connsiteY1" fmla="*/ 408 h 10000"/>
                <a:gd name="connsiteX2" fmla="*/ 6971 w 10000"/>
                <a:gd name="connsiteY2" fmla="*/ 436 h 10000"/>
                <a:gd name="connsiteX3" fmla="*/ 4796 w 10000"/>
                <a:gd name="connsiteY3" fmla="*/ 5811 h 10000"/>
                <a:gd name="connsiteX4" fmla="*/ 1754 w 10000"/>
                <a:gd name="connsiteY4" fmla="*/ 5799 h 10000"/>
                <a:gd name="connsiteX5" fmla="*/ 769 w 10000"/>
                <a:gd name="connsiteY5" fmla="*/ 6588 h 10000"/>
                <a:gd name="connsiteX6" fmla="*/ 175 w 10000"/>
                <a:gd name="connsiteY6" fmla="*/ 6774 h 10000"/>
                <a:gd name="connsiteX7" fmla="*/ 2 w 10000"/>
                <a:gd name="connsiteY7" fmla="*/ 7144 h 10000"/>
                <a:gd name="connsiteX8" fmla="*/ 117 w 10000"/>
                <a:gd name="connsiteY8" fmla="*/ 7211 h 10000"/>
                <a:gd name="connsiteX9" fmla="*/ 32 w 10000"/>
                <a:gd name="connsiteY9" fmla="*/ 7315 h 10000"/>
                <a:gd name="connsiteX10" fmla="*/ 518 w 10000"/>
                <a:gd name="connsiteY10" fmla="*/ 7343 h 10000"/>
                <a:gd name="connsiteX11" fmla="*/ 518 w 10000"/>
                <a:gd name="connsiteY11" fmla="*/ 7410 h 10000"/>
                <a:gd name="connsiteX12" fmla="*/ 502 w 10000"/>
                <a:gd name="connsiteY12" fmla="*/ 7562 h 10000"/>
                <a:gd name="connsiteX13" fmla="*/ 1016 w 10000"/>
                <a:gd name="connsiteY13" fmla="*/ 7619 h 10000"/>
                <a:gd name="connsiteX14" fmla="*/ 1016 w 10000"/>
                <a:gd name="connsiteY14" fmla="*/ 7742 h 10000"/>
                <a:gd name="connsiteX15" fmla="*/ 1288 w 10000"/>
                <a:gd name="connsiteY15" fmla="*/ 7837 h 10000"/>
                <a:gd name="connsiteX16" fmla="*/ 1203 w 10000"/>
                <a:gd name="connsiteY16" fmla="*/ 7979 h 10000"/>
                <a:gd name="connsiteX17" fmla="*/ 1586 w 10000"/>
                <a:gd name="connsiteY17" fmla="*/ 8102 h 10000"/>
                <a:gd name="connsiteX18" fmla="*/ 1817 w 10000"/>
                <a:gd name="connsiteY18" fmla="*/ 8330 h 10000"/>
                <a:gd name="connsiteX19" fmla="*/ 2030 w 10000"/>
                <a:gd name="connsiteY19" fmla="*/ 8416 h 10000"/>
                <a:gd name="connsiteX20" fmla="*/ 1945 w 10000"/>
                <a:gd name="connsiteY20" fmla="*/ 8491 h 10000"/>
                <a:gd name="connsiteX21" fmla="*/ 2059 w 10000"/>
                <a:gd name="connsiteY21" fmla="*/ 8577 h 10000"/>
                <a:gd name="connsiteX22" fmla="*/ 2043 w 10000"/>
                <a:gd name="connsiteY22" fmla="*/ 8700 h 10000"/>
                <a:gd name="connsiteX23" fmla="*/ 2261 w 10000"/>
                <a:gd name="connsiteY23" fmla="*/ 8710 h 10000"/>
                <a:gd name="connsiteX24" fmla="*/ 2502 w 10000"/>
                <a:gd name="connsiteY24" fmla="*/ 8843 h 10000"/>
                <a:gd name="connsiteX25" fmla="*/ 2561 w 10000"/>
                <a:gd name="connsiteY25" fmla="*/ 9051 h 10000"/>
                <a:gd name="connsiteX26" fmla="*/ 2615 w 10000"/>
                <a:gd name="connsiteY26" fmla="*/ 9127 h 10000"/>
                <a:gd name="connsiteX27" fmla="*/ 2917 w 10000"/>
                <a:gd name="connsiteY27" fmla="*/ 9307 h 10000"/>
                <a:gd name="connsiteX28" fmla="*/ 2917 w 10000"/>
                <a:gd name="connsiteY28" fmla="*/ 9440 h 10000"/>
                <a:gd name="connsiteX29" fmla="*/ 3360 w 10000"/>
                <a:gd name="connsiteY29" fmla="*/ 9583 h 10000"/>
                <a:gd name="connsiteX30" fmla="*/ 3602 w 10000"/>
                <a:gd name="connsiteY30" fmla="*/ 9431 h 10000"/>
                <a:gd name="connsiteX31" fmla="*/ 3903 w 10000"/>
                <a:gd name="connsiteY31" fmla="*/ 9545 h 10000"/>
                <a:gd name="connsiteX32" fmla="*/ 4142 w 10000"/>
                <a:gd name="connsiteY32" fmla="*/ 9374 h 10000"/>
                <a:gd name="connsiteX33" fmla="*/ 4415 w 10000"/>
                <a:gd name="connsiteY33" fmla="*/ 9649 h 10000"/>
                <a:gd name="connsiteX34" fmla="*/ 4801 w 10000"/>
                <a:gd name="connsiteY34" fmla="*/ 9801 h 10000"/>
                <a:gd name="connsiteX35" fmla="*/ 4843 w 10000"/>
                <a:gd name="connsiteY35" fmla="*/ 9934 h 10000"/>
                <a:gd name="connsiteX36" fmla="*/ 5002 w 10000"/>
                <a:gd name="connsiteY36" fmla="*/ 9953 h 10000"/>
                <a:gd name="connsiteX37" fmla="*/ 5228 w 10000"/>
                <a:gd name="connsiteY37" fmla="*/ 9829 h 10000"/>
                <a:gd name="connsiteX38" fmla="*/ 5517 w 10000"/>
                <a:gd name="connsiteY38" fmla="*/ 9905 h 10000"/>
                <a:gd name="connsiteX39" fmla="*/ 5615 w 10000"/>
                <a:gd name="connsiteY39" fmla="*/ 9839 h 10000"/>
                <a:gd name="connsiteX40" fmla="*/ 5716 w 10000"/>
                <a:gd name="connsiteY40" fmla="*/ 9829 h 10000"/>
                <a:gd name="connsiteX41" fmla="*/ 5914 w 10000"/>
                <a:gd name="connsiteY41" fmla="*/ 10000 h 10000"/>
                <a:gd name="connsiteX42" fmla="*/ 6101 w 10000"/>
                <a:gd name="connsiteY42" fmla="*/ 9858 h 10000"/>
                <a:gd name="connsiteX43" fmla="*/ 6329 w 10000"/>
                <a:gd name="connsiteY43" fmla="*/ 9867 h 10000"/>
                <a:gd name="connsiteX44" fmla="*/ 6500 w 10000"/>
                <a:gd name="connsiteY44" fmla="*/ 9791 h 10000"/>
                <a:gd name="connsiteX45" fmla="*/ 6744 w 10000"/>
                <a:gd name="connsiteY45" fmla="*/ 9867 h 10000"/>
                <a:gd name="connsiteX46" fmla="*/ 7058 w 10000"/>
                <a:gd name="connsiteY46" fmla="*/ 9630 h 10000"/>
                <a:gd name="connsiteX47" fmla="*/ 7171 w 10000"/>
                <a:gd name="connsiteY47" fmla="*/ 9630 h 10000"/>
                <a:gd name="connsiteX48" fmla="*/ 7372 w 10000"/>
                <a:gd name="connsiteY48" fmla="*/ 9440 h 10000"/>
                <a:gd name="connsiteX49" fmla="*/ 8228 w 10000"/>
                <a:gd name="connsiteY49" fmla="*/ 9431 h 10000"/>
                <a:gd name="connsiteX50" fmla="*/ 8415 w 10000"/>
                <a:gd name="connsiteY50" fmla="*/ 9355 h 10000"/>
                <a:gd name="connsiteX51" fmla="*/ 8401 w 10000"/>
                <a:gd name="connsiteY51" fmla="*/ 9260 h 10000"/>
                <a:gd name="connsiteX52" fmla="*/ 8343 w 10000"/>
                <a:gd name="connsiteY52" fmla="*/ 9051 h 10000"/>
                <a:gd name="connsiteX53" fmla="*/ 7986 w 10000"/>
                <a:gd name="connsiteY53" fmla="*/ 8985 h 10000"/>
                <a:gd name="connsiteX54" fmla="*/ 7815 w 10000"/>
                <a:gd name="connsiteY54" fmla="*/ 8653 h 10000"/>
                <a:gd name="connsiteX55" fmla="*/ 7715 w 10000"/>
                <a:gd name="connsiteY55" fmla="*/ 8615 h 10000"/>
                <a:gd name="connsiteX56" fmla="*/ 7688 w 10000"/>
                <a:gd name="connsiteY56" fmla="*/ 8378 h 10000"/>
                <a:gd name="connsiteX57" fmla="*/ 7559 w 10000"/>
                <a:gd name="connsiteY57" fmla="*/ 8368 h 10000"/>
                <a:gd name="connsiteX58" fmla="*/ 7514 w 10000"/>
                <a:gd name="connsiteY58" fmla="*/ 8245 h 10000"/>
                <a:gd name="connsiteX59" fmla="*/ 7300 w 10000"/>
                <a:gd name="connsiteY59" fmla="*/ 8216 h 10000"/>
                <a:gd name="connsiteX60" fmla="*/ 7228 w 10000"/>
                <a:gd name="connsiteY60" fmla="*/ 8027 h 10000"/>
                <a:gd name="connsiteX61" fmla="*/ 6873 w 10000"/>
                <a:gd name="connsiteY61" fmla="*/ 7846 h 10000"/>
                <a:gd name="connsiteX62" fmla="*/ 6485 w 10000"/>
                <a:gd name="connsiteY62" fmla="*/ 7818 h 10000"/>
                <a:gd name="connsiteX63" fmla="*/ 6588 w 10000"/>
                <a:gd name="connsiteY63" fmla="*/ 7609 h 10000"/>
                <a:gd name="connsiteX64" fmla="*/ 6560 w 10000"/>
                <a:gd name="connsiteY64" fmla="*/ 7457 h 10000"/>
                <a:gd name="connsiteX65" fmla="*/ 6887 w 10000"/>
                <a:gd name="connsiteY65" fmla="*/ 7467 h 10000"/>
                <a:gd name="connsiteX66" fmla="*/ 6957 w 10000"/>
                <a:gd name="connsiteY66" fmla="*/ 7514 h 10000"/>
                <a:gd name="connsiteX67" fmla="*/ 7158 w 10000"/>
                <a:gd name="connsiteY67" fmla="*/ 7419 h 10000"/>
                <a:gd name="connsiteX68" fmla="*/ 7214 w 10000"/>
                <a:gd name="connsiteY68" fmla="*/ 7078 h 10000"/>
                <a:gd name="connsiteX69" fmla="*/ 7131 w 10000"/>
                <a:gd name="connsiteY69" fmla="*/ 6822 h 10000"/>
                <a:gd name="connsiteX70" fmla="*/ 7372 w 10000"/>
                <a:gd name="connsiteY70" fmla="*/ 6613 h 10000"/>
                <a:gd name="connsiteX71" fmla="*/ 7300 w 10000"/>
                <a:gd name="connsiteY71" fmla="*/ 6414 h 10000"/>
                <a:gd name="connsiteX72" fmla="*/ 7459 w 10000"/>
                <a:gd name="connsiteY72" fmla="*/ 6224 h 10000"/>
                <a:gd name="connsiteX73" fmla="*/ 7559 w 10000"/>
                <a:gd name="connsiteY73" fmla="*/ 6328 h 10000"/>
                <a:gd name="connsiteX74" fmla="*/ 7728 w 10000"/>
                <a:gd name="connsiteY74" fmla="*/ 6281 h 10000"/>
                <a:gd name="connsiteX75" fmla="*/ 7715 w 10000"/>
                <a:gd name="connsiteY75" fmla="*/ 5987 h 10000"/>
                <a:gd name="connsiteX76" fmla="*/ 7815 w 10000"/>
                <a:gd name="connsiteY76" fmla="*/ 5882 h 10000"/>
                <a:gd name="connsiteX77" fmla="*/ 7787 w 10000"/>
                <a:gd name="connsiteY77" fmla="*/ 5740 h 10000"/>
                <a:gd name="connsiteX78" fmla="*/ 8015 w 10000"/>
                <a:gd name="connsiteY78" fmla="*/ 5655 h 10000"/>
                <a:gd name="connsiteX79" fmla="*/ 8029 w 10000"/>
                <a:gd name="connsiteY79" fmla="*/ 5465 h 10000"/>
                <a:gd name="connsiteX80" fmla="*/ 8201 w 10000"/>
                <a:gd name="connsiteY80" fmla="*/ 5285 h 10000"/>
                <a:gd name="connsiteX81" fmla="*/ 8512 w 10000"/>
                <a:gd name="connsiteY81" fmla="*/ 5266 h 10000"/>
                <a:gd name="connsiteX82" fmla="*/ 8486 w 10000"/>
                <a:gd name="connsiteY82" fmla="*/ 5019 h 10000"/>
                <a:gd name="connsiteX83" fmla="*/ 8716 w 10000"/>
                <a:gd name="connsiteY83" fmla="*/ 4753 h 10000"/>
                <a:gd name="connsiteX84" fmla="*/ 8716 w 10000"/>
                <a:gd name="connsiteY84" fmla="*/ 4469 h 10000"/>
                <a:gd name="connsiteX85" fmla="*/ 8686 w 10000"/>
                <a:gd name="connsiteY85" fmla="*/ 4156 h 10000"/>
                <a:gd name="connsiteX86" fmla="*/ 8617 w 10000"/>
                <a:gd name="connsiteY86" fmla="*/ 4061 h 10000"/>
                <a:gd name="connsiteX87" fmla="*/ 8785 w 10000"/>
                <a:gd name="connsiteY87" fmla="*/ 3928 h 10000"/>
                <a:gd name="connsiteX88" fmla="*/ 8799 w 10000"/>
                <a:gd name="connsiteY88" fmla="*/ 3767 h 10000"/>
                <a:gd name="connsiteX89" fmla="*/ 8973 w 10000"/>
                <a:gd name="connsiteY89" fmla="*/ 3577 h 10000"/>
                <a:gd name="connsiteX90" fmla="*/ 8885 w 10000"/>
                <a:gd name="connsiteY90" fmla="*/ 3283 h 10000"/>
                <a:gd name="connsiteX91" fmla="*/ 9044 w 10000"/>
                <a:gd name="connsiteY91" fmla="*/ 3207 h 10000"/>
                <a:gd name="connsiteX92" fmla="*/ 9044 w 10000"/>
                <a:gd name="connsiteY92" fmla="*/ 3112 h 10000"/>
                <a:gd name="connsiteX93" fmla="*/ 9312 w 10000"/>
                <a:gd name="connsiteY93" fmla="*/ 3046 h 10000"/>
                <a:gd name="connsiteX94" fmla="*/ 9327 w 10000"/>
                <a:gd name="connsiteY94" fmla="*/ 2903 h 10000"/>
                <a:gd name="connsiteX95" fmla="*/ 9844 w 10000"/>
                <a:gd name="connsiteY95" fmla="*/ 2808 h 10000"/>
                <a:gd name="connsiteX96" fmla="*/ 10000 w 10000"/>
                <a:gd name="connsiteY96" fmla="*/ 2571 h 10000"/>
                <a:gd name="connsiteX97" fmla="*/ 9644 w 10000"/>
                <a:gd name="connsiteY97" fmla="*/ 2429 h 10000"/>
                <a:gd name="connsiteX98" fmla="*/ 9516 w 10000"/>
                <a:gd name="connsiteY98" fmla="*/ 2239 h 10000"/>
                <a:gd name="connsiteX99" fmla="*/ 9158 w 10000"/>
                <a:gd name="connsiteY99" fmla="*/ 2163 h 10000"/>
                <a:gd name="connsiteX100" fmla="*/ 9088 w 10000"/>
                <a:gd name="connsiteY100" fmla="*/ 1670 h 10000"/>
                <a:gd name="connsiteX101" fmla="*/ 8986 w 10000"/>
                <a:gd name="connsiteY101" fmla="*/ 1651 h 10000"/>
                <a:gd name="connsiteX102" fmla="*/ 8957 w 10000"/>
                <a:gd name="connsiteY102" fmla="*/ 1205 h 10000"/>
                <a:gd name="connsiteX103" fmla="*/ 8885 w 10000"/>
                <a:gd name="connsiteY103" fmla="*/ 1053 h 10000"/>
                <a:gd name="connsiteX104" fmla="*/ 9058 w 10000"/>
                <a:gd name="connsiteY104" fmla="*/ 1025 h 10000"/>
                <a:gd name="connsiteX105" fmla="*/ 8785 w 10000"/>
                <a:gd name="connsiteY105" fmla="*/ 797 h 10000"/>
                <a:gd name="connsiteX106" fmla="*/ 8743 w 10000"/>
                <a:gd name="connsiteY106" fmla="*/ 503 h 10000"/>
                <a:gd name="connsiteX107" fmla="*/ 8472 w 10000"/>
                <a:gd name="connsiteY107" fmla="*/ 370 h 10000"/>
                <a:gd name="connsiteX108" fmla="*/ 8286 w 10000"/>
                <a:gd name="connsiteY108" fmla="*/ 218 h 10000"/>
                <a:gd name="connsiteX109" fmla="*/ 8129 w 10000"/>
                <a:gd name="connsiteY109" fmla="*/ 209 h 10000"/>
                <a:gd name="connsiteX110" fmla="*/ 7902 w 10000"/>
                <a:gd name="connsiteY110" fmla="*/ 0 h 10000"/>
                <a:gd name="connsiteX111" fmla="*/ 7670 w 10000"/>
                <a:gd name="connsiteY111" fmla="*/ 142 h 10000"/>
                <a:gd name="connsiteX112" fmla="*/ 7430 w 10000"/>
                <a:gd name="connsiteY112" fmla="*/ 152 h 10000"/>
                <a:gd name="connsiteX0" fmla="*/ 7430 w 10000"/>
                <a:gd name="connsiteY0" fmla="*/ 241 h 10089"/>
                <a:gd name="connsiteX1" fmla="*/ 7287 w 10000"/>
                <a:gd name="connsiteY1" fmla="*/ 497 h 10089"/>
                <a:gd name="connsiteX2" fmla="*/ 4796 w 10000"/>
                <a:gd name="connsiteY2" fmla="*/ 5900 h 10089"/>
                <a:gd name="connsiteX3" fmla="*/ 1754 w 10000"/>
                <a:gd name="connsiteY3" fmla="*/ 5888 h 10089"/>
                <a:gd name="connsiteX4" fmla="*/ 769 w 10000"/>
                <a:gd name="connsiteY4" fmla="*/ 6677 h 10089"/>
                <a:gd name="connsiteX5" fmla="*/ 175 w 10000"/>
                <a:gd name="connsiteY5" fmla="*/ 6863 h 10089"/>
                <a:gd name="connsiteX6" fmla="*/ 2 w 10000"/>
                <a:gd name="connsiteY6" fmla="*/ 7233 h 10089"/>
                <a:gd name="connsiteX7" fmla="*/ 117 w 10000"/>
                <a:gd name="connsiteY7" fmla="*/ 7300 h 10089"/>
                <a:gd name="connsiteX8" fmla="*/ 32 w 10000"/>
                <a:gd name="connsiteY8" fmla="*/ 7404 h 10089"/>
                <a:gd name="connsiteX9" fmla="*/ 518 w 10000"/>
                <a:gd name="connsiteY9" fmla="*/ 7432 h 10089"/>
                <a:gd name="connsiteX10" fmla="*/ 518 w 10000"/>
                <a:gd name="connsiteY10" fmla="*/ 7499 h 10089"/>
                <a:gd name="connsiteX11" fmla="*/ 502 w 10000"/>
                <a:gd name="connsiteY11" fmla="*/ 7651 h 10089"/>
                <a:gd name="connsiteX12" fmla="*/ 1016 w 10000"/>
                <a:gd name="connsiteY12" fmla="*/ 7708 h 10089"/>
                <a:gd name="connsiteX13" fmla="*/ 1016 w 10000"/>
                <a:gd name="connsiteY13" fmla="*/ 7831 h 10089"/>
                <a:gd name="connsiteX14" fmla="*/ 1288 w 10000"/>
                <a:gd name="connsiteY14" fmla="*/ 7926 h 10089"/>
                <a:gd name="connsiteX15" fmla="*/ 1203 w 10000"/>
                <a:gd name="connsiteY15" fmla="*/ 8068 h 10089"/>
                <a:gd name="connsiteX16" fmla="*/ 1586 w 10000"/>
                <a:gd name="connsiteY16" fmla="*/ 8191 h 10089"/>
                <a:gd name="connsiteX17" fmla="*/ 1817 w 10000"/>
                <a:gd name="connsiteY17" fmla="*/ 8419 h 10089"/>
                <a:gd name="connsiteX18" fmla="*/ 2030 w 10000"/>
                <a:gd name="connsiteY18" fmla="*/ 8505 h 10089"/>
                <a:gd name="connsiteX19" fmla="*/ 1945 w 10000"/>
                <a:gd name="connsiteY19" fmla="*/ 8580 h 10089"/>
                <a:gd name="connsiteX20" fmla="*/ 2059 w 10000"/>
                <a:gd name="connsiteY20" fmla="*/ 8666 h 10089"/>
                <a:gd name="connsiteX21" fmla="*/ 2043 w 10000"/>
                <a:gd name="connsiteY21" fmla="*/ 8789 h 10089"/>
                <a:gd name="connsiteX22" fmla="*/ 2261 w 10000"/>
                <a:gd name="connsiteY22" fmla="*/ 8799 h 10089"/>
                <a:gd name="connsiteX23" fmla="*/ 2502 w 10000"/>
                <a:gd name="connsiteY23" fmla="*/ 8932 h 10089"/>
                <a:gd name="connsiteX24" fmla="*/ 2561 w 10000"/>
                <a:gd name="connsiteY24" fmla="*/ 9140 h 10089"/>
                <a:gd name="connsiteX25" fmla="*/ 2615 w 10000"/>
                <a:gd name="connsiteY25" fmla="*/ 9216 h 10089"/>
                <a:gd name="connsiteX26" fmla="*/ 2917 w 10000"/>
                <a:gd name="connsiteY26" fmla="*/ 9396 h 10089"/>
                <a:gd name="connsiteX27" fmla="*/ 2917 w 10000"/>
                <a:gd name="connsiteY27" fmla="*/ 9529 h 10089"/>
                <a:gd name="connsiteX28" fmla="*/ 3360 w 10000"/>
                <a:gd name="connsiteY28" fmla="*/ 9672 h 10089"/>
                <a:gd name="connsiteX29" fmla="*/ 3602 w 10000"/>
                <a:gd name="connsiteY29" fmla="*/ 9520 h 10089"/>
                <a:gd name="connsiteX30" fmla="*/ 3903 w 10000"/>
                <a:gd name="connsiteY30" fmla="*/ 9634 h 10089"/>
                <a:gd name="connsiteX31" fmla="*/ 4142 w 10000"/>
                <a:gd name="connsiteY31" fmla="*/ 9463 h 10089"/>
                <a:gd name="connsiteX32" fmla="*/ 4415 w 10000"/>
                <a:gd name="connsiteY32" fmla="*/ 9738 h 10089"/>
                <a:gd name="connsiteX33" fmla="*/ 4801 w 10000"/>
                <a:gd name="connsiteY33" fmla="*/ 9890 h 10089"/>
                <a:gd name="connsiteX34" fmla="*/ 4843 w 10000"/>
                <a:gd name="connsiteY34" fmla="*/ 10023 h 10089"/>
                <a:gd name="connsiteX35" fmla="*/ 5002 w 10000"/>
                <a:gd name="connsiteY35" fmla="*/ 10042 h 10089"/>
                <a:gd name="connsiteX36" fmla="*/ 5228 w 10000"/>
                <a:gd name="connsiteY36" fmla="*/ 9918 h 10089"/>
                <a:gd name="connsiteX37" fmla="*/ 5517 w 10000"/>
                <a:gd name="connsiteY37" fmla="*/ 9994 h 10089"/>
                <a:gd name="connsiteX38" fmla="*/ 5615 w 10000"/>
                <a:gd name="connsiteY38" fmla="*/ 9928 h 10089"/>
                <a:gd name="connsiteX39" fmla="*/ 5716 w 10000"/>
                <a:gd name="connsiteY39" fmla="*/ 9918 h 10089"/>
                <a:gd name="connsiteX40" fmla="*/ 5914 w 10000"/>
                <a:gd name="connsiteY40" fmla="*/ 10089 h 10089"/>
                <a:gd name="connsiteX41" fmla="*/ 6101 w 10000"/>
                <a:gd name="connsiteY41" fmla="*/ 9947 h 10089"/>
                <a:gd name="connsiteX42" fmla="*/ 6329 w 10000"/>
                <a:gd name="connsiteY42" fmla="*/ 9956 h 10089"/>
                <a:gd name="connsiteX43" fmla="*/ 6500 w 10000"/>
                <a:gd name="connsiteY43" fmla="*/ 9880 h 10089"/>
                <a:gd name="connsiteX44" fmla="*/ 6744 w 10000"/>
                <a:gd name="connsiteY44" fmla="*/ 9956 h 10089"/>
                <a:gd name="connsiteX45" fmla="*/ 7058 w 10000"/>
                <a:gd name="connsiteY45" fmla="*/ 9719 h 10089"/>
                <a:gd name="connsiteX46" fmla="*/ 7171 w 10000"/>
                <a:gd name="connsiteY46" fmla="*/ 9719 h 10089"/>
                <a:gd name="connsiteX47" fmla="*/ 7372 w 10000"/>
                <a:gd name="connsiteY47" fmla="*/ 9529 h 10089"/>
                <a:gd name="connsiteX48" fmla="*/ 8228 w 10000"/>
                <a:gd name="connsiteY48" fmla="*/ 9520 h 10089"/>
                <a:gd name="connsiteX49" fmla="*/ 8415 w 10000"/>
                <a:gd name="connsiteY49" fmla="*/ 9444 h 10089"/>
                <a:gd name="connsiteX50" fmla="*/ 8401 w 10000"/>
                <a:gd name="connsiteY50" fmla="*/ 9349 h 10089"/>
                <a:gd name="connsiteX51" fmla="*/ 8343 w 10000"/>
                <a:gd name="connsiteY51" fmla="*/ 9140 h 10089"/>
                <a:gd name="connsiteX52" fmla="*/ 7986 w 10000"/>
                <a:gd name="connsiteY52" fmla="*/ 9074 h 10089"/>
                <a:gd name="connsiteX53" fmla="*/ 7815 w 10000"/>
                <a:gd name="connsiteY53" fmla="*/ 8742 h 10089"/>
                <a:gd name="connsiteX54" fmla="*/ 7715 w 10000"/>
                <a:gd name="connsiteY54" fmla="*/ 8704 h 10089"/>
                <a:gd name="connsiteX55" fmla="*/ 7688 w 10000"/>
                <a:gd name="connsiteY55" fmla="*/ 8467 h 10089"/>
                <a:gd name="connsiteX56" fmla="*/ 7559 w 10000"/>
                <a:gd name="connsiteY56" fmla="*/ 8457 h 10089"/>
                <a:gd name="connsiteX57" fmla="*/ 7514 w 10000"/>
                <a:gd name="connsiteY57" fmla="*/ 8334 h 10089"/>
                <a:gd name="connsiteX58" fmla="*/ 7300 w 10000"/>
                <a:gd name="connsiteY58" fmla="*/ 8305 h 10089"/>
                <a:gd name="connsiteX59" fmla="*/ 7228 w 10000"/>
                <a:gd name="connsiteY59" fmla="*/ 8116 h 10089"/>
                <a:gd name="connsiteX60" fmla="*/ 6873 w 10000"/>
                <a:gd name="connsiteY60" fmla="*/ 7935 h 10089"/>
                <a:gd name="connsiteX61" fmla="*/ 6485 w 10000"/>
                <a:gd name="connsiteY61" fmla="*/ 7907 h 10089"/>
                <a:gd name="connsiteX62" fmla="*/ 6588 w 10000"/>
                <a:gd name="connsiteY62" fmla="*/ 7698 h 10089"/>
                <a:gd name="connsiteX63" fmla="*/ 6560 w 10000"/>
                <a:gd name="connsiteY63" fmla="*/ 7546 h 10089"/>
                <a:gd name="connsiteX64" fmla="*/ 6887 w 10000"/>
                <a:gd name="connsiteY64" fmla="*/ 7556 h 10089"/>
                <a:gd name="connsiteX65" fmla="*/ 6957 w 10000"/>
                <a:gd name="connsiteY65" fmla="*/ 7603 h 10089"/>
                <a:gd name="connsiteX66" fmla="*/ 7158 w 10000"/>
                <a:gd name="connsiteY66" fmla="*/ 7508 h 10089"/>
                <a:gd name="connsiteX67" fmla="*/ 7214 w 10000"/>
                <a:gd name="connsiteY67" fmla="*/ 7167 h 10089"/>
                <a:gd name="connsiteX68" fmla="*/ 7131 w 10000"/>
                <a:gd name="connsiteY68" fmla="*/ 6911 h 10089"/>
                <a:gd name="connsiteX69" fmla="*/ 7372 w 10000"/>
                <a:gd name="connsiteY69" fmla="*/ 6702 h 10089"/>
                <a:gd name="connsiteX70" fmla="*/ 7300 w 10000"/>
                <a:gd name="connsiteY70" fmla="*/ 6503 h 10089"/>
                <a:gd name="connsiteX71" fmla="*/ 7459 w 10000"/>
                <a:gd name="connsiteY71" fmla="*/ 6313 h 10089"/>
                <a:gd name="connsiteX72" fmla="*/ 7559 w 10000"/>
                <a:gd name="connsiteY72" fmla="*/ 6417 h 10089"/>
                <a:gd name="connsiteX73" fmla="*/ 7728 w 10000"/>
                <a:gd name="connsiteY73" fmla="*/ 6370 h 10089"/>
                <a:gd name="connsiteX74" fmla="*/ 7715 w 10000"/>
                <a:gd name="connsiteY74" fmla="*/ 6076 h 10089"/>
                <a:gd name="connsiteX75" fmla="*/ 7815 w 10000"/>
                <a:gd name="connsiteY75" fmla="*/ 5971 h 10089"/>
                <a:gd name="connsiteX76" fmla="*/ 7787 w 10000"/>
                <a:gd name="connsiteY76" fmla="*/ 5829 h 10089"/>
                <a:gd name="connsiteX77" fmla="*/ 8015 w 10000"/>
                <a:gd name="connsiteY77" fmla="*/ 5744 h 10089"/>
                <a:gd name="connsiteX78" fmla="*/ 8029 w 10000"/>
                <a:gd name="connsiteY78" fmla="*/ 5554 h 10089"/>
                <a:gd name="connsiteX79" fmla="*/ 8201 w 10000"/>
                <a:gd name="connsiteY79" fmla="*/ 5374 h 10089"/>
                <a:gd name="connsiteX80" fmla="*/ 8512 w 10000"/>
                <a:gd name="connsiteY80" fmla="*/ 5355 h 10089"/>
                <a:gd name="connsiteX81" fmla="*/ 8486 w 10000"/>
                <a:gd name="connsiteY81" fmla="*/ 5108 h 10089"/>
                <a:gd name="connsiteX82" fmla="*/ 8716 w 10000"/>
                <a:gd name="connsiteY82" fmla="*/ 4842 h 10089"/>
                <a:gd name="connsiteX83" fmla="*/ 8716 w 10000"/>
                <a:gd name="connsiteY83" fmla="*/ 4558 h 10089"/>
                <a:gd name="connsiteX84" fmla="*/ 8686 w 10000"/>
                <a:gd name="connsiteY84" fmla="*/ 4245 h 10089"/>
                <a:gd name="connsiteX85" fmla="*/ 8617 w 10000"/>
                <a:gd name="connsiteY85" fmla="*/ 4150 h 10089"/>
                <a:gd name="connsiteX86" fmla="*/ 8785 w 10000"/>
                <a:gd name="connsiteY86" fmla="*/ 4017 h 10089"/>
                <a:gd name="connsiteX87" fmla="*/ 8799 w 10000"/>
                <a:gd name="connsiteY87" fmla="*/ 3856 h 10089"/>
                <a:gd name="connsiteX88" fmla="*/ 8973 w 10000"/>
                <a:gd name="connsiteY88" fmla="*/ 3666 h 10089"/>
                <a:gd name="connsiteX89" fmla="*/ 8885 w 10000"/>
                <a:gd name="connsiteY89" fmla="*/ 3372 h 10089"/>
                <a:gd name="connsiteX90" fmla="*/ 9044 w 10000"/>
                <a:gd name="connsiteY90" fmla="*/ 3296 h 10089"/>
                <a:gd name="connsiteX91" fmla="*/ 9044 w 10000"/>
                <a:gd name="connsiteY91" fmla="*/ 3201 h 10089"/>
                <a:gd name="connsiteX92" fmla="*/ 9312 w 10000"/>
                <a:gd name="connsiteY92" fmla="*/ 3135 h 10089"/>
                <a:gd name="connsiteX93" fmla="*/ 9327 w 10000"/>
                <a:gd name="connsiteY93" fmla="*/ 2992 h 10089"/>
                <a:gd name="connsiteX94" fmla="*/ 9844 w 10000"/>
                <a:gd name="connsiteY94" fmla="*/ 2897 h 10089"/>
                <a:gd name="connsiteX95" fmla="*/ 10000 w 10000"/>
                <a:gd name="connsiteY95" fmla="*/ 2660 h 10089"/>
                <a:gd name="connsiteX96" fmla="*/ 9644 w 10000"/>
                <a:gd name="connsiteY96" fmla="*/ 2518 h 10089"/>
                <a:gd name="connsiteX97" fmla="*/ 9516 w 10000"/>
                <a:gd name="connsiteY97" fmla="*/ 2328 h 10089"/>
                <a:gd name="connsiteX98" fmla="*/ 9158 w 10000"/>
                <a:gd name="connsiteY98" fmla="*/ 2252 h 10089"/>
                <a:gd name="connsiteX99" fmla="*/ 9088 w 10000"/>
                <a:gd name="connsiteY99" fmla="*/ 1759 h 10089"/>
                <a:gd name="connsiteX100" fmla="*/ 8986 w 10000"/>
                <a:gd name="connsiteY100" fmla="*/ 1740 h 10089"/>
                <a:gd name="connsiteX101" fmla="*/ 8957 w 10000"/>
                <a:gd name="connsiteY101" fmla="*/ 1294 h 10089"/>
                <a:gd name="connsiteX102" fmla="*/ 8885 w 10000"/>
                <a:gd name="connsiteY102" fmla="*/ 1142 h 10089"/>
                <a:gd name="connsiteX103" fmla="*/ 9058 w 10000"/>
                <a:gd name="connsiteY103" fmla="*/ 1114 h 10089"/>
                <a:gd name="connsiteX104" fmla="*/ 8785 w 10000"/>
                <a:gd name="connsiteY104" fmla="*/ 886 h 10089"/>
                <a:gd name="connsiteX105" fmla="*/ 8743 w 10000"/>
                <a:gd name="connsiteY105" fmla="*/ 592 h 10089"/>
                <a:gd name="connsiteX106" fmla="*/ 8472 w 10000"/>
                <a:gd name="connsiteY106" fmla="*/ 459 h 10089"/>
                <a:gd name="connsiteX107" fmla="*/ 8286 w 10000"/>
                <a:gd name="connsiteY107" fmla="*/ 307 h 10089"/>
                <a:gd name="connsiteX108" fmla="*/ 8129 w 10000"/>
                <a:gd name="connsiteY108" fmla="*/ 298 h 10089"/>
                <a:gd name="connsiteX109" fmla="*/ 7902 w 10000"/>
                <a:gd name="connsiteY109" fmla="*/ 89 h 10089"/>
                <a:gd name="connsiteX110" fmla="*/ 7670 w 10000"/>
                <a:gd name="connsiteY110" fmla="*/ 231 h 10089"/>
                <a:gd name="connsiteX111" fmla="*/ 7430 w 10000"/>
                <a:gd name="connsiteY111" fmla="*/ 241 h 10089"/>
                <a:gd name="connsiteX0" fmla="*/ 7670 w 10000"/>
                <a:gd name="connsiteY0" fmla="*/ 142 h 10000"/>
                <a:gd name="connsiteX1" fmla="*/ 7287 w 10000"/>
                <a:gd name="connsiteY1" fmla="*/ 408 h 10000"/>
                <a:gd name="connsiteX2" fmla="*/ 4796 w 10000"/>
                <a:gd name="connsiteY2" fmla="*/ 5811 h 10000"/>
                <a:gd name="connsiteX3" fmla="*/ 1754 w 10000"/>
                <a:gd name="connsiteY3" fmla="*/ 5799 h 10000"/>
                <a:gd name="connsiteX4" fmla="*/ 769 w 10000"/>
                <a:gd name="connsiteY4" fmla="*/ 6588 h 10000"/>
                <a:gd name="connsiteX5" fmla="*/ 175 w 10000"/>
                <a:gd name="connsiteY5" fmla="*/ 6774 h 10000"/>
                <a:gd name="connsiteX6" fmla="*/ 2 w 10000"/>
                <a:gd name="connsiteY6" fmla="*/ 7144 h 10000"/>
                <a:gd name="connsiteX7" fmla="*/ 117 w 10000"/>
                <a:gd name="connsiteY7" fmla="*/ 7211 h 10000"/>
                <a:gd name="connsiteX8" fmla="*/ 32 w 10000"/>
                <a:gd name="connsiteY8" fmla="*/ 7315 h 10000"/>
                <a:gd name="connsiteX9" fmla="*/ 518 w 10000"/>
                <a:gd name="connsiteY9" fmla="*/ 7343 h 10000"/>
                <a:gd name="connsiteX10" fmla="*/ 518 w 10000"/>
                <a:gd name="connsiteY10" fmla="*/ 7410 h 10000"/>
                <a:gd name="connsiteX11" fmla="*/ 502 w 10000"/>
                <a:gd name="connsiteY11" fmla="*/ 7562 h 10000"/>
                <a:gd name="connsiteX12" fmla="*/ 1016 w 10000"/>
                <a:gd name="connsiteY12" fmla="*/ 7619 h 10000"/>
                <a:gd name="connsiteX13" fmla="*/ 1016 w 10000"/>
                <a:gd name="connsiteY13" fmla="*/ 7742 h 10000"/>
                <a:gd name="connsiteX14" fmla="*/ 1288 w 10000"/>
                <a:gd name="connsiteY14" fmla="*/ 7837 h 10000"/>
                <a:gd name="connsiteX15" fmla="*/ 1203 w 10000"/>
                <a:gd name="connsiteY15" fmla="*/ 7979 h 10000"/>
                <a:gd name="connsiteX16" fmla="*/ 1586 w 10000"/>
                <a:gd name="connsiteY16" fmla="*/ 8102 h 10000"/>
                <a:gd name="connsiteX17" fmla="*/ 1817 w 10000"/>
                <a:gd name="connsiteY17" fmla="*/ 8330 h 10000"/>
                <a:gd name="connsiteX18" fmla="*/ 2030 w 10000"/>
                <a:gd name="connsiteY18" fmla="*/ 8416 h 10000"/>
                <a:gd name="connsiteX19" fmla="*/ 1945 w 10000"/>
                <a:gd name="connsiteY19" fmla="*/ 8491 h 10000"/>
                <a:gd name="connsiteX20" fmla="*/ 2059 w 10000"/>
                <a:gd name="connsiteY20" fmla="*/ 8577 h 10000"/>
                <a:gd name="connsiteX21" fmla="*/ 2043 w 10000"/>
                <a:gd name="connsiteY21" fmla="*/ 8700 h 10000"/>
                <a:gd name="connsiteX22" fmla="*/ 2261 w 10000"/>
                <a:gd name="connsiteY22" fmla="*/ 8710 h 10000"/>
                <a:gd name="connsiteX23" fmla="*/ 2502 w 10000"/>
                <a:gd name="connsiteY23" fmla="*/ 8843 h 10000"/>
                <a:gd name="connsiteX24" fmla="*/ 2561 w 10000"/>
                <a:gd name="connsiteY24" fmla="*/ 9051 h 10000"/>
                <a:gd name="connsiteX25" fmla="*/ 2615 w 10000"/>
                <a:gd name="connsiteY25" fmla="*/ 9127 h 10000"/>
                <a:gd name="connsiteX26" fmla="*/ 2917 w 10000"/>
                <a:gd name="connsiteY26" fmla="*/ 9307 h 10000"/>
                <a:gd name="connsiteX27" fmla="*/ 2917 w 10000"/>
                <a:gd name="connsiteY27" fmla="*/ 9440 h 10000"/>
                <a:gd name="connsiteX28" fmla="*/ 3360 w 10000"/>
                <a:gd name="connsiteY28" fmla="*/ 9583 h 10000"/>
                <a:gd name="connsiteX29" fmla="*/ 3602 w 10000"/>
                <a:gd name="connsiteY29" fmla="*/ 9431 h 10000"/>
                <a:gd name="connsiteX30" fmla="*/ 3903 w 10000"/>
                <a:gd name="connsiteY30" fmla="*/ 9545 h 10000"/>
                <a:gd name="connsiteX31" fmla="*/ 4142 w 10000"/>
                <a:gd name="connsiteY31" fmla="*/ 9374 h 10000"/>
                <a:gd name="connsiteX32" fmla="*/ 4415 w 10000"/>
                <a:gd name="connsiteY32" fmla="*/ 9649 h 10000"/>
                <a:gd name="connsiteX33" fmla="*/ 4801 w 10000"/>
                <a:gd name="connsiteY33" fmla="*/ 9801 h 10000"/>
                <a:gd name="connsiteX34" fmla="*/ 4843 w 10000"/>
                <a:gd name="connsiteY34" fmla="*/ 9934 h 10000"/>
                <a:gd name="connsiteX35" fmla="*/ 5002 w 10000"/>
                <a:gd name="connsiteY35" fmla="*/ 9953 h 10000"/>
                <a:gd name="connsiteX36" fmla="*/ 5228 w 10000"/>
                <a:gd name="connsiteY36" fmla="*/ 9829 h 10000"/>
                <a:gd name="connsiteX37" fmla="*/ 5517 w 10000"/>
                <a:gd name="connsiteY37" fmla="*/ 9905 h 10000"/>
                <a:gd name="connsiteX38" fmla="*/ 5615 w 10000"/>
                <a:gd name="connsiteY38" fmla="*/ 9839 h 10000"/>
                <a:gd name="connsiteX39" fmla="*/ 5716 w 10000"/>
                <a:gd name="connsiteY39" fmla="*/ 9829 h 10000"/>
                <a:gd name="connsiteX40" fmla="*/ 5914 w 10000"/>
                <a:gd name="connsiteY40" fmla="*/ 10000 h 10000"/>
                <a:gd name="connsiteX41" fmla="*/ 6101 w 10000"/>
                <a:gd name="connsiteY41" fmla="*/ 9858 h 10000"/>
                <a:gd name="connsiteX42" fmla="*/ 6329 w 10000"/>
                <a:gd name="connsiteY42" fmla="*/ 9867 h 10000"/>
                <a:gd name="connsiteX43" fmla="*/ 6500 w 10000"/>
                <a:gd name="connsiteY43" fmla="*/ 9791 h 10000"/>
                <a:gd name="connsiteX44" fmla="*/ 6744 w 10000"/>
                <a:gd name="connsiteY44" fmla="*/ 9867 h 10000"/>
                <a:gd name="connsiteX45" fmla="*/ 7058 w 10000"/>
                <a:gd name="connsiteY45" fmla="*/ 9630 h 10000"/>
                <a:gd name="connsiteX46" fmla="*/ 7171 w 10000"/>
                <a:gd name="connsiteY46" fmla="*/ 9630 h 10000"/>
                <a:gd name="connsiteX47" fmla="*/ 7372 w 10000"/>
                <a:gd name="connsiteY47" fmla="*/ 9440 h 10000"/>
                <a:gd name="connsiteX48" fmla="*/ 8228 w 10000"/>
                <a:gd name="connsiteY48" fmla="*/ 9431 h 10000"/>
                <a:gd name="connsiteX49" fmla="*/ 8415 w 10000"/>
                <a:gd name="connsiteY49" fmla="*/ 9355 h 10000"/>
                <a:gd name="connsiteX50" fmla="*/ 8401 w 10000"/>
                <a:gd name="connsiteY50" fmla="*/ 9260 h 10000"/>
                <a:gd name="connsiteX51" fmla="*/ 8343 w 10000"/>
                <a:gd name="connsiteY51" fmla="*/ 9051 h 10000"/>
                <a:gd name="connsiteX52" fmla="*/ 7986 w 10000"/>
                <a:gd name="connsiteY52" fmla="*/ 8985 h 10000"/>
                <a:gd name="connsiteX53" fmla="*/ 7815 w 10000"/>
                <a:gd name="connsiteY53" fmla="*/ 8653 h 10000"/>
                <a:gd name="connsiteX54" fmla="*/ 7715 w 10000"/>
                <a:gd name="connsiteY54" fmla="*/ 8615 h 10000"/>
                <a:gd name="connsiteX55" fmla="*/ 7688 w 10000"/>
                <a:gd name="connsiteY55" fmla="*/ 8378 h 10000"/>
                <a:gd name="connsiteX56" fmla="*/ 7559 w 10000"/>
                <a:gd name="connsiteY56" fmla="*/ 8368 h 10000"/>
                <a:gd name="connsiteX57" fmla="*/ 7514 w 10000"/>
                <a:gd name="connsiteY57" fmla="*/ 8245 h 10000"/>
                <a:gd name="connsiteX58" fmla="*/ 7300 w 10000"/>
                <a:gd name="connsiteY58" fmla="*/ 8216 h 10000"/>
                <a:gd name="connsiteX59" fmla="*/ 7228 w 10000"/>
                <a:gd name="connsiteY59" fmla="*/ 8027 h 10000"/>
                <a:gd name="connsiteX60" fmla="*/ 6873 w 10000"/>
                <a:gd name="connsiteY60" fmla="*/ 7846 h 10000"/>
                <a:gd name="connsiteX61" fmla="*/ 6485 w 10000"/>
                <a:gd name="connsiteY61" fmla="*/ 7818 h 10000"/>
                <a:gd name="connsiteX62" fmla="*/ 6588 w 10000"/>
                <a:gd name="connsiteY62" fmla="*/ 7609 h 10000"/>
                <a:gd name="connsiteX63" fmla="*/ 6560 w 10000"/>
                <a:gd name="connsiteY63" fmla="*/ 7457 h 10000"/>
                <a:gd name="connsiteX64" fmla="*/ 6887 w 10000"/>
                <a:gd name="connsiteY64" fmla="*/ 7467 h 10000"/>
                <a:gd name="connsiteX65" fmla="*/ 6957 w 10000"/>
                <a:gd name="connsiteY65" fmla="*/ 7514 h 10000"/>
                <a:gd name="connsiteX66" fmla="*/ 7158 w 10000"/>
                <a:gd name="connsiteY66" fmla="*/ 7419 h 10000"/>
                <a:gd name="connsiteX67" fmla="*/ 7214 w 10000"/>
                <a:gd name="connsiteY67" fmla="*/ 7078 h 10000"/>
                <a:gd name="connsiteX68" fmla="*/ 7131 w 10000"/>
                <a:gd name="connsiteY68" fmla="*/ 6822 h 10000"/>
                <a:gd name="connsiteX69" fmla="*/ 7372 w 10000"/>
                <a:gd name="connsiteY69" fmla="*/ 6613 h 10000"/>
                <a:gd name="connsiteX70" fmla="*/ 7300 w 10000"/>
                <a:gd name="connsiteY70" fmla="*/ 6414 h 10000"/>
                <a:gd name="connsiteX71" fmla="*/ 7459 w 10000"/>
                <a:gd name="connsiteY71" fmla="*/ 6224 h 10000"/>
                <a:gd name="connsiteX72" fmla="*/ 7559 w 10000"/>
                <a:gd name="connsiteY72" fmla="*/ 6328 h 10000"/>
                <a:gd name="connsiteX73" fmla="*/ 7728 w 10000"/>
                <a:gd name="connsiteY73" fmla="*/ 6281 h 10000"/>
                <a:gd name="connsiteX74" fmla="*/ 7715 w 10000"/>
                <a:gd name="connsiteY74" fmla="*/ 5987 h 10000"/>
                <a:gd name="connsiteX75" fmla="*/ 7815 w 10000"/>
                <a:gd name="connsiteY75" fmla="*/ 5882 h 10000"/>
                <a:gd name="connsiteX76" fmla="*/ 7787 w 10000"/>
                <a:gd name="connsiteY76" fmla="*/ 5740 h 10000"/>
                <a:gd name="connsiteX77" fmla="*/ 8015 w 10000"/>
                <a:gd name="connsiteY77" fmla="*/ 5655 h 10000"/>
                <a:gd name="connsiteX78" fmla="*/ 8029 w 10000"/>
                <a:gd name="connsiteY78" fmla="*/ 5465 h 10000"/>
                <a:gd name="connsiteX79" fmla="*/ 8201 w 10000"/>
                <a:gd name="connsiteY79" fmla="*/ 5285 h 10000"/>
                <a:gd name="connsiteX80" fmla="*/ 8512 w 10000"/>
                <a:gd name="connsiteY80" fmla="*/ 5266 h 10000"/>
                <a:gd name="connsiteX81" fmla="*/ 8486 w 10000"/>
                <a:gd name="connsiteY81" fmla="*/ 5019 h 10000"/>
                <a:gd name="connsiteX82" fmla="*/ 8716 w 10000"/>
                <a:gd name="connsiteY82" fmla="*/ 4753 h 10000"/>
                <a:gd name="connsiteX83" fmla="*/ 8716 w 10000"/>
                <a:gd name="connsiteY83" fmla="*/ 4469 h 10000"/>
                <a:gd name="connsiteX84" fmla="*/ 8686 w 10000"/>
                <a:gd name="connsiteY84" fmla="*/ 4156 h 10000"/>
                <a:gd name="connsiteX85" fmla="*/ 8617 w 10000"/>
                <a:gd name="connsiteY85" fmla="*/ 4061 h 10000"/>
                <a:gd name="connsiteX86" fmla="*/ 8785 w 10000"/>
                <a:gd name="connsiteY86" fmla="*/ 3928 h 10000"/>
                <a:gd name="connsiteX87" fmla="*/ 8799 w 10000"/>
                <a:gd name="connsiteY87" fmla="*/ 3767 h 10000"/>
                <a:gd name="connsiteX88" fmla="*/ 8973 w 10000"/>
                <a:gd name="connsiteY88" fmla="*/ 3577 h 10000"/>
                <a:gd name="connsiteX89" fmla="*/ 8885 w 10000"/>
                <a:gd name="connsiteY89" fmla="*/ 3283 h 10000"/>
                <a:gd name="connsiteX90" fmla="*/ 9044 w 10000"/>
                <a:gd name="connsiteY90" fmla="*/ 3207 h 10000"/>
                <a:gd name="connsiteX91" fmla="*/ 9044 w 10000"/>
                <a:gd name="connsiteY91" fmla="*/ 3112 h 10000"/>
                <a:gd name="connsiteX92" fmla="*/ 9312 w 10000"/>
                <a:gd name="connsiteY92" fmla="*/ 3046 h 10000"/>
                <a:gd name="connsiteX93" fmla="*/ 9327 w 10000"/>
                <a:gd name="connsiteY93" fmla="*/ 2903 h 10000"/>
                <a:gd name="connsiteX94" fmla="*/ 9844 w 10000"/>
                <a:gd name="connsiteY94" fmla="*/ 2808 h 10000"/>
                <a:gd name="connsiteX95" fmla="*/ 10000 w 10000"/>
                <a:gd name="connsiteY95" fmla="*/ 2571 h 10000"/>
                <a:gd name="connsiteX96" fmla="*/ 9644 w 10000"/>
                <a:gd name="connsiteY96" fmla="*/ 2429 h 10000"/>
                <a:gd name="connsiteX97" fmla="*/ 9516 w 10000"/>
                <a:gd name="connsiteY97" fmla="*/ 2239 h 10000"/>
                <a:gd name="connsiteX98" fmla="*/ 9158 w 10000"/>
                <a:gd name="connsiteY98" fmla="*/ 2163 h 10000"/>
                <a:gd name="connsiteX99" fmla="*/ 9088 w 10000"/>
                <a:gd name="connsiteY99" fmla="*/ 1670 h 10000"/>
                <a:gd name="connsiteX100" fmla="*/ 8986 w 10000"/>
                <a:gd name="connsiteY100" fmla="*/ 1651 h 10000"/>
                <a:gd name="connsiteX101" fmla="*/ 8957 w 10000"/>
                <a:gd name="connsiteY101" fmla="*/ 1205 h 10000"/>
                <a:gd name="connsiteX102" fmla="*/ 8885 w 10000"/>
                <a:gd name="connsiteY102" fmla="*/ 1053 h 10000"/>
                <a:gd name="connsiteX103" fmla="*/ 9058 w 10000"/>
                <a:gd name="connsiteY103" fmla="*/ 1025 h 10000"/>
                <a:gd name="connsiteX104" fmla="*/ 8785 w 10000"/>
                <a:gd name="connsiteY104" fmla="*/ 797 h 10000"/>
                <a:gd name="connsiteX105" fmla="*/ 8743 w 10000"/>
                <a:gd name="connsiteY105" fmla="*/ 503 h 10000"/>
                <a:gd name="connsiteX106" fmla="*/ 8472 w 10000"/>
                <a:gd name="connsiteY106" fmla="*/ 370 h 10000"/>
                <a:gd name="connsiteX107" fmla="*/ 8286 w 10000"/>
                <a:gd name="connsiteY107" fmla="*/ 218 h 10000"/>
                <a:gd name="connsiteX108" fmla="*/ 8129 w 10000"/>
                <a:gd name="connsiteY108" fmla="*/ 209 h 10000"/>
                <a:gd name="connsiteX109" fmla="*/ 7902 w 10000"/>
                <a:gd name="connsiteY109" fmla="*/ 0 h 10000"/>
                <a:gd name="connsiteX110" fmla="*/ 7670 w 10000"/>
                <a:gd name="connsiteY110" fmla="*/ 142 h 10000"/>
                <a:gd name="connsiteX0" fmla="*/ 7902 w 10000"/>
                <a:gd name="connsiteY0" fmla="*/ 0 h 10000"/>
                <a:gd name="connsiteX1" fmla="*/ 7287 w 10000"/>
                <a:gd name="connsiteY1" fmla="*/ 408 h 10000"/>
                <a:gd name="connsiteX2" fmla="*/ 4796 w 10000"/>
                <a:gd name="connsiteY2" fmla="*/ 5811 h 10000"/>
                <a:gd name="connsiteX3" fmla="*/ 1754 w 10000"/>
                <a:gd name="connsiteY3" fmla="*/ 5799 h 10000"/>
                <a:gd name="connsiteX4" fmla="*/ 769 w 10000"/>
                <a:gd name="connsiteY4" fmla="*/ 6588 h 10000"/>
                <a:gd name="connsiteX5" fmla="*/ 175 w 10000"/>
                <a:gd name="connsiteY5" fmla="*/ 6774 h 10000"/>
                <a:gd name="connsiteX6" fmla="*/ 2 w 10000"/>
                <a:gd name="connsiteY6" fmla="*/ 7144 h 10000"/>
                <a:gd name="connsiteX7" fmla="*/ 117 w 10000"/>
                <a:gd name="connsiteY7" fmla="*/ 7211 h 10000"/>
                <a:gd name="connsiteX8" fmla="*/ 32 w 10000"/>
                <a:gd name="connsiteY8" fmla="*/ 7315 h 10000"/>
                <a:gd name="connsiteX9" fmla="*/ 518 w 10000"/>
                <a:gd name="connsiteY9" fmla="*/ 7343 h 10000"/>
                <a:gd name="connsiteX10" fmla="*/ 518 w 10000"/>
                <a:gd name="connsiteY10" fmla="*/ 7410 h 10000"/>
                <a:gd name="connsiteX11" fmla="*/ 502 w 10000"/>
                <a:gd name="connsiteY11" fmla="*/ 7562 h 10000"/>
                <a:gd name="connsiteX12" fmla="*/ 1016 w 10000"/>
                <a:gd name="connsiteY12" fmla="*/ 7619 h 10000"/>
                <a:gd name="connsiteX13" fmla="*/ 1016 w 10000"/>
                <a:gd name="connsiteY13" fmla="*/ 7742 h 10000"/>
                <a:gd name="connsiteX14" fmla="*/ 1288 w 10000"/>
                <a:gd name="connsiteY14" fmla="*/ 7837 h 10000"/>
                <a:gd name="connsiteX15" fmla="*/ 1203 w 10000"/>
                <a:gd name="connsiteY15" fmla="*/ 7979 h 10000"/>
                <a:gd name="connsiteX16" fmla="*/ 1586 w 10000"/>
                <a:gd name="connsiteY16" fmla="*/ 8102 h 10000"/>
                <a:gd name="connsiteX17" fmla="*/ 1817 w 10000"/>
                <a:gd name="connsiteY17" fmla="*/ 8330 h 10000"/>
                <a:gd name="connsiteX18" fmla="*/ 2030 w 10000"/>
                <a:gd name="connsiteY18" fmla="*/ 8416 h 10000"/>
                <a:gd name="connsiteX19" fmla="*/ 1945 w 10000"/>
                <a:gd name="connsiteY19" fmla="*/ 8491 h 10000"/>
                <a:gd name="connsiteX20" fmla="*/ 2059 w 10000"/>
                <a:gd name="connsiteY20" fmla="*/ 8577 h 10000"/>
                <a:gd name="connsiteX21" fmla="*/ 2043 w 10000"/>
                <a:gd name="connsiteY21" fmla="*/ 8700 h 10000"/>
                <a:gd name="connsiteX22" fmla="*/ 2261 w 10000"/>
                <a:gd name="connsiteY22" fmla="*/ 8710 h 10000"/>
                <a:gd name="connsiteX23" fmla="*/ 2502 w 10000"/>
                <a:gd name="connsiteY23" fmla="*/ 8843 h 10000"/>
                <a:gd name="connsiteX24" fmla="*/ 2561 w 10000"/>
                <a:gd name="connsiteY24" fmla="*/ 9051 h 10000"/>
                <a:gd name="connsiteX25" fmla="*/ 2615 w 10000"/>
                <a:gd name="connsiteY25" fmla="*/ 9127 h 10000"/>
                <a:gd name="connsiteX26" fmla="*/ 2917 w 10000"/>
                <a:gd name="connsiteY26" fmla="*/ 9307 h 10000"/>
                <a:gd name="connsiteX27" fmla="*/ 2917 w 10000"/>
                <a:gd name="connsiteY27" fmla="*/ 9440 h 10000"/>
                <a:gd name="connsiteX28" fmla="*/ 3360 w 10000"/>
                <a:gd name="connsiteY28" fmla="*/ 9583 h 10000"/>
                <a:gd name="connsiteX29" fmla="*/ 3602 w 10000"/>
                <a:gd name="connsiteY29" fmla="*/ 9431 h 10000"/>
                <a:gd name="connsiteX30" fmla="*/ 3903 w 10000"/>
                <a:gd name="connsiteY30" fmla="*/ 9545 h 10000"/>
                <a:gd name="connsiteX31" fmla="*/ 4142 w 10000"/>
                <a:gd name="connsiteY31" fmla="*/ 9374 h 10000"/>
                <a:gd name="connsiteX32" fmla="*/ 4415 w 10000"/>
                <a:gd name="connsiteY32" fmla="*/ 9649 h 10000"/>
                <a:gd name="connsiteX33" fmla="*/ 4801 w 10000"/>
                <a:gd name="connsiteY33" fmla="*/ 9801 h 10000"/>
                <a:gd name="connsiteX34" fmla="*/ 4843 w 10000"/>
                <a:gd name="connsiteY34" fmla="*/ 9934 h 10000"/>
                <a:gd name="connsiteX35" fmla="*/ 5002 w 10000"/>
                <a:gd name="connsiteY35" fmla="*/ 9953 h 10000"/>
                <a:gd name="connsiteX36" fmla="*/ 5228 w 10000"/>
                <a:gd name="connsiteY36" fmla="*/ 9829 h 10000"/>
                <a:gd name="connsiteX37" fmla="*/ 5517 w 10000"/>
                <a:gd name="connsiteY37" fmla="*/ 9905 h 10000"/>
                <a:gd name="connsiteX38" fmla="*/ 5615 w 10000"/>
                <a:gd name="connsiteY38" fmla="*/ 9839 h 10000"/>
                <a:gd name="connsiteX39" fmla="*/ 5716 w 10000"/>
                <a:gd name="connsiteY39" fmla="*/ 9829 h 10000"/>
                <a:gd name="connsiteX40" fmla="*/ 5914 w 10000"/>
                <a:gd name="connsiteY40" fmla="*/ 10000 h 10000"/>
                <a:gd name="connsiteX41" fmla="*/ 6101 w 10000"/>
                <a:gd name="connsiteY41" fmla="*/ 9858 h 10000"/>
                <a:gd name="connsiteX42" fmla="*/ 6329 w 10000"/>
                <a:gd name="connsiteY42" fmla="*/ 9867 h 10000"/>
                <a:gd name="connsiteX43" fmla="*/ 6500 w 10000"/>
                <a:gd name="connsiteY43" fmla="*/ 9791 h 10000"/>
                <a:gd name="connsiteX44" fmla="*/ 6744 w 10000"/>
                <a:gd name="connsiteY44" fmla="*/ 9867 h 10000"/>
                <a:gd name="connsiteX45" fmla="*/ 7058 w 10000"/>
                <a:gd name="connsiteY45" fmla="*/ 9630 h 10000"/>
                <a:gd name="connsiteX46" fmla="*/ 7171 w 10000"/>
                <a:gd name="connsiteY46" fmla="*/ 9630 h 10000"/>
                <a:gd name="connsiteX47" fmla="*/ 7372 w 10000"/>
                <a:gd name="connsiteY47" fmla="*/ 9440 h 10000"/>
                <a:gd name="connsiteX48" fmla="*/ 8228 w 10000"/>
                <a:gd name="connsiteY48" fmla="*/ 9431 h 10000"/>
                <a:gd name="connsiteX49" fmla="*/ 8415 w 10000"/>
                <a:gd name="connsiteY49" fmla="*/ 9355 h 10000"/>
                <a:gd name="connsiteX50" fmla="*/ 8401 w 10000"/>
                <a:gd name="connsiteY50" fmla="*/ 9260 h 10000"/>
                <a:gd name="connsiteX51" fmla="*/ 8343 w 10000"/>
                <a:gd name="connsiteY51" fmla="*/ 9051 h 10000"/>
                <a:gd name="connsiteX52" fmla="*/ 7986 w 10000"/>
                <a:gd name="connsiteY52" fmla="*/ 8985 h 10000"/>
                <a:gd name="connsiteX53" fmla="*/ 7815 w 10000"/>
                <a:gd name="connsiteY53" fmla="*/ 8653 h 10000"/>
                <a:gd name="connsiteX54" fmla="*/ 7715 w 10000"/>
                <a:gd name="connsiteY54" fmla="*/ 8615 h 10000"/>
                <a:gd name="connsiteX55" fmla="*/ 7688 w 10000"/>
                <a:gd name="connsiteY55" fmla="*/ 8378 h 10000"/>
                <a:gd name="connsiteX56" fmla="*/ 7559 w 10000"/>
                <a:gd name="connsiteY56" fmla="*/ 8368 h 10000"/>
                <a:gd name="connsiteX57" fmla="*/ 7514 w 10000"/>
                <a:gd name="connsiteY57" fmla="*/ 8245 h 10000"/>
                <a:gd name="connsiteX58" fmla="*/ 7300 w 10000"/>
                <a:gd name="connsiteY58" fmla="*/ 8216 h 10000"/>
                <a:gd name="connsiteX59" fmla="*/ 7228 w 10000"/>
                <a:gd name="connsiteY59" fmla="*/ 8027 h 10000"/>
                <a:gd name="connsiteX60" fmla="*/ 6873 w 10000"/>
                <a:gd name="connsiteY60" fmla="*/ 7846 h 10000"/>
                <a:gd name="connsiteX61" fmla="*/ 6485 w 10000"/>
                <a:gd name="connsiteY61" fmla="*/ 7818 h 10000"/>
                <a:gd name="connsiteX62" fmla="*/ 6588 w 10000"/>
                <a:gd name="connsiteY62" fmla="*/ 7609 h 10000"/>
                <a:gd name="connsiteX63" fmla="*/ 6560 w 10000"/>
                <a:gd name="connsiteY63" fmla="*/ 7457 h 10000"/>
                <a:gd name="connsiteX64" fmla="*/ 6887 w 10000"/>
                <a:gd name="connsiteY64" fmla="*/ 7467 h 10000"/>
                <a:gd name="connsiteX65" fmla="*/ 6957 w 10000"/>
                <a:gd name="connsiteY65" fmla="*/ 7514 h 10000"/>
                <a:gd name="connsiteX66" fmla="*/ 7158 w 10000"/>
                <a:gd name="connsiteY66" fmla="*/ 7419 h 10000"/>
                <a:gd name="connsiteX67" fmla="*/ 7214 w 10000"/>
                <a:gd name="connsiteY67" fmla="*/ 7078 h 10000"/>
                <a:gd name="connsiteX68" fmla="*/ 7131 w 10000"/>
                <a:gd name="connsiteY68" fmla="*/ 6822 h 10000"/>
                <a:gd name="connsiteX69" fmla="*/ 7372 w 10000"/>
                <a:gd name="connsiteY69" fmla="*/ 6613 h 10000"/>
                <a:gd name="connsiteX70" fmla="*/ 7300 w 10000"/>
                <a:gd name="connsiteY70" fmla="*/ 6414 h 10000"/>
                <a:gd name="connsiteX71" fmla="*/ 7459 w 10000"/>
                <a:gd name="connsiteY71" fmla="*/ 6224 h 10000"/>
                <a:gd name="connsiteX72" fmla="*/ 7559 w 10000"/>
                <a:gd name="connsiteY72" fmla="*/ 6328 h 10000"/>
                <a:gd name="connsiteX73" fmla="*/ 7728 w 10000"/>
                <a:gd name="connsiteY73" fmla="*/ 6281 h 10000"/>
                <a:gd name="connsiteX74" fmla="*/ 7715 w 10000"/>
                <a:gd name="connsiteY74" fmla="*/ 5987 h 10000"/>
                <a:gd name="connsiteX75" fmla="*/ 7815 w 10000"/>
                <a:gd name="connsiteY75" fmla="*/ 5882 h 10000"/>
                <a:gd name="connsiteX76" fmla="*/ 7787 w 10000"/>
                <a:gd name="connsiteY76" fmla="*/ 5740 h 10000"/>
                <a:gd name="connsiteX77" fmla="*/ 8015 w 10000"/>
                <a:gd name="connsiteY77" fmla="*/ 5655 h 10000"/>
                <a:gd name="connsiteX78" fmla="*/ 8029 w 10000"/>
                <a:gd name="connsiteY78" fmla="*/ 5465 h 10000"/>
                <a:gd name="connsiteX79" fmla="*/ 8201 w 10000"/>
                <a:gd name="connsiteY79" fmla="*/ 5285 h 10000"/>
                <a:gd name="connsiteX80" fmla="*/ 8512 w 10000"/>
                <a:gd name="connsiteY80" fmla="*/ 5266 h 10000"/>
                <a:gd name="connsiteX81" fmla="*/ 8486 w 10000"/>
                <a:gd name="connsiteY81" fmla="*/ 5019 h 10000"/>
                <a:gd name="connsiteX82" fmla="*/ 8716 w 10000"/>
                <a:gd name="connsiteY82" fmla="*/ 4753 h 10000"/>
                <a:gd name="connsiteX83" fmla="*/ 8716 w 10000"/>
                <a:gd name="connsiteY83" fmla="*/ 4469 h 10000"/>
                <a:gd name="connsiteX84" fmla="*/ 8686 w 10000"/>
                <a:gd name="connsiteY84" fmla="*/ 4156 h 10000"/>
                <a:gd name="connsiteX85" fmla="*/ 8617 w 10000"/>
                <a:gd name="connsiteY85" fmla="*/ 4061 h 10000"/>
                <a:gd name="connsiteX86" fmla="*/ 8785 w 10000"/>
                <a:gd name="connsiteY86" fmla="*/ 3928 h 10000"/>
                <a:gd name="connsiteX87" fmla="*/ 8799 w 10000"/>
                <a:gd name="connsiteY87" fmla="*/ 3767 h 10000"/>
                <a:gd name="connsiteX88" fmla="*/ 8973 w 10000"/>
                <a:gd name="connsiteY88" fmla="*/ 3577 h 10000"/>
                <a:gd name="connsiteX89" fmla="*/ 8885 w 10000"/>
                <a:gd name="connsiteY89" fmla="*/ 3283 h 10000"/>
                <a:gd name="connsiteX90" fmla="*/ 9044 w 10000"/>
                <a:gd name="connsiteY90" fmla="*/ 3207 h 10000"/>
                <a:gd name="connsiteX91" fmla="*/ 9044 w 10000"/>
                <a:gd name="connsiteY91" fmla="*/ 3112 h 10000"/>
                <a:gd name="connsiteX92" fmla="*/ 9312 w 10000"/>
                <a:gd name="connsiteY92" fmla="*/ 3046 h 10000"/>
                <a:gd name="connsiteX93" fmla="*/ 9327 w 10000"/>
                <a:gd name="connsiteY93" fmla="*/ 2903 h 10000"/>
                <a:gd name="connsiteX94" fmla="*/ 9844 w 10000"/>
                <a:gd name="connsiteY94" fmla="*/ 2808 h 10000"/>
                <a:gd name="connsiteX95" fmla="*/ 10000 w 10000"/>
                <a:gd name="connsiteY95" fmla="*/ 2571 h 10000"/>
                <a:gd name="connsiteX96" fmla="*/ 9644 w 10000"/>
                <a:gd name="connsiteY96" fmla="*/ 2429 h 10000"/>
                <a:gd name="connsiteX97" fmla="*/ 9516 w 10000"/>
                <a:gd name="connsiteY97" fmla="*/ 2239 h 10000"/>
                <a:gd name="connsiteX98" fmla="*/ 9158 w 10000"/>
                <a:gd name="connsiteY98" fmla="*/ 2163 h 10000"/>
                <a:gd name="connsiteX99" fmla="*/ 9088 w 10000"/>
                <a:gd name="connsiteY99" fmla="*/ 1670 h 10000"/>
                <a:gd name="connsiteX100" fmla="*/ 8986 w 10000"/>
                <a:gd name="connsiteY100" fmla="*/ 1651 h 10000"/>
                <a:gd name="connsiteX101" fmla="*/ 8957 w 10000"/>
                <a:gd name="connsiteY101" fmla="*/ 1205 h 10000"/>
                <a:gd name="connsiteX102" fmla="*/ 8885 w 10000"/>
                <a:gd name="connsiteY102" fmla="*/ 1053 h 10000"/>
                <a:gd name="connsiteX103" fmla="*/ 9058 w 10000"/>
                <a:gd name="connsiteY103" fmla="*/ 1025 h 10000"/>
                <a:gd name="connsiteX104" fmla="*/ 8785 w 10000"/>
                <a:gd name="connsiteY104" fmla="*/ 797 h 10000"/>
                <a:gd name="connsiteX105" fmla="*/ 8743 w 10000"/>
                <a:gd name="connsiteY105" fmla="*/ 503 h 10000"/>
                <a:gd name="connsiteX106" fmla="*/ 8472 w 10000"/>
                <a:gd name="connsiteY106" fmla="*/ 370 h 10000"/>
                <a:gd name="connsiteX107" fmla="*/ 8286 w 10000"/>
                <a:gd name="connsiteY107" fmla="*/ 218 h 10000"/>
                <a:gd name="connsiteX108" fmla="*/ 8129 w 10000"/>
                <a:gd name="connsiteY108" fmla="*/ 209 h 10000"/>
                <a:gd name="connsiteX109" fmla="*/ 7902 w 10000"/>
                <a:gd name="connsiteY109" fmla="*/ 0 h 10000"/>
                <a:gd name="connsiteX0" fmla="*/ 8129 w 10000"/>
                <a:gd name="connsiteY0" fmla="*/ 266 h 10057"/>
                <a:gd name="connsiteX1" fmla="*/ 7287 w 10000"/>
                <a:gd name="connsiteY1" fmla="*/ 465 h 10057"/>
                <a:gd name="connsiteX2" fmla="*/ 4796 w 10000"/>
                <a:gd name="connsiteY2" fmla="*/ 5868 h 10057"/>
                <a:gd name="connsiteX3" fmla="*/ 1754 w 10000"/>
                <a:gd name="connsiteY3" fmla="*/ 5856 h 10057"/>
                <a:gd name="connsiteX4" fmla="*/ 769 w 10000"/>
                <a:gd name="connsiteY4" fmla="*/ 6645 h 10057"/>
                <a:gd name="connsiteX5" fmla="*/ 175 w 10000"/>
                <a:gd name="connsiteY5" fmla="*/ 6831 h 10057"/>
                <a:gd name="connsiteX6" fmla="*/ 2 w 10000"/>
                <a:gd name="connsiteY6" fmla="*/ 7201 h 10057"/>
                <a:gd name="connsiteX7" fmla="*/ 117 w 10000"/>
                <a:gd name="connsiteY7" fmla="*/ 7268 h 10057"/>
                <a:gd name="connsiteX8" fmla="*/ 32 w 10000"/>
                <a:gd name="connsiteY8" fmla="*/ 7372 h 10057"/>
                <a:gd name="connsiteX9" fmla="*/ 518 w 10000"/>
                <a:gd name="connsiteY9" fmla="*/ 7400 h 10057"/>
                <a:gd name="connsiteX10" fmla="*/ 518 w 10000"/>
                <a:gd name="connsiteY10" fmla="*/ 7467 h 10057"/>
                <a:gd name="connsiteX11" fmla="*/ 502 w 10000"/>
                <a:gd name="connsiteY11" fmla="*/ 7619 h 10057"/>
                <a:gd name="connsiteX12" fmla="*/ 1016 w 10000"/>
                <a:gd name="connsiteY12" fmla="*/ 7676 h 10057"/>
                <a:gd name="connsiteX13" fmla="*/ 1016 w 10000"/>
                <a:gd name="connsiteY13" fmla="*/ 7799 h 10057"/>
                <a:gd name="connsiteX14" fmla="*/ 1288 w 10000"/>
                <a:gd name="connsiteY14" fmla="*/ 7894 h 10057"/>
                <a:gd name="connsiteX15" fmla="*/ 1203 w 10000"/>
                <a:gd name="connsiteY15" fmla="*/ 8036 h 10057"/>
                <a:gd name="connsiteX16" fmla="*/ 1586 w 10000"/>
                <a:gd name="connsiteY16" fmla="*/ 8159 h 10057"/>
                <a:gd name="connsiteX17" fmla="*/ 1817 w 10000"/>
                <a:gd name="connsiteY17" fmla="*/ 8387 h 10057"/>
                <a:gd name="connsiteX18" fmla="*/ 2030 w 10000"/>
                <a:gd name="connsiteY18" fmla="*/ 8473 h 10057"/>
                <a:gd name="connsiteX19" fmla="*/ 1945 w 10000"/>
                <a:gd name="connsiteY19" fmla="*/ 8548 h 10057"/>
                <a:gd name="connsiteX20" fmla="*/ 2059 w 10000"/>
                <a:gd name="connsiteY20" fmla="*/ 8634 h 10057"/>
                <a:gd name="connsiteX21" fmla="*/ 2043 w 10000"/>
                <a:gd name="connsiteY21" fmla="*/ 8757 h 10057"/>
                <a:gd name="connsiteX22" fmla="*/ 2261 w 10000"/>
                <a:gd name="connsiteY22" fmla="*/ 8767 h 10057"/>
                <a:gd name="connsiteX23" fmla="*/ 2502 w 10000"/>
                <a:gd name="connsiteY23" fmla="*/ 8900 h 10057"/>
                <a:gd name="connsiteX24" fmla="*/ 2561 w 10000"/>
                <a:gd name="connsiteY24" fmla="*/ 9108 h 10057"/>
                <a:gd name="connsiteX25" fmla="*/ 2615 w 10000"/>
                <a:gd name="connsiteY25" fmla="*/ 9184 h 10057"/>
                <a:gd name="connsiteX26" fmla="*/ 2917 w 10000"/>
                <a:gd name="connsiteY26" fmla="*/ 9364 h 10057"/>
                <a:gd name="connsiteX27" fmla="*/ 2917 w 10000"/>
                <a:gd name="connsiteY27" fmla="*/ 9497 h 10057"/>
                <a:gd name="connsiteX28" fmla="*/ 3360 w 10000"/>
                <a:gd name="connsiteY28" fmla="*/ 9640 h 10057"/>
                <a:gd name="connsiteX29" fmla="*/ 3602 w 10000"/>
                <a:gd name="connsiteY29" fmla="*/ 9488 h 10057"/>
                <a:gd name="connsiteX30" fmla="*/ 3903 w 10000"/>
                <a:gd name="connsiteY30" fmla="*/ 9602 h 10057"/>
                <a:gd name="connsiteX31" fmla="*/ 4142 w 10000"/>
                <a:gd name="connsiteY31" fmla="*/ 9431 h 10057"/>
                <a:gd name="connsiteX32" fmla="*/ 4415 w 10000"/>
                <a:gd name="connsiteY32" fmla="*/ 9706 h 10057"/>
                <a:gd name="connsiteX33" fmla="*/ 4801 w 10000"/>
                <a:gd name="connsiteY33" fmla="*/ 9858 h 10057"/>
                <a:gd name="connsiteX34" fmla="*/ 4843 w 10000"/>
                <a:gd name="connsiteY34" fmla="*/ 9991 h 10057"/>
                <a:gd name="connsiteX35" fmla="*/ 5002 w 10000"/>
                <a:gd name="connsiteY35" fmla="*/ 10010 h 10057"/>
                <a:gd name="connsiteX36" fmla="*/ 5228 w 10000"/>
                <a:gd name="connsiteY36" fmla="*/ 9886 h 10057"/>
                <a:gd name="connsiteX37" fmla="*/ 5517 w 10000"/>
                <a:gd name="connsiteY37" fmla="*/ 9962 h 10057"/>
                <a:gd name="connsiteX38" fmla="*/ 5615 w 10000"/>
                <a:gd name="connsiteY38" fmla="*/ 9896 h 10057"/>
                <a:gd name="connsiteX39" fmla="*/ 5716 w 10000"/>
                <a:gd name="connsiteY39" fmla="*/ 9886 h 10057"/>
                <a:gd name="connsiteX40" fmla="*/ 5914 w 10000"/>
                <a:gd name="connsiteY40" fmla="*/ 10057 h 10057"/>
                <a:gd name="connsiteX41" fmla="*/ 6101 w 10000"/>
                <a:gd name="connsiteY41" fmla="*/ 9915 h 10057"/>
                <a:gd name="connsiteX42" fmla="*/ 6329 w 10000"/>
                <a:gd name="connsiteY42" fmla="*/ 9924 h 10057"/>
                <a:gd name="connsiteX43" fmla="*/ 6500 w 10000"/>
                <a:gd name="connsiteY43" fmla="*/ 9848 h 10057"/>
                <a:gd name="connsiteX44" fmla="*/ 6744 w 10000"/>
                <a:gd name="connsiteY44" fmla="*/ 9924 h 10057"/>
                <a:gd name="connsiteX45" fmla="*/ 7058 w 10000"/>
                <a:gd name="connsiteY45" fmla="*/ 9687 h 10057"/>
                <a:gd name="connsiteX46" fmla="*/ 7171 w 10000"/>
                <a:gd name="connsiteY46" fmla="*/ 9687 h 10057"/>
                <a:gd name="connsiteX47" fmla="*/ 7372 w 10000"/>
                <a:gd name="connsiteY47" fmla="*/ 9497 h 10057"/>
                <a:gd name="connsiteX48" fmla="*/ 8228 w 10000"/>
                <a:gd name="connsiteY48" fmla="*/ 9488 h 10057"/>
                <a:gd name="connsiteX49" fmla="*/ 8415 w 10000"/>
                <a:gd name="connsiteY49" fmla="*/ 9412 h 10057"/>
                <a:gd name="connsiteX50" fmla="*/ 8401 w 10000"/>
                <a:gd name="connsiteY50" fmla="*/ 9317 h 10057"/>
                <a:gd name="connsiteX51" fmla="*/ 8343 w 10000"/>
                <a:gd name="connsiteY51" fmla="*/ 9108 h 10057"/>
                <a:gd name="connsiteX52" fmla="*/ 7986 w 10000"/>
                <a:gd name="connsiteY52" fmla="*/ 9042 h 10057"/>
                <a:gd name="connsiteX53" fmla="*/ 7815 w 10000"/>
                <a:gd name="connsiteY53" fmla="*/ 8710 h 10057"/>
                <a:gd name="connsiteX54" fmla="*/ 7715 w 10000"/>
                <a:gd name="connsiteY54" fmla="*/ 8672 h 10057"/>
                <a:gd name="connsiteX55" fmla="*/ 7688 w 10000"/>
                <a:gd name="connsiteY55" fmla="*/ 8435 h 10057"/>
                <a:gd name="connsiteX56" fmla="*/ 7559 w 10000"/>
                <a:gd name="connsiteY56" fmla="*/ 8425 h 10057"/>
                <a:gd name="connsiteX57" fmla="*/ 7514 w 10000"/>
                <a:gd name="connsiteY57" fmla="*/ 8302 h 10057"/>
                <a:gd name="connsiteX58" fmla="*/ 7300 w 10000"/>
                <a:gd name="connsiteY58" fmla="*/ 8273 h 10057"/>
                <a:gd name="connsiteX59" fmla="*/ 7228 w 10000"/>
                <a:gd name="connsiteY59" fmla="*/ 8084 h 10057"/>
                <a:gd name="connsiteX60" fmla="*/ 6873 w 10000"/>
                <a:gd name="connsiteY60" fmla="*/ 7903 h 10057"/>
                <a:gd name="connsiteX61" fmla="*/ 6485 w 10000"/>
                <a:gd name="connsiteY61" fmla="*/ 7875 h 10057"/>
                <a:gd name="connsiteX62" fmla="*/ 6588 w 10000"/>
                <a:gd name="connsiteY62" fmla="*/ 7666 h 10057"/>
                <a:gd name="connsiteX63" fmla="*/ 6560 w 10000"/>
                <a:gd name="connsiteY63" fmla="*/ 7514 h 10057"/>
                <a:gd name="connsiteX64" fmla="*/ 6887 w 10000"/>
                <a:gd name="connsiteY64" fmla="*/ 7524 h 10057"/>
                <a:gd name="connsiteX65" fmla="*/ 6957 w 10000"/>
                <a:gd name="connsiteY65" fmla="*/ 7571 h 10057"/>
                <a:gd name="connsiteX66" fmla="*/ 7158 w 10000"/>
                <a:gd name="connsiteY66" fmla="*/ 7476 h 10057"/>
                <a:gd name="connsiteX67" fmla="*/ 7214 w 10000"/>
                <a:gd name="connsiteY67" fmla="*/ 7135 h 10057"/>
                <a:gd name="connsiteX68" fmla="*/ 7131 w 10000"/>
                <a:gd name="connsiteY68" fmla="*/ 6879 h 10057"/>
                <a:gd name="connsiteX69" fmla="*/ 7372 w 10000"/>
                <a:gd name="connsiteY69" fmla="*/ 6670 h 10057"/>
                <a:gd name="connsiteX70" fmla="*/ 7300 w 10000"/>
                <a:gd name="connsiteY70" fmla="*/ 6471 h 10057"/>
                <a:gd name="connsiteX71" fmla="*/ 7459 w 10000"/>
                <a:gd name="connsiteY71" fmla="*/ 6281 h 10057"/>
                <a:gd name="connsiteX72" fmla="*/ 7559 w 10000"/>
                <a:gd name="connsiteY72" fmla="*/ 6385 h 10057"/>
                <a:gd name="connsiteX73" fmla="*/ 7728 w 10000"/>
                <a:gd name="connsiteY73" fmla="*/ 6338 h 10057"/>
                <a:gd name="connsiteX74" fmla="*/ 7715 w 10000"/>
                <a:gd name="connsiteY74" fmla="*/ 6044 h 10057"/>
                <a:gd name="connsiteX75" fmla="*/ 7815 w 10000"/>
                <a:gd name="connsiteY75" fmla="*/ 5939 h 10057"/>
                <a:gd name="connsiteX76" fmla="*/ 7787 w 10000"/>
                <a:gd name="connsiteY76" fmla="*/ 5797 h 10057"/>
                <a:gd name="connsiteX77" fmla="*/ 8015 w 10000"/>
                <a:gd name="connsiteY77" fmla="*/ 5712 h 10057"/>
                <a:gd name="connsiteX78" fmla="*/ 8029 w 10000"/>
                <a:gd name="connsiteY78" fmla="*/ 5522 h 10057"/>
                <a:gd name="connsiteX79" fmla="*/ 8201 w 10000"/>
                <a:gd name="connsiteY79" fmla="*/ 5342 h 10057"/>
                <a:gd name="connsiteX80" fmla="*/ 8512 w 10000"/>
                <a:gd name="connsiteY80" fmla="*/ 5323 h 10057"/>
                <a:gd name="connsiteX81" fmla="*/ 8486 w 10000"/>
                <a:gd name="connsiteY81" fmla="*/ 5076 h 10057"/>
                <a:gd name="connsiteX82" fmla="*/ 8716 w 10000"/>
                <a:gd name="connsiteY82" fmla="*/ 4810 h 10057"/>
                <a:gd name="connsiteX83" fmla="*/ 8716 w 10000"/>
                <a:gd name="connsiteY83" fmla="*/ 4526 h 10057"/>
                <a:gd name="connsiteX84" fmla="*/ 8686 w 10000"/>
                <a:gd name="connsiteY84" fmla="*/ 4213 h 10057"/>
                <a:gd name="connsiteX85" fmla="*/ 8617 w 10000"/>
                <a:gd name="connsiteY85" fmla="*/ 4118 h 10057"/>
                <a:gd name="connsiteX86" fmla="*/ 8785 w 10000"/>
                <a:gd name="connsiteY86" fmla="*/ 3985 h 10057"/>
                <a:gd name="connsiteX87" fmla="*/ 8799 w 10000"/>
                <a:gd name="connsiteY87" fmla="*/ 3824 h 10057"/>
                <a:gd name="connsiteX88" fmla="*/ 8973 w 10000"/>
                <a:gd name="connsiteY88" fmla="*/ 3634 h 10057"/>
                <a:gd name="connsiteX89" fmla="*/ 8885 w 10000"/>
                <a:gd name="connsiteY89" fmla="*/ 3340 h 10057"/>
                <a:gd name="connsiteX90" fmla="*/ 9044 w 10000"/>
                <a:gd name="connsiteY90" fmla="*/ 3264 h 10057"/>
                <a:gd name="connsiteX91" fmla="*/ 9044 w 10000"/>
                <a:gd name="connsiteY91" fmla="*/ 3169 h 10057"/>
                <a:gd name="connsiteX92" fmla="*/ 9312 w 10000"/>
                <a:gd name="connsiteY92" fmla="*/ 3103 h 10057"/>
                <a:gd name="connsiteX93" fmla="*/ 9327 w 10000"/>
                <a:gd name="connsiteY93" fmla="*/ 2960 h 10057"/>
                <a:gd name="connsiteX94" fmla="*/ 9844 w 10000"/>
                <a:gd name="connsiteY94" fmla="*/ 2865 h 10057"/>
                <a:gd name="connsiteX95" fmla="*/ 10000 w 10000"/>
                <a:gd name="connsiteY95" fmla="*/ 2628 h 10057"/>
                <a:gd name="connsiteX96" fmla="*/ 9644 w 10000"/>
                <a:gd name="connsiteY96" fmla="*/ 2486 h 10057"/>
                <a:gd name="connsiteX97" fmla="*/ 9516 w 10000"/>
                <a:gd name="connsiteY97" fmla="*/ 2296 h 10057"/>
                <a:gd name="connsiteX98" fmla="*/ 9158 w 10000"/>
                <a:gd name="connsiteY98" fmla="*/ 2220 h 10057"/>
                <a:gd name="connsiteX99" fmla="*/ 9088 w 10000"/>
                <a:gd name="connsiteY99" fmla="*/ 1727 h 10057"/>
                <a:gd name="connsiteX100" fmla="*/ 8986 w 10000"/>
                <a:gd name="connsiteY100" fmla="*/ 1708 h 10057"/>
                <a:gd name="connsiteX101" fmla="*/ 8957 w 10000"/>
                <a:gd name="connsiteY101" fmla="*/ 1262 h 10057"/>
                <a:gd name="connsiteX102" fmla="*/ 8885 w 10000"/>
                <a:gd name="connsiteY102" fmla="*/ 1110 h 10057"/>
                <a:gd name="connsiteX103" fmla="*/ 9058 w 10000"/>
                <a:gd name="connsiteY103" fmla="*/ 1082 h 10057"/>
                <a:gd name="connsiteX104" fmla="*/ 8785 w 10000"/>
                <a:gd name="connsiteY104" fmla="*/ 854 h 10057"/>
                <a:gd name="connsiteX105" fmla="*/ 8743 w 10000"/>
                <a:gd name="connsiteY105" fmla="*/ 560 h 10057"/>
                <a:gd name="connsiteX106" fmla="*/ 8472 w 10000"/>
                <a:gd name="connsiteY106" fmla="*/ 427 h 10057"/>
                <a:gd name="connsiteX107" fmla="*/ 8286 w 10000"/>
                <a:gd name="connsiteY107" fmla="*/ 275 h 10057"/>
                <a:gd name="connsiteX108" fmla="*/ 8129 w 10000"/>
                <a:gd name="connsiteY108" fmla="*/ 266 h 10057"/>
                <a:gd name="connsiteX0" fmla="*/ 8286 w 10000"/>
                <a:gd name="connsiteY0" fmla="*/ 278 h 10060"/>
                <a:gd name="connsiteX1" fmla="*/ 7287 w 10000"/>
                <a:gd name="connsiteY1" fmla="*/ 468 h 10060"/>
                <a:gd name="connsiteX2" fmla="*/ 4796 w 10000"/>
                <a:gd name="connsiteY2" fmla="*/ 5871 h 10060"/>
                <a:gd name="connsiteX3" fmla="*/ 1754 w 10000"/>
                <a:gd name="connsiteY3" fmla="*/ 5859 h 10060"/>
                <a:gd name="connsiteX4" fmla="*/ 769 w 10000"/>
                <a:gd name="connsiteY4" fmla="*/ 6648 h 10060"/>
                <a:gd name="connsiteX5" fmla="*/ 175 w 10000"/>
                <a:gd name="connsiteY5" fmla="*/ 6834 h 10060"/>
                <a:gd name="connsiteX6" fmla="*/ 2 w 10000"/>
                <a:gd name="connsiteY6" fmla="*/ 7204 h 10060"/>
                <a:gd name="connsiteX7" fmla="*/ 117 w 10000"/>
                <a:gd name="connsiteY7" fmla="*/ 7271 h 10060"/>
                <a:gd name="connsiteX8" fmla="*/ 32 w 10000"/>
                <a:gd name="connsiteY8" fmla="*/ 7375 h 10060"/>
                <a:gd name="connsiteX9" fmla="*/ 518 w 10000"/>
                <a:gd name="connsiteY9" fmla="*/ 7403 h 10060"/>
                <a:gd name="connsiteX10" fmla="*/ 518 w 10000"/>
                <a:gd name="connsiteY10" fmla="*/ 7470 h 10060"/>
                <a:gd name="connsiteX11" fmla="*/ 502 w 10000"/>
                <a:gd name="connsiteY11" fmla="*/ 7622 h 10060"/>
                <a:gd name="connsiteX12" fmla="*/ 1016 w 10000"/>
                <a:gd name="connsiteY12" fmla="*/ 7679 h 10060"/>
                <a:gd name="connsiteX13" fmla="*/ 1016 w 10000"/>
                <a:gd name="connsiteY13" fmla="*/ 7802 h 10060"/>
                <a:gd name="connsiteX14" fmla="*/ 1288 w 10000"/>
                <a:gd name="connsiteY14" fmla="*/ 7897 h 10060"/>
                <a:gd name="connsiteX15" fmla="*/ 1203 w 10000"/>
                <a:gd name="connsiteY15" fmla="*/ 8039 h 10060"/>
                <a:gd name="connsiteX16" fmla="*/ 1586 w 10000"/>
                <a:gd name="connsiteY16" fmla="*/ 8162 h 10060"/>
                <a:gd name="connsiteX17" fmla="*/ 1817 w 10000"/>
                <a:gd name="connsiteY17" fmla="*/ 8390 h 10060"/>
                <a:gd name="connsiteX18" fmla="*/ 2030 w 10000"/>
                <a:gd name="connsiteY18" fmla="*/ 8476 h 10060"/>
                <a:gd name="connsiteX19" fmla="*/ 1945 w 10000"/>
                <a:gd name="connsiteY19" fmla="*/ 8551 h 10060"/>
                <a:gd name="connsiteX20" fmla="*/ 2059 w 10000"/>
                <a:gd name="connsiteY20" fmla="*/ 8637 h 10060"/>
                <a:gd name="connsiteX21" fmla="*/ 2043 w 10000"/>
                <a:gd name="connsiteY21" fmla="*/ 8760 h 10060"/>
                <a:gd name="connsiteX22" fmla="*/ 2261 w 10000"/>
                <a:gd name="connsiteY22" fmla="*/ 8770 h 10060"/>
                <a:gd name="connsiteX23" fmla="*/ 2502 w 10000"/>
                <a:gd name="connsiteY23" fmla="*/ 8903 h 10060"/>
                <a:gd name="connsiteX24" fmla="*/ 2561 w 10000"/>
                <a:gd name="connsiteY24" fmla="*/ 9111 h 10060"/>
                <a:gd name="connsiteX25" fmla="*/ 2615 w 10000"/>
                <a:gd name="connsiteY25" fmla="*/ 9187 h 10060"/>
                <a:gd name="connsiteX26" fmla="*/ 2917 w 10000"/>
                <a:gd name="connsiteY26" fmla="*/ 9367 h 10060"/>
                <a:gd name="connsiteX27" fmla="*/ 2917 w 10000"/>
                <a:gd name="connsiteY27" fmla="*/ 9500 h 10060"/>
                <a:gd name="connsiteX28" fmla="*/ 3360 w 10000"/>
                <a:gd name="connsiteY28" fmla="*/ 9643 h 10060"/>
                <a:gd name="connsiteX29" fmla="*/ 3602 w 10000"/>
                <a:gd name="connsiteY29" fmla="*/ 9491 h 10060"/>
                <a:gd name="connsiteX30" fmla="*/ 3903 w 10000"/>
                <a:gd name="connsiteY30" fmla="*/ 9605 h 10060"/>
                <a:gd name="connsiteX31" fmla="*/ 4142 w 10000"/>
                <a:gd name="connsiteY31" fmla="*/ 9434 h 10060"/>
                <a:gd name="connsiteX32" fmla="*/ 4415 w 10000"/>
                <a:gd name="connsiteY32" fmla="*/ 9709 h 10060"/>
                <a:gd name="connsiteX33" fmla="*/ 4801 w 10000"/>
                <a:gd name="connsiteY33" fmla="*/ 9861 h 10060"/>
                <a:gd name="connsiteX34" fmla="*/ 4843 w 10000"/>
                <a:gd name="connsiteY34" fmla="*/ 9994 h 10060"/>
                <a:gd name="connsiteX35" fmla="*/ 5002 w 10000"/>
                <a:gd name="connsiteY35" fmla="*/ 10013 h 10060"/>
                <a:gd name="connsiteX36" fmla="*/ 5228 w 10000"/>
                <a:gd name="connsiteY36" fmla="*/ 9889 h 10060"/>
                <a:gd name="connsiteX37" fmla="*/ 5517 w 10000"/>
                <a:gd name="connsiteY37" fmla="*/ 9965 h 10060"/>
                <a:gd name="connsiteX38" fmla="*/ 5615 w 10000"/>
                <a:gd name="connsiteY38" fmla="*/ 9899 h 10060"/>
                <a:gd name="connsiteX39" fmla="*/ 5716 w 10000"/>
                <a:gd name="connsiteY39" fmla="*/ 9889 h 10060"/>
                <a:gd name="connsiteX40" fmla="*/ 5914 w 10000"/>
                <a:gd name="connsiteY40" fmla="*/ 10060 h 10060"/>
                <a:gd name="connsiteX41" fmla="*/ 6101 w 10000"/>
                <a:gd name="connsiteY41" fmla="*/ 9918 h 10060"/>
                <a:gd name="connsiteX42" fmla="*/ 6329 w 10000"/>
                <a:gd name="connsiteY42" fmla="*/ 9927 h 10060"/>
                <a:gd name="connsiteX43" fmla="*/ 6500 w 10000"/>
                <a:gd name="connsiteY43" fmla="*/ 9851 h 10060"/>
                <a:gd name="connsiteX44" fmla="*/ 6744 w 10000"/>
                <a:gd name="connsiteY44" fmla="*/ 9927 h 10060"/>
                <a:gd name="connsiteX45" fmla="*/ 7058 w 10000"/>
                <a:gd name="connsiteY45" fmla="*/ 9690 h 10060"/>
                <a:gd name="connsiteX46" fmla="*/ 7171 w 10000"/>
                <a:gd name="connsiteY46" fmla="*/ 9690 h 10060"/>
                <a:gd name="connsiteX47" fmla="*/ 7372 w 10000"/>
                <a:gd name="connsiteY47" fmla="*/ 9500 h 10060"/>
                <a:gd name="connsiteX48" fmla="*/ 8228 w 10000"/>
                <a:gd name="connsiteY48" fmla="*/ 9491 h 10060"/>
                <a:gd name="connsiteX49" fmla="*/ 8415 w 10000"/>
                <a:gd name="connsiteY49" fmla="*/ 9415 h 10060"/>
                <a:gd name="connsiteX50" fmla="*/ 8401 w 10000"/>
                <a:gd name="connsiteY50" fmla="*/ 9320 h 10060"/>
                <a:gd name="connsiteX51" fmla="*/ 8343 w 10000"/>
                <a:gd name="connsiteY51" fmla="*/ 9111 h 10060"/>
                <a:gd name="connsiteX52" fmla="*/ 7986 w 10000"/>
                <a:gd name="connsiteY52" fmla="*/ 9045 h 10060"/>
                <a:gd name="connsiteX53" fmla="*/ 7815 w 10000"/>
                <a:gd name="connsiteY53" fmla="*/ 8713 h 10060"/>
                <a:gd name="connsiteX54" fmla="*/ 7715 w 10000"/>
                <a:gd name="connsiteY54" fmla="*/ 8675 h 10060"/>
                <a:gd name="connsiteX55" fmla="*/ 7688 w 10000"/>
                <a:gd name="connsiteY55" fmla="*/ 8438 h 10060"/>
                <a:gd name="connsiteX56" fmla="*/ 7559 w 10000"/>
                <a:gd name="connsiteY56" fmla="*/ 8428 h 10060"/>
                <a:gd name="connsiteX57" fmla="*/ 7514 w 10000"/>
                <a:gd name="connsiteY57" fmla="*/ 8305 h 10060"/>
                <a:gd name="connsiteX58" fmla="*/ 7300 w 10000"/>
                <a:gd name="connsiteY58" fmla="*/ 8276 h 10060"/>
                <a:gd name="connsiteX59" fmla="*/ 7228 w 10000"/>
                <a:gd name="connsiteY59" fmla="*/ 8087 h 10060"/>
                <a:gd name="connsiteX60" fmla="*/ 6873 w 10000"/>
                <a:gd name="connsiteY60" fmla="*/ 7906 h 10060"/>
                <a:gd name="connsiteX61" fmla="*/ 6485 w 10000"/>
                <a:gd name="connsiteY61" fmla="*/ 7878 h 10060"/>
                <a:gd name="connsiteX62" fmla="*/ 6588 w 10000"/>
                <a:gd name="connsiteY62" fmla="*/ 7669 h 10060"/>
                <a:gd name="connsiteX63" fmla="*/ 6560 w 10000"/>
                <a:gd name="connsiteY63" fmla="*/ 7517 h 10060"/>
                <a:gd name="connsiteX64" fmla="*/ 6887 w 10000"/>
                <a:gd name="connsiteY64" fmla="*/ 7527 h 10060"/>
                <a:gd name="connsiteX65" fmla="*/ 6957 w 10000"/>
                <a:gd name="connsiteY65" fmla="*/ 7574 h 10060"/>
                <a:gd name="connsiteX66" fmla="*/ 7158 w 10000"/>
                <a:gd name="connsiteY66" fmla="*/ 7479 h 10060"/>
                <a:gd name="connsiteX67" fmla="*/ 7214 w 10000"/>
                <a:gd name="connsiteY67" fmla="*/ 7138 h 10060"/>
                <a:gd name="connsiteX68" fmla="*/ 7131 w 10000"/>
                <a:gd name="connsiteY68" fmla="*/ 6882 h 10060"/>
                <a:gd name="connsiteX69" fmla="*/ 7372 w 10000"/>
                <a:gd name="connsiteY69" fmla="*/ 6673 h 10060"/>
                <a:gd name="connsiteX70" fmla="*/ 7300 w 10000"/>
                <a:gd name="connsiteY70" fmla="*/ 6474 h 10060"/>
                <a:gd name="connsiteX71" fmla="*/ 7459 w 10000"/>
                <a:gd name="connsiteY71" fmla="*/ 6284 h 10060"/>
                <a:gd name="connsiteX72" fmla="*/ 7559 w 10000"/>
                <a:gd name="connsiteY72" fmla="*/ 6388 h 10060"/>
                <a:gd name="connsiteX73" fmla="*/ 7728 w 10000"/>
                <a:gd name="connsiteY73" fmla="*/ 6341 h 10060"/>
                <a:gd name="connsiteX74" fmla="*/ 7715 w 10000"/>
                <a:gd name="connsiteY74" fmla="*/ 6047 h 10060"/>
                <a:gd name="connsiteX75" fmla="*/ 7815 w 10000"/>
                <a:gd name="connsiteY75" fmla="*/ 5942 h 10060"/>
                <a:gd name="connsiteX76" fmla="*/ 7787 w 10000"/>
                <a:gd name="connsiteY76" fmla="*/ 5800 h 10060"/>
                <a:gd name="connsiteX77" fmla="*/ 8015 w 10000"/>
                <a:gd name="connsiteY77" fmla="*/ 5715 h 10060"/>
                <a:gd name="connsiteX78" fmla="*/ 8029 w 10000"/>
                <a:gd name="connsiteY78" fmla="*/ 5525 h 10060"/>
                <a:gd name="connsiteX79" fmla="*/ 8201 w 10000"/>
                <a:gd name="connsiteY79" fmla="*/ 5345 h 10060"/>
                <a:gd name="connsiteX80" fmla="*/ 8512 w 10000"/>
                <a:gd name="connsiteY80" fmla="*/ 5326 h 10060"/>
                <a:gd name="connsiteX81" fmla="*/ 8486 w 10000"/>
                <a:gd name="connsiteY81" fmla="*/ 5079 h 10060"/>
                <a:gd name="connsiteX82" fmla="*/ 8716 w 10000"/>
                <a:gd name="connsiteY82" fmla="*/ 4813 h 10060"/>
                <a:gd name="connsiteX83" fmla="*/ 8716 w 10000"/>
                <a:gd name="connsiteY83" fmla="*/ 4529 h 10060"/>
                <a:gd name="connsiteX84" fmla="*/ 8686 w 10000"/>
                <a:gd name="connsiteY84" fmla="*/ 4216 h 10060"/>
                <a:gd name="connsiteX85" fmla="*/ 8617 w 10000"/>
                <a:gd name="connsiteY85" fmla="*/ 4121 h 10060"/>
                <a:gd name="connsiteX86" fmla="*/ 8785 w 10000"/>
                <a:gd name="connsiteY86" fmla="*/ 3988 h 10060"/>
                <a:gd name="connsiteX87" fmla="*/ 8799 w 10000"/>
                <a:gd name="connsiteY87" fmla="*/ 3827 h 10060"/>
                <a:gd name="connsiteX88" fmla="*/ 8973 w 10000"/>
                <a:gd name="connsiteY88" fmla="*/ 3637 h 10060"/>
                <a:gd name="connsiteX89" fmla="*/ 8885 w 10000"/>
                <a:gd name="connsiteY89" fmla="*/ 3343 h 10060"/>
                <a:gd name="connsiteX90" fmla="*/ 9044 w 10000"/>
                <a:gd name="connsiteY90" fmla="*/ 3267 h 10060"/>
                <a:gd name="connsiteX91" fmla="*/ 9044 w 10000"/>
                <a:gd name="connsiteY91" fmla="*/ 3172 h 10060"/>
                <a:gd name="connsiteX92" fmla="*/ 9312 w 10000"/>
                <a:gd name="connsiteY92" fmla="*/ 3106 h 10060"/>
                <a:gd name="connsiteX93" fmla="*/ 9327 w 10000"/>
                <a:gd name="connsiteY93" fmla="*/ 2963 h 10060"/>
                <a:gd name="connsiteX94" fmla="*/ 9844 w 10000"/>
                <a:gd name="connsiteY94" fmla="*/ 2868 h 10060"/>
                <a:gd name="connsiteX95" fmla="*/ 10000 w 10000"/>
                <a:gd name="connsiteY95" fmla="*/ 2631 h 10060"/>
                <a:gd name="connsiteX96" fmla="*/ 9644 w 10000"/>
                <a:gd name="connsiteY96" fmla="*/ 2489 h 10060"/>
                <a:gd name="connsiteX97" fmla="*/ 9516 w 10000"/>
                <a:gd name="connsiteY97" fmla="*/ 2299 h 10060"/>
                <a:gd name="connsiteX98" fmla="*/ 9158 w 10000"/>
                <a:gd name="connsiteY98" fmla="*/ 2223 h 10060"/>
                <a:gd name="connsiteX99" fmla="*/ 9088 w 10000"/>
                <a:gd name="connsiteY99" fmla="*/ 1730 h 10060"/>
                <a:gd name="connsiteX100" fmla="*/ 8986 w 10000"/>
                <a:gd name="connsiteY100" fmla="*/ 1711 h 10060"/>
                <a:gd name="connsiteX101" fmla="*/ 8957 w 10000"/>
                <a:gd name="connsiteY101" fmla="*/ 1265 h 10060"/>
                <a:gd name="connsiteX102" fmla="*/ 8885 w 10000"/>
                <a:gd name="connsiteY102" fmla="*/ 1113 h 10060"/>
                <a:gd name="connsiteX103" fmla="*/ 9058 w 10000"/>
                <a:gd name="connsiteY103" fmla="*/ 1085 h 10060"/>
                <a:gd name="connsiteX104" fmla="*/ 8785 w 10000"/>
                <a:gd name="connsiteY104" fmla="*/ 857 h 10060"/>
                <a:gd name="connsiteX105" fmla="*/ 8743 w 10000"/>
                <a:gd name="connsiteY105" fmla="*/ 563 h 10060"/>
                <a:gd name="connsiteX106" fmla="*/ 8472 w 10000"/>
                <a:gd name="connsiteY106" fmla="*/ 430 h 10060"/>
                <a:gd name="connsiteX107" fmla="*/ 8286 w 10000"/>
                <a:gd name="connsiteY107" fmla="*/ 278 h 10060"/>
                <a:gd name="connsiteX0" fmla="*/ 8286 w 10000"/>
                <a:gd name="connsiteY0" fmla="*/ 1 h 9783"/>
                <a:gd name="connsiteX1" fmla="*/ 4796 w 10000"/>
                <a:gd name="connsiteY1" fmla="*/ 5594 h 9783"/>
                <a:gd name="connsiteX2" fmla="*/ 1754 w 10000"/>
                <a:gd name="connsiteY2" fmla="*/ 5582 h 9783"/>
                <a:gd name="connsiteX3" fmla="*/ 769 w 10000"/>
                <a:gd name="connsiteY3" fmla="*/ 6371 h 9783"/>
                <a:gd name="connsiteX4" fmla="*/ 175 w 10000"/>
                <a:gd name="connsiteY4" fmla="*/ 6557 h 9783"/>
                <a:gd name="connsiteX5" fmla="*/ 2 w 10000"/>
                <a:gd name="connsiteY5" fmla="*/ 6927 h 9783"/>
                <a:gd name="connsiteX6" fmla="*/ 117 w 10000"/>
                <a:gd name="connsiteY6" fmla="*/ 6994 h 9783"/>
                <a:gd name="connsiteX7" fmla="*/ 32 w 10000"/>
                <a:gd name="connsiteY7" fmla="*/ 7098 h 9783"/>
                <a:gd name="connsiteX8" fmla="*/ 518 w 10000"/>
                <a:gd name="connsiteY8" fmla="*/ 7126 h 9783"/>
                <a:gd name="connsiteX9" fmla="*/ 518 w 10000"/>
                <a:gd name="connsiteY9" fmla="*/ 7193 h 9783"/>
                <a:gd name="connsiteX10" fmla="*/ 502 w 10000"/>
                <a:gd name="connsiteY10" fmla="*/ 7345 h 9783"/>
                <a:gd name="connsiteX11" fmla="*/ 1016 w 10000"/>
                <a:gd name="connsiteY11" fmla="*/ 7402 h 9783"/>
                <a:gd name="connsiteX12" fmla="*/ 1016 w 10000"/>
                <a:gd name="connsiteY12" fmla="*/ 7525 h 9783"/>
                <a:gd name="connsiteX13" fmla="*/ 1288 w 10000"/>
                <a:gd name="connsiteY13" fmla="*/ 7620 h 9783"/>
                <a:gd name="connsiteX14" fmla="*/ 1203 w 10000"/>
                <a:gd name="connsiteY14" fmla="*/ 7762 h 9783"/>
                <a:gd name="connsiteX15" fmla="*/ 1586 w 10000"/>
                <a:gd name="connsiteY15" fmla="*/ 7885 h 9783"/>
                <a:gd name="connsiteX16" fmla="*/ 1817 w 10000"/>
                <a:gd name="connsiteY16" fmla="*/ 8113 h 9783"/>
                <a:gd name="connsiteX17" fmla="*/ 2030 w 10000"/>
                <a:gd name="connsiteY17" fmla="*/ 8199 h 9783"/>
                <a:gd name="connsiteX18" fmla="*/ 1945 w 10000"/>
                <a:gd name="connsiteY18" fmla="*/ 8274 h 9783"/>
                <a:gd name="connsiteX19" fmla="*/ 2059 w 10000"/>
                <a:gd name="connsiteY19" fmla="*/ 8360 h 9783"/>
                <a:gd name="connsiteX20" fmla="*/ 2043 w 10000"/>
                <a:gd name="connsiteY20" fmla="*/ 8483 h 9783"/>
                <a:gd name="connsiteX21" fmla="*/ 2261 w 10000"/>
                <a:gd name="connsiteY21" fmla="*/ 8493 h 9783"/>
                <a:gd name="connsiteX22" fmla="*/ 2502 w 10000"/>
                <a:gd name="connsiteY22" fmla="*/ 8626 h 9783"/>
                <a:gd name="connsiteX23" fmla="*/ 2561 w 10000"/>
                <a:gd name="connsiteY23" fmla="*/ 8834 h 9783"/>
                <a:gd name="connsiteX24" fmla="*/ 2615 w 10000"/>
                <a:gd name="connsiteY24" fmla="*/ 8910 h 9783"/>
                <a:gd name="connsiteX25" fmla="*/ 2917 w 10000"/>
                <a:gd name="connsiteY25" fmla="*/ 9090 h 9783"/>
                <a:gd name="connsiteX26" fmla="*/ 2917 w 10000"/>
                <a:gd name="connsiteY26" fmla="*/ 9223 h 9783"/>
                <a:gd name="connsiteX27" fmla="*/ 3360 w 10000"/>
                <a:gd name="connsiteY27" fmla="*/ 9366 h 9783"/>
                <a:gd name="connsiteX28" fmla="*/ 3602 w 10000"/>
                <a:gd name="connsiteY28" fmla="*/ 9214 h 9783"/>
                <a:gd name="connsiteX29" fmla="*/ 3903 w 10000"/>
                <a:gd name="connsiteY29" fmla="*/ 9328 h 9783"/>
                <a:gd name="connsiteX30" fmla="*/ 4142 w 10000"/>
                <a:gd name="connsiteY30" fmla="*/ 9157 h 9783"/>
                <a:gd name="connsiteX31" fmla="*/ 4415 w 10000"/>
                <a:gd name="connsiteY31" fmla="*/ 9432 h 9783"/>
                <a:gd name="connsiteX32" fmla="*/ 4801 w 10000"/>
                <a:gd name="connsiteY32" fmla="*/ 9584 h 9783"/>
                <a:gd name="connsiteX33" fmla="*/ 4843 w 10000"/>
                <a:gd name="connsiteY33" fmla="*/ 9717 h 9783"/>
                <a:gd name="connsiteX34" fmla="*/ 5002 w 10000"/>
                <a:gd name="connsiteY34" fmla="*/ 9736 h 9783"/>
                <a:gd name="connsiteX35" fmla="*/ 5228 w 10000"/>
                <a:gd name="connsiteY35" fmla="*/ 9612 h 9783"/>
                <a:gd name="connsiteX36" fmla="*/ 5517 w 10000"/>
                <a:gd name="connsiteY36" fmla="*/ 9688 h 9783"/>
                <a:gd name="connsiteX37" fmla="*/ 5615 w 10000"/>
                <a:gd name="connsiteY37" fmla="*/ 9622 h 9783"/>
                <a:gd name="connsiteX38" fmla="*/ 5716 w 10000"/>
                <a:gd name="connsiteY38" fmla="*/ 9612 h 9783"/>
                <a:gd name="connsiteX39" fmla="*/ 5914 w 10000"/>
                <a:gd name="connsiteY39" fmla="*/ 9783 h 9783"/>
                <a:gd name="connsiteX40" fmla="*/ 6101 w 10000"/>
                <a:gd name="connsiteY40" fmla="*/ 9641 h 9783"/>
                <a:gd name="connsiteX41" fmla="*/ 6329 w 10000"/>
                <a:gd name="connsiteY41" fmla="*/ 9650 h 9783"/>
                <a:gd name="connsiteX42" fmla="*/ 6500 w 10000"/>
                <a:gd name="connsiteY42" fmla="*/ 9574 h 9783"/>
                <a:gd name="connsiteX43" fmla="*/ 6744 w 10000"/>
                <a:gd name="connsiteY43" fmla="*/ 9650 h 9783"/>
                <a:gd name="connsiteX44" fmla="*/ 7058 w 10000"/>
                <a:gd name="connsiteY44" fmla="*/ 9413 h 9783"/>
                <a:gd name="connsiteX45" fmla="*/ 7171 w 10000"/>
                <a:gd name="connsiteY45" fmla="*/ 9413 h 9783"/>
                <a:gd name="connsiteX46" fmla="*/ 7372 w 10000"/>
                <a:gd name="connsiteY46" fmla="*/ 9223 h 9783"/>
                <a:gd name="connsiteX47" fmla="*/ 8228 w 10000"/>
                <a:gd name="connsiteY47" fmla="*/ 9214 h 9783"/>
                <a:gd name="connsiteX48" fmla="*/ 8415 w 10000"/>
                <a:gd name="connsiteY48" fmla="*/ 9138 h 9783"/>
                <a:gd name="connsiteX49" fmla="*/ 8401 w 10000"/>
                <a:gd name="connsiteY49" fmla="*/ 9043 h 9783"/>
                <a:gd name="connsiteX50" fmla="*/ 8343 w 10000"/>
                <a:gd name="connsiteY50" fmla="*/ 8834 h 9783"/>
                <a:gd name="connsiteX51" fmla="*/ 7986 w 10000"/>
                <a:gd name="connsiteY51" fmla="*/ 8768 h 9783"/>
                <a:gd name="connsiteX52" fmla="*/ 7815 w 10000"/>
                <a:gd name="connsiteY52" fmla="*/ 8436 h 9783"/>
                <a:gd name="connsiteX53" fmla="*/ 7715 w 10000"/>
                <a:gd name="connsiteY53" fmla="*/ 8398 h 9783"/>
                <a:gd name="connsiteX54" fmla="*/ 7688 w 10000"/>
                <a:gd name="connsiteY54" fmla="*/ 8161 h 9783"/>
                <a:gd name="connsiteX55" fmla="*/ 7559 w 10000"/>
                <a:gd name="connsiteY55" fmla="*/ 8151 h 9783"/>
                <a:gd name="connsiteX56" fmla="*/ 7514 w 10000"/>
                <a:gd name="connsiteY56" fmla="*/ 8028 h 9783"/>
                <a:gd name="connsiteX57" fmla="*/ 7300 w 10000"/>
                <a:gd name="connsiteY57" fmla="*/ 7999 h 9783"/>
                <a:gd name="connsiteX58" fmla="*/ 7228 w 10000"/>
                <a:gd name="connsiteY58" fmla="*/ 7810 h 9783"/>
                <a:gd name="connsiteX59" fmla="*/ 6873 w 10000"/>
                <a:gd name="connsiteY59" fmla="*/ 7629 h 9783"/>
                <a:gd name="connsiteX60" fmla="*/ 6485 w 10000"/>
                <a:gd name="connsiteY60" fmla="*/ 7601 h 9783"/>
                <a:gd name="connsiteX61" fmla="*/ 6588 w 10000"/>
                <a:gd name="connsiteY61" fmla="*/ 7392 h 9783"/>
                <a:gd name="connsiteX62" fmla="*/ 6560 w 10000"/>
                <a:gd name="connsiteY62" fmla="*/ 7240 h 9783"/>
                <a:gd name="connsiteX63" fmla="*/ 6887 w 10000"/>
                <a:gd name="connsiteY63" fmla="*/ 7250 h 9783"/>
                <a:gd name="connsiteX64" fmla="*/ 6957 w 10000"/>
                <a:gd name="connsiteY64" fmla="*/ 7297 h 9783"/>
                <a:gd name="connsiteX65" fmla="*/ 7158 w 10000"/>
                <a:gd name="connsiteY65" fmla="*/ 7202 h 9783"/>
                <a:gd name="connsiteX66" fmla="*/ 7214 w 10000"/>
                <a:gd name="connsiteY66" fmla="*/ 6861 h 9783"/>
                <a:gd name="connsiteX67" fmla="*/ 7131 w 10000"/>
                <a:gd name="connsiteY67" fmla="*/ 6605 h 9783"/>
                <a:gd name="connsiteX68" fmla="*/ 7372 w 10000"/>
                <a:gd name="connsiteY68" fmla="*/ 6396 h 9783"/>
                <a:gd name="connsiteX69" fmla="*/ 7300 w 10000"/>
                <a:gd name="connsiteY69" fmla="*/ 6197 h 9783"/>
                <a:gd name="connsiteX70" fmla="*/ 7459 w 10000"/>
                <a:gd name="connsiteY70" fmla="*/ 6007 h 9783"/>
                <a:gd name="connsiteX71" fmla="*/ 7559 w 10000"/>
                <a:gd name="connsiteY71" fmla="*/ 6111 h 9783"/>
                <a:gd name="connsiteX72" fmla="*/ 7728 w 10000"/>
                <a:gd name="connsiteY72" fmla="*/ 6064 h 9783"/>
                <a:gd name="connsiteX73" fmla="*/ 7715 w 10000"/>
                <a:gd name="connsiteY73" fmla="*/ 5770 h 9783"/>
                <a:gd name="connsiteX74" fmla="*/ 7815 w 10000"/>
                <a:gd name="connsiteY74" fmla="*/ 5665 h 9783"/>
                <a:gd name="connsiteX75" fmla="*/ 7787 w 10000"/>
                <a:gd name="connsiteY75" fmla="*/ 5523 h 9783"/>
                <a:gd name="connsiteX76" fmla="*/ 8015 w 10000"/>
                <a:gd name="connsiteY76" fmla="*/ 5438 h 9783"/>
                <a:gd name="connsiteX77" fmla="*/ 8029 w 10000"/>
                <a:gd name="connsiteY77" fmla="*/ 5248 h 9783"/>
                <a:gd name="connsiteX78" fmla="*/ 8201 w 10000"/>
                <a:gd name="connsiteY78" fmla="*/ 5068 h 9783"/>
                <a:gd name="connsiteX79" fmla="*/ 8512 w 10000"/>
                <a:gd name="connsiteY79" fmla="*/ 5049 h 9783"/>
                <a:gd name="connsiteX80" fmla="*/ 8486 w 10000"/>
                <a:gd name="connsiteY80" fmla="*/ 4802 h 9783"/>
                <a:gd name="connsiteX81" fmla="*/ 8716 w 10000"/>
                <a:gd name="connsiteY81" fmla="*/ 4536 h 9783"/>
                <a:gd name="connsiteX82" fmla="*/ 8716 w 10000"/>
                <a:gd name="connsiteY82" fmla="*/ 4252 h 9783"/>
                <a:gd name="connsiteX83" fmla="*/ 8686 w 10000"/>
                <a:gd name="connsiteY83" fmla="*/ 3939 h 9783"/>
                <a:gd name="connsiteX84" fmla="*/ 8617 w 10000"/>
                <a:gd name="connsiteY84" fmla="*/ 3844 h 9783"/>
                <a:gd name="connsiteX85" fmla="*/ 8785 w 10000"/>
                <a:gd name="connsiteY85" fmla="*/ 3711 h 9783"/>
                <a:gd name="connsiteX86" fmla="*/ 8799 w 10000"/>
                <a:gd name="connsiteY86" fmla="*/ 3550 h 9783"/>
                <a:gd name="connsiteX87" fmla="*/ 8973 w 10000"/>
                <a:gd name="connsiteY87" fmla="*/ 3360 h 9783"/>
                <a:gd name="connsiteX88" fmla="*/ 8885 w 10000"/>
                <a:gd name="connsiteY88" fmla="*/ 3066 h 9783"/>
                <a:gd name="connsiteX89" fmla="*/ 9044 w 10000"/>
                <a:gd name="connsiteY89" fmla="*/ 2990 h 9783"/>
                <a:gd name="connsiteX90" fmla="*/ 9044 w 10000"/>
                <a:gd name="connsiteY90" fmla="*/ 2895 h 9783"/>
                <a:gd name="connsiteX91" fmla="*/ 9312 w 10000"/>
                <a:gd name="connsiteY91" fmla="*/ 2829 h 9783"/>
                <a:gd name="connsiteX92" fmla="*/ 9327 w 10000"/>
                <a:gd name="connsiteY92" fmla="*/ 2686 h 9783"/>
                <a:gd name="connsiteX93" fmla="*/ 9844 w 10000"/>
                <a:gd name="connsiteY93" fmla="*/ 2591 h 9783"/>
                <a:gd name="connsiteX94" fmla="*/ 10000 w 10000"/>
                <a:gd name="connsiteY94" fmla="*/ 2354 h 9783"/>
                <a:gd name="connsiteX95" fmla="*/ 9644 w 10000"/>
                <a:gd name="connsiteY95" fmla="*/ 2212 h 9783"/>
                <a:gd name="connsiteX96" fmla="*/ 9516 w 10000"/>
                <a:gd name="connsiteY96" fmla="*/ 2022 h 9783"/>
                <a:gd name="connsiteX97" fmla="*/ 9158 w 10000"/>
                <a:gd name="connsiteY97" fmla="*/ 1946 h 9783"/>
                <a:gd name="connsiteX98" fmla="*/ 9088 w 10000"/>
                <a:gd name="connsiteY98" fmla="*/ 1453 h 9783"/>
                <a:gd name="connsiteX99" fmla="*/ 8986 w 10000"/>
                <a:gd name="connsiteY99" fmla="*/ 1434 h 9783"/>
                <a:gd name="connsiteX100" fmla="*/ 8957 w 10000"/>
                <a:gd name="connsiteY100" fmla="*/ 988 h 9783"/>
                <a:gd name="connsiteX101" fmla="*/ 8885 w 10000"/>
                <a:gd name="connsiteY101" fmla="*/ 836 h 9783"/>
                <a:gd name="connsiteX102" fmla="*/ 9058 w 10000"/>
                <a:gd name="connsiteY102" fmla="*/ 808 h 9783"/>
                <a:gd name="connsiteX103" fmla="*/ 8785 w 10000"/>
                <a:gd name="connsiteY103" fmla="*/ 580 h 9783"/>
                <a:gd name="connsiteX104" fmla="*/ 8743 w 10000"/>
                <a:gd name="connsiteY104" fmla="*/ 286 h 9783"/>
                <a:gd name="connsiteX105" fmla="*/ 8472 w 10000"/>
                <a:gd name="connsiteY105" fmla="*/ 153 h 9783"/>
                <a:gd name="connsiteX106" fmla="*/ 8286 w 10000"/>
                <a:gd name="connsiteY106" fmla="*/ 1 h 9783"/>
                <a:gd name="connsiteX0" fmla="*/ 8472 w 10000"/>
                <a:gd name="connsiteY0" fmla="*/ 380 h 10224"/>
                <a:gd name="connsiteX1" fmla="*/ 4796 w 10000"/>
                <a:gd name="connsiteY1" fmla="*/ 5942 h 10224"/>
                <a:gd name="connsiteX2" fmla="*/ 1754 w 10000"/>
                <a:gd name="connsiteY2" fmla="*/ 5930 h 10224"/>
                <a:gd name="connsiteX3" fmla="*/ 769 w 10000"/>
                <a:gd name="connsiteY3" fmla="*/ 6736 h 10224"/>
                <a:gd name="connsiteX4" fmla="*/ 175 w 10000"/>
                <a:gd name="connsiteY4" fmla="*/ 6926 h 10224"/>
                <a:gd name="connsiteX5" fmla="*/ 2 w 10000"/>
                <a:gd name="connsiteY5" fmla="*/ 7305 h 10224"/>
                <a:gd name="connsiteX6" fmla="*/ 117 w 10000"/>
                <a:gd name="connsiteY6" fmla="*/ 7373 h 10224"/>
                <a:gd name="connsiteX7" fmla="*/ 32 w 10000"/>
                <a:gd name="connsiteY7" fmla="*/ 7479 h 10224"/>
                <a:gd name="connsiteX8" fmla="*/ 518 w 10000"/>
                <a:gd name="connsiteY8" fmla="*/ 7508 h 10224"/>
                <a:gd name="connsiteX9" fmla="*/ 518 w 10000"/>
                <a:gd name="connsiteY9" fmla="*/ 7577 h 10224"/>
                <a:gd name="connsiteX10" fmla="*/ 502 w 10000"/>
                <a:gd name="connsiteY10" fmla="*/ 7732 h 10224"/>
                <a:gd name="connsiteX11" fmla="*/ 1016 w 10000"/>
                <a:gd name="connsiteY11" fmla="*/ 7790 h 10224"/>
                <a:gd name="connsiteX12" fmla="*/ 1016 w 10000"/>
                <a:gd name="connsiteY12" fmla="*/ 7916 h 10224"/>
                <a:gd name="connsiteX13" fmla="*/ 1288 w 10000"/>
                <a:gd name="connsiteY13" fmla="*/ 8013 h 10224"/>
                <a:gd name="connsiteX14" fmla="*/ 1203 w 10000"/>
                <a:gd name="connsiteY14" fmla="*/ 8158 h 10224"/>
                <a:gd name="connsiteX15" fmla="*/ 1586 w 10000"/>
                <a:gd name="connsiteY15" fmla="*/ 8284 h 10224"/>
                <a:gd name="connsiteX16" fmla="*/ 1817 w 10000"/>
                <a:gd name="connsiteY16" fmla="*/ 8517 h 10224"/>
                <a:gd name="connsiteX17" fmla="*/ 2030 w 10000"/>
                <a:gd name="connsiteY17" fmla="*/ 8605 h 10224"/>
                <a:gd name="connsiteX18" fmla="*/ 1945 w 10000"/>
                <a:gd name="connsiteY18" fmla="*/ 8682 h 10224"/>
                <a:gd name="connsiteX19" fmla="*/ 2059 w 10000"/>
                <a:gd name="connsiteY19" fmla="*/ 8769 h 10224"/>
                <a:gd name="connsiteX20" fmla="*/ 2043 w 10000"/>
                <a:gd name="connsiteY20" fmla="*/ 8895 h 10224"/>
                <a:gd name="connsiteX21" fmla="*/ 2261 w 10000"/>
                <a:gd name="connsiteY21" fmla="*/ 8905 h 10224"/>
                <a:gd name="connsiteX22" fmla="*/ 2502 w 10000"/>
                <a:gd name="connsiteY22" fmla="*/ 9041 h 10224"/>
                <a:gd name="connsiteX23" fmla="*/ 2561 w 10000"/>
                <a:gd name="connsiteY23" fmla="*/ 9254 h 10224"/>
                <a:gd name="connsiteX24" fmla="*/ 2615 w 10000"/>
                <a:gd name="connsiteY24" fmla="*/ 9332 h 10224"/>
                <a:gd name="connsiteX25" fmla="*/ 2917 w 10000"/>
                <a:gd name="connsiteY25" fmla="*/ 9516 h 10224"/>
                <a:gd name="connsiteX26" fmla="*/ 2917 w 10000"/>
                <a:gd name="connsiteY26" fmla="*/ 9652 h 10224"/>
                <a:gd name="connsiteX27" fmla="*/ 3360 w 10000"/>
                <a:gd name="connsiteY27" fmla="*/ 9798 h 10224"/>
                <a:gd name="connsiteX28" fmla="*/ 3602 w 10000"/>
                <a:gd name="connsiteY28" fmla="*/ 9642 h 10224"/>
                <a:gd name="connsiteX29" fmla="*/ 3903 w 10000"/>
                <a:gd name="connsiteY29" fmla="*/ 9759 h 10224"/>
                <a:gd name="connsiteX30" fmla="*/ 4142 w 10000"/>
                <a:gd name="connsiteY30" fmla="*/ 9584 h 10224"/>
                <a:gd name="connsiteX31" fmla="*/ 4415 w 10000"/>
                <a:gd name="connsiteY31" fmla="*/ 9865 h 10224"/>
                <a:gd name="connsiteX32" fmla="*/ 4801 w 10000"/>
                <a:gd name="connsiteY32" fmla="*/ 10021 h 10224"/>
                <a:gd name="connsiteX33" fmla="*/ 4843 w 10000"/>
                <a:gd name="connsiteY33" fmla="*/ 10157 h 10224"/>
                <a:gd name="connsiteX34" fmla="*/ 5002 w 10000"/>
                <a:gd name="connsiteY34" fmla="*/ 10176 h 10224"/>
                <a:gd name="connsiteX35" fmla="*/ 5228 w 10000"/>
                <a:gd name="connsiteY35" fmla="*/ 10049 h 10224"/>
                <a:gd name="connsiteX36" fmla="*/ 5517 w 10000"/>
                <a:gd name="connsiteY36" fmla="*/ 10127 h 10224"/>
                <a:gd name="connsiteX37" fmla="*/ 5615 w 10000"/>
                <a:gd name="connsiteY37" fmla="*/ 10059 h 10224"/>
                <a:gd name="connsiteX38" fmla="*/ 5716 w 10000"/>
                <a:gd name="connsiteY38" fmla="*/ 10049 h 10224"/>
                <a:gd name="connsiteX39" fmla="*/ 5914 w 10000"/>
                <a:gd name="connsiteY39" fmla="*/ 10224 h 10224"/>
                <a:gd name="connsiteX40" fmla="*/ 6101 w 10000"/>
                <a:gd name="connsiteY40" fmla="*/ 10079 h 10224"/>
                <a:gd name="connsiteX41" fmla="*/ 6329 w 10000"/>
                <a:gd name="connsiteY41" fmla="*/ 10088 h 10224"/>
                <a:gd name="connsiteX42" fmla="*/ 6500 w 10000"/>
                <a:gd name="connsiteY42" fmla="*/ 10010 h 10224"/>
                <a:gd name="connsiteX43" fmla="*/ 6744 w 10000"/>
                <a:gd name="connsiteY43" fmla="*/ 10088 h 10224"/>
                <a:gd name="connsiteX44" fmla="*/ 7058 w 10000"/>
                <a:gd name="connsiteY44" fmla="*/ 9846 h 10224"/>
                <a:gd name="connsiteX45" fmla="*/ 7171 w 10000"/>
                <a:gd name="connsiteY45" fmla="*/ 9846 h 10224"/>
                <a:gd name="connsiteX46" fmla="*/ 7372 w 10000"/>
                <a:gd name="connsiteY46" fmla="*/ 9652 h 10224"/>
                <a:gd name="connsiteX47" fmla="*/ 8228 w 10000"/>
                <a:gd name="connsiteY47" fmla="*/ 9642 h 10224"/>
                <a:gd name="connsiteX48" fmla="*/ 8415 w 10000"/>
                <a:gd name="connsiteY48" fmla="*/ 9565 h 10224"/>
                <a:gd name="connsiteX49" fmla="*/ 8401 w 10000"/>
                <a:gd name="connsiteY49" fmla="*/ 9468 h 10224"/>
                <a:gd name="connsiteX50" fmla="*/ 8343 w 10000"/>
                <a:gd name="connsiteY50" fmla="*/ 9254 h 10224"/>
                <a:gd name="connsiteX51" fmla="*/ 7986 w 10000"/>
                <a:gd name="connsiteY51" fmla="*/ 9186 h 10224"/>
                <a:gd name="connsiteX52" fmla="*/ 7815 w 10000"/>
                <a:gd name="connsiteY52" fmla="*/ 8847 h 10224"/>
                <a:gd name="connsiteX53" fmla="*/ 7715 w 10000"/>
                <a:gd name="connsiteY53" fmla="*/ 8808 h 10224"/>
                <a:gd name="connsiteX54" fmla="*/ 7688 w 10000"/>
                <a:gd name="connsiteY54" fmla="*/ 8566 h 10224"/>
                <a:gd name="connsiteX55" fmla="*/ 7559 w 10000"/>
                <a:gd name="connsiteY55" fmla="*/ 8556 h 10224"/>
                <a:gd name="connsiteX56" fmla="*/ 7514 w 10000"/>
                <a:gd name="connsiteY56" fmla="*/ 8430 h 10224"/>
                <a:gd name="connsiteX57" fmla="*/ 7300 w 10000"/>
                <a:gd name="connsiteY57" fmla="*/ 8400 h 10224"/>
                <a:gd name="connsiteX58" fmla="*/ 7228 w 10000"/>
                <a:gd name="connsiteY58" fmla="*/ 8207 h 10224"/>
                <a:gd name="connsiteX59" fmla="*/ 6873 w 10000"/>
                <a:gd name="connsiteY59" fmla="*/ 8022 h 10224"/>
                <a:gd name="connsiteX60" fmla="*/ 6485 w 10000"/>
                <a:gd name="connsiteY60" fmla="*/ 7994 h 10224"/>
                <a:gd name="connsiteX61" fmla="*/ 6588 w 10000"/>
                <a:gd name="connsiteY61" fmla="*/ 7780 h 10224"/>
                <a:gd name="connsiteX62" fmla="*/ 6560 w 10000"/>
                <a:gd name="connsiteY62" fmla="*/ 7625 h 10224"/>
                <a:gd name="connsiteX63" fmla="*/ 6887 w 10000"/>
                <a:gd name="connsiteY63" fmla="*/ 7635 h 10224"/>
                <a:gd name="connsiteX64" fmla="*/ 6957 w 10000"/>
                <a:gd name="connsiteY64" fmla="*/ 7683 h 10224"/>
                <a:gd name="connsiteX65" fmla="*/ 7158 w 10000"/>
                <a:gd name="connsiteY65" fmla="*/ 7586 h 10224"/>
                <a:gd name="connsiteX66" fmla="*/ 7214 w 10000"/>
                <a:gd name="connsiteY66" fmla="*/ 7237 h 10224"/>
                <a:gd name="connsiteX67" fmla="*/ 7131 w 10000"/>
                <a:gd name="connsiteY67" fmla="*/ 6976 h 10224"/>
                <a:gd name="connsiteX68" fmla="*/ 7372 w 10000"/>
                <a:gd name="connsiteY68" fmla="*/ 6762 h 10224"/>
                <a:gd name="connsiteX69" fmla="*/ 7300 w 10000"/>
                <a:gd name="connsiteY69" fmla="*/ 6558 h 10224"/>
                <a:gd name="connsiteX70" fmla="*/ 7459 w 10000"/>
                <a:gd name="connsiteY70" fmla="*/ 6364 h 10224"/>
                <a:gd name="connsiteX71" fmla="*/ 7559 w 10000"/>
                <a:gd name="connsiteY71" fmla="*/ 6471 h 10224"/>
                <a:gd name="connsiteX72" fmla="*/ 7728 w 10000"/>
                <a:gd name="connsiteY72" fmla="*/ 6423 h 10224"/>
                <a:gd name="connsiteX73" fmla="*/ 7715 w 10000"/>
                <a:gd name="connsiteY73" fmla="*/ 6122 h 10224"/>
                <a:gd name="connsiteX74" fmla="*/ 7815 w 10000"/>
                <a:gd name="connsiteY74" fmla="*/ 6015 h 10224"/>
                <a:gd name="connsiteX75" fmla="*/ 7787 w 10000"/>
                <a:gd name="connsiteY75" fmla="*/ 5870 h 10224"/>
                <a:gd name="connsiteX76" fmla="*/ 8015 w 10000"/>
                <a:gd name="connsiteY76" fmla="*/ 5783 h 10224"/>
                <a:gd name="connsiteX77" fmla="*/ 8029 w 10000"/>
                <a:gd name="connsiteY77" fmla="*/ 5588 h 10224"/>
                <a:gd name="connsiteX78" fmla="*/ 8201 w 10000"/>
                <a:gd name="connsiteY78" fmla="*/ 5404 h 10224"/>
                <a:gd name="connsiteX79" fmla="*/ 8512 w 10000"/>
                <a:gd name="connsiteY79" fmla="*/ 5385 h 10224"/>
                <a:gd name="connsiteX80" fmla="*/ 8486 w 10000"/>
                <a:gd name="connsiteY80" fmla="*/ 5133 h 10224"/>
                <a:gd name="connsiteX81" fmla="*/ 8716 w 10000"/>
                <a:gd name="connsiteY81" fmla="*/ 4861 h 10224"/>
                <a:gd name="connsiteX82" fmla="*/ 8716 w 10000"/>
                <a:gd name="connsiteY82" fmla="*/ 4570 h 10224"/>
                <a:gd name="connsiteX83" fmla="*/ 8686 w 10000"/>
                <a:gd name="connsiteY83" fmla="*/ 4250 h 10224"/>
                <a:gd name="connsiteX84" fmla="*/ 8617 w 10000"/>
                <a:gd name="connsiteY84" fmla="*/ 4153 h 10224"/>
                <a:gd name="connsiteX85" fmla="*/ 8785 w 10000"/>
                <a:gd name="connsiteY85" fmla="*/ 4017 h 10224"/>
                <a:gd name="connsiteX86" fmla="*/ 8799 w 10000"/>
                <a:gd name="connsiteY86" fmla="*/ 3853 h 10224"/>
                <a:gd name="connsiteX87" fmla="*/ 8973 w 10000"/>
                <a:gd name="connsiteY87" fmla="*/ 3659 h 10224"/>
                <a:gd name="connsiteX88" fmla="*/ 8885 w 10000"/>
                <a:gd name="connsiteY88" fmla="*/ 3358 h 10224"/>
                <a:gd name="connsiteX89" fmla="*/ 9044 w 10000"/>
                <a:gd name="connsiteY89" fmla="*/ 3280 h 10224"/>
                <a:gd name="connsiteX90" fmla="*/ 9044 w 10000"/>
                <a:gd name="connsiteY90" fmla="*/ 3183 h 10224"/>
                <a:gd name="connsiteX91" fmla="*/ 9312 w 10000"/>
                <a:gd name="connsiteY91" fmla="*/ 3116 h 10224"/>
                <a:gd name="connsiteX92" fmla="*/ 9327 w 10000"/>
                <a:gd name="connsiteY92" fmla="*/ 2970 h 10224"/>
                <a:gd name="connsiteX93" fmla="*/ 9844 w 10000"/>
                <a:gd name="connsiteY93" fmla="*/ 2872 h 10224"/>
                <a:gd name="connsiteX94" fmla="*/ 10000 w 10000"/>
                <a:gd name="connsiteY94" fmla="*/ 2630 h 10224"/>
                <a:gd name="connsiteX95" fmla="*/ 9644 w 10000"/>
                <a:gd name="connsiteY95" fmla="*/ 2485 h 10224"/>
                <a:gd name="connsiteX96" fmla="*/ 9516 w 10000"/>
                <a:gd name="connsiteY96" fmla="*/ 2291 h 10224"/>
                <a:gd name="connsiteX97" fmla="*/ 9158 w 10000"/>
                <a:gd name="connsiteY97" fmla="*/ 2213 h 10224"/>
                <a:gd name="connsiteX98" fmla="*/ 9088 w 10000"/>
                <a:gd name="connsiteY98" fmla="*/ 1709 h 10224"/>
                <a:gd name="connsiteX99" fmla="*/ 8986 w 10000"/>
                <a:gd name="connsiteY99" fmla="*/ 1690 h 10224"/>
                <a:gd name="connsiteX100" fmla="*/ 8957 w 10000"/>
                <a:gd name="connsiteY100" fmla="*/ 1234 h 10224"/>
                <a:gd name="connsiteX101" fmla="*/ 8885 w 10000"/>
                <a:gd name="connsiteY101" fmla="*/ 1079 h 10224"/>
                <a:gd name="connsiteX102" fmla="*/ 9058 w 10000"/>
                <a:gd name="connsiteY102" fmla="*/ 1050 h 10224"/>
                <a:gd name="connsiteX103" fmla="*/ 8785 w 10000"/>
                <a:gd name="connsiteY103" fmla="*/ 817 h 10224"/>
                <a:gd name="connsiteX104" fmla="*/ 8743 w 10000"/>
                <a:gd name="connsiteY104" fmla="*/ 516 h 10224"/>
                <a:gd name="connsiteX105" fmla="*/ 8472 w 10000"/>
                <a:gd name="connsiteY105" fmla="*/ 380 h 10224"/>
                <a:gd name="connsiteX0" fmla="*/ 8743 w 10000"/>
                <a:gd name="connsiteY0" fmla="*/ 330 h 10038"/>
                <a:gd name="connsiteX1" fmla="*/ 4796 w 10000"/>
                <a:gd name="connsiteY1" fmla="*/ 5756 h 10038"/>
                <a:gd name="connsiteX2" fmla="*/ 1754 w 10000"/>
                <a:gd name="connsiteY2" fmla="*/ 5744 h 10038"/>
                <a:gd name="connsiteX3" fmla="*/ 769 w 10000"/>
                <a:gd name="connsiteY3" fmla="*/ 6550 h 10038"/>
                <a:gd name="connsiteX4" fmla="*/ 175 w 10000"/>
                <a:gd name="connsiteY4" fmla="*/ 6740 h 10038"/>
                <a:gd name="connsiteX5" fmla="*/ 2 w 10000"/>
                <a:gd name="connsiteY5" fmla="*/ 7119 h 10038"/>
                <a:gd name="connsiteX6" fmla="*/ 117 w 10000"/>
                <a:gd name="connsiteY6" fmla="*/ 7187 h 10038"/>
                <a:gd name="connsiteX7" fmla="*/ 32 w 10000"/>
                <a:gd name="connsiteY7" fmla="*/ 7293 h 10038"/>
                <a:gd name="connsiteX8" fmla="*/ 518 w 10000"/>
                <a:gd name="connsiteY8" fmla="*/ 7322 h 10038"/>
                <a:gd name="connsiteX9" fmla="*/ 518 w 10000"/>
                <a:gd name="connsiteY9" fmla="*/ 7391 h 10038"/>
                <a:gd name="connsiteX10" fmla="*/ 502 w 10000"/>
                <a:gd name="connsiteY10" fmla="*/ 7546 h 10038"/>
                <a:gd name="connsiteX11" fmla="*/ 1016 w 10000"/>
                <a:gd name="connsiteY11" fmla="*/ 7604 h 10038"/>
                <a:gd name="connsiteX12" fmla="*/ 1016 w 10000"/>
                <a:gd name="connsiteY12" fmla="*/ 7730 h 10038"/>
                <a:gd name="connsiteX13" fmla="*/ 1288 w 10000"/>
                <a:gd name="connsiteY13" fmla="*/ 7827 h 10038"/>
                <a:gd name="connsiteX14" fmla="*/ 1203 w 10000"/>
                <a:gd name="connsiteY14" fmla="*/ 7972 h 10038"/>
                <a:gd name="connsiteX15" fmla="*/ 1586 w 10000"/>
                <a:gd name="connsiteY15" fmla="*/ 8098 h 10038"/>
                <a:gd name="connsiteX16" fmla="*/ 1817 w 10000"/>
                <a:gd name="connsiteY16" fmla="*/ 8331 h 10038"/>
                <a:gd name="connsiteX17" fmla="*/ 2030 w 10000"/>
                <a:gd name="connsiteY17" fmla="*/ 8419 h 10038"/>
                <a:gd name="connsiteX18" fmla="*/ 1945 w 10000"/>
                <a:gd name="connsiteY18" fmla="*/ 8496 h 10038"/>
                <a:gd name="connsiteX19" fmla="*/ 2059 w 10000"/>
                <a:gd name="connsiteY19" fmla="*/ 8583 h 10038"/>
                <a:gd name="connsiteX20" fmla="*/ 2043 w 10000"/>
                <a:gd name="connsiteY20" fmla="*/ 8709 h 10038"/>
                <a:gd name="connsiteX21" fmla="*/ 2261 w 10000"/>
                <a:gd name="connsiteY21" fmla="*/ 8719 h 10038"/>
                <a:gd name="connsiteX22" fmla="*/ 2502 w 10000"/>
                <a:gd name="connsiteY22" fmla="*/ 8855 h 10038"/>
                <a:gd name="connsiteX23" fmla="*/ 2561 w 10000"/>
                <a:gd name="connsiteY23" fmla="*/ 9068 h 10038"/>
                <a:gd name="connsiteX24" fmla="*/ 2615 w 10000"/>
                <a:gd name="connsiteY24" fmla="*/ 9146 h 10038"/>
                <a:gd name="connsiteX25" fmla="*/ 2917 w 10000"/>
                <a:gd name="connsiteY25" fmla="*/ 9330 h 10038"/>
                <a:gd name="connsiteX26" fmla="*/ 2917 w 10000"/>
                <a:gd name="connsiteY26" fmla="*/ 9466 h 10038"/>
                <a:gd name="connsiteX27" fmla="*/ 3360 w 10000"/>
                <a:gd name="connsiteY27" fmla="*/ 9612 h 10038"/>
                <a:gd name="connsiteX28" fmla="*/ 3602 w 10000"/>
                <a:gd name="connsiteY28" fmla="*/ 9456 h 10038"/>
                <a:gd name="connsiteX29" fmla="*/ 3903 w 10000"/>
                <a:gd name="connsiteY29" fmla="*/ 9573 h 10038"/>
                <a:gd name="connsiteX30" fmla="*/ 4142 w 10000"/>
                <a:gd name="connsiteY30" fmla="*/ 9398 h 10038"/>
                <a:gd name="connsiteX31" fmla="*/ 4415 w 10000"/>
                <a:gd name="connsiteY31" fmla="*/ 9679 h 10038"/>
                <a:gd name="connsiteX32" fmla="*/ 4801 w 10000"/>
                <a:gd name="connsiteY32" fmla="*/ 9835 h 10038"/>
                <a:gd name="connsiteX33" fmla="*/ 4843 w 10000"/>
                <a:gd name="connsiteY33" fmla="*/ 9971 h 10038"/>
                <a:gd name="connsiteX34" fmla="*/ 5002 w 10000"/>
                <a:gd name="connsiteY34" fmla="*/ 9990 h 10038"/>
                <a:gd name="connsiteX35" fmla="*/ 5228 w 10000"/>
                <a:gd name="connsiteY35" fmla="*/ 9863 h 10038"/>
                <a:gd name="connsiteX36" fmla="*/ 5517 w 10000"/>
                <a:gd name="connsiteY36" fmla="*/ 9941 h 10038"/>
                <a:gd name="connsiteX37" fmla="*/ 5615 w 10000"/>
                <a:gd name="connsiteY37" fmla="*/ 9873 h 10038"/>
                <a:gd name="connsiteX38" fmla="*/ 5716 w 10000"/>
                <a:gd name="connsiteY38" fmla="*/ 9863 h 10038"/>
                <a:gd name="connsiteX39" fmla="*/ 5914 w 10000"/>
                <a:gd name="connsiteY39" fmla="*/ 10038 h 10038"/>
                <a:gd name="connsiteX40" fmla="*/ 6101 w 10000"/>
                <a:gd name="connsiteY40" fmla="*/ 9893 h 10038"/>
                <a:gd name="connsiteX41" fmla="*/ 6329 w 10000"/>
                <a:gd name="connsiteY41" fmla="*/ 9902 h 10038"/>
                <a:gd name="connsiteX42" fmla="*/ 6500 w 10000"/>
                <a:gd name="connsiteY42" fmla="*/ 9824 h 10038"/>
                <a:gd name="connsiteX43" fmla="*/ 6744 w 10000"/>
                <a:gd name="connsiteY43" fmla="*/ 9902 h 10038"/>
                <a:gd name="connsiteX44" fmla="*/ 7058 w 10000"/>
                <a:gd name="connsiteY44" fmla="*/ 9660 h 10038"/>
                <a:gd name="connsiteX45" fmla="*/ 7171 w 10000"/>
                <a:gd name="connsiteY45" fmla="*/ 9660 h 10038"/>
                <a:gd name="connsiteX46" fmla="*/ 7372 w 10000"/>
                <a:gd name="connsiteY46" fmla="*/ 9466 h 10038"/>
                <a:gd name="connsiteX47" fmla="*/ 8228 w 10000"/>
                <a:gd name="connsiteY47" fmla="*/ 9456 h 10038"/>
                <a:gd name="connsiteX48" fmla="*/ 8415 w 10000"/>
                <a:gd name="connsiteY48" fmla="*/ 9379 h 10038"/>
                <a:gd name="connsiteX49" fmla="*/ 8401 w 10000"/>
                <a:gd name="connsiteY49" fmla="*/ 9282 h 10038"/>
                <a:gd name="connsiteX50" fmla="*/ 8343 w 10000"/>
                <a:gd name="connsiteY50" fmla="*/ 9068 h 10038"/>
                <a:gd name="connsiteX51" fmla="*/ 7986 w 10000"/>
                <a:gd name="connsiteY51" fmla="*/ 9000 h 10038"/>
                <a:gd name="connsiteX52" fmla="*/ 7815 w 10000"/>
                <a:gd name="connsiteY52" fmla="*/ 8661 h 10038"/>
                <a:gd name="connsiteX53" fmla="*/ 7715 w 10000"/>
                <a:gd name="connsiteY53" fmla="*/ 8622 h 10038"/>
                <a:gd name="connsiteX54" fmla="*/ 7688 w 10000"/>
                <a:gd name="connsiteY54" fmla="*/ 8380 h 10038"/>
                <a:gd name="connsiteX55" fmla="*/ 7559 w 10000"/>
                <a:gd name="connsiteY55" fmla="*/ 8370 h 10038"/>
                <a:gd name="connsiteX56" fmla="*/ 7514 w 10000"/>
                <a:gd name="connsiteY56" fmla="*/ 8244 h 10038"/>
                <a:gd name="connsiteX57" fmla="*/ 7300 w 10000"/>
                <a:gd name="connsiteY57" fmla="*/ 8214 h 10038"/>
                <a:gd name="connsiteX58" fmla="*/ 7228 w 10000"/>
                <a:gd name="connsiteY58" fmla="*/ 8021 h 10038"/>
                <a:gd name="connsiteX59" fmla="*/ 6873 w 10000"/>
                <a:gd name="connsiteY59" fmla="*/ 7836 h 10038"/>
                <a:gd name="connsiteX60" fmla="*/ 6485 w 10000"/>
                <a:gd name="connsiteY60" fmla="*/ 7808 h 10038"/>
                <a:gd name="connsiteX61" fmla="*/ 6588 w 10000"/>
                <a:gd name="connsiteY61" fmla="*/ 7594 h 10038"/>
                <a:gd name="connsiteX62" fmla="*/ 6560 w 10000"/>
                <a:gd name="connsiteY62" fmla="*/ 7439 h 10038"/>
                <a:gd name="connsiteX63" fmla="*/ 6887 w 10000"/>
                <a:gd name="connsiteY63" fmla="*/ 7449 h 10038"/>
                <a:gd name="connsiteX64" fmla="*/ 6957 w 10000"/>
                <a:gd name="connsiteY64" fmla="*/ 7497 h 10038"/>
                <a:gd name="connsiteX65" fmla="*/ 7158 w 10000"/>
                <a:gd name="connsiteY65" fmla="*/ 7400 h 10038"/>
                <a:gd name="connsiteX66" fmla="*/ 7214 w 10000"/>
                <a:gd name="connsiteY66" fmla="*/ 7051 h 10038"/>
                <a:gd name="connsiteX67" fmla="*/ 7131 w 10000"/>
                <a:gd name="connsiteY67" fmla="*/ 6790 h 10038"/>
                <a:gd name="connsiteX68" fmla="*/ 7372 w 10000"/>
                <a:gd name="connsiteY68" fmla="*/ 6576 h 10038"/>
                <a:gd name="connsiteX69" fmla="*/ 7300 w 10000"/>
                <a:gd name="connsiteY69" fmla="*/ 6372 h 10038"/>
                <a:gd name="connsiteX70" fmla="*/ 7459 w 10000"/>
                <a:gd name="connsiteY70" fmla="*/ 6178 h 10038"/>
                <a:gd name="connsiteX71" fmla="*/ 7559 w 10000"/>
                <a:gd name="connsiteY71" fmla="*/ 6285 h 10038"/>
                <a:gd name="connsiteX72" fmla="*/ 7728 w 10000"/>
                <a:gd name="connsiteY72" fmla="*/ 6237 h 10038"/>
                <a:gd name="connsiteX73" fmla="*/ 7715 w 10000"/>
                <a:gd name="connsiteY73" fmla="*/ 5936 h 10038"/>
                <a:gd name="connsiteX74" fmla="*/ 7815 w 10000"/>
                <a:gd name="connsiteY74" fmla="*/ 5829 h 10038"/>
                <a:gd name="connsiteX75" fmla="*/ 7787 w 10000"/>
                <a:gd name="connsiteY75" fmla="*/ 5684 h 10038"/>
                <a:gd name="connsiteX76" fmla="*/ 8015 w 10000"/>
                <a:gd name="connsiteY76" fmla="*/ 5597 h 10038"/>
                <a:gd name="connsiteX77" fmla="*/ 8029 w 10000"/>
                <a:gd name="connsiteY77" fmla="*/ 5402 h 10038"/>
                <a:gd name="connsiteX78" fmla="*/ 8201 w 10000"/>
                <a:gd name="connsiteY78" fmla="*/ 5218 h 10038"/>
                <a:gd name="connsiteX79" fmla="*/ 8512 w 10000"/>
                <a:gd name="connsiteY79" fmla="*/ 5199 h 10038"/>
                <a:gd name="connsiteX80" fmla="*/ 8486 w 10000"/>
                <a:gd name="connsiteY80" fmla="*/ 4947 h 10038"/>
                <a:gd name="connsiteX81" fmla="*/ 8716 w 10000"/>
                <a:gd name="connsiteY81" fmla="*/ 4675 h 10038"/>
                <a:gd name="connsiteX82" fmla="*/ 8716 w 10000"/>
                <a:gd name="connsiteY82" fmla="*/ 4384 h 10038"/>
                <a:gd name="connsiteX83" fmla="*/ 8686 w 10000"/>
                <a:gd name="connsiteY83" fmla="*/ 4064 h 10038"/>
                <a:gd name="connsiteX84" fmla="*/ 8617 w 10000"/>
                <a:gd name="connsiteY84" fmla="*/ 3967 h 10038"/>
                <a:gd name="connsiteX85" fmla="*/ 8785 w 10000"/>
                <a:gd name="connsiteY85" fmla="*/ 3831 h 10038"/>
                <a:gd name="connsiteX86" fmla="*/ 8799 w 10000"/>
                <a:gd name="connsiteY86" fmla="*/ 3667 h 10038"/>
                <a:gd name="connsiteX87" fmla="*/ 8973 w 10000"/>
                <a:gd name="connsiteY87" fmla="*/ 3473 h 10038"/>
                <a:gd name="connsiteX88" fmla="*/ 8885 w 10000"/>
                <a:gd name="connsiteY88" fmla="*/ 3172 h 10038"/>
                <a:gd name="connsiteX89" fmla="*/ 9044 w 10000"/>
                <a:gd name="connsiteY89" fmla="*/ 3094 h 10038"/>
                <a:gd name="connsiteX90" fmla="*/ 9044 w 10000"/>
                <a:gd name="connsiteY90" fmla="*/ 2997 h 10038"/>
                <a:gd name="connsiteX91" fmla="*/ 9312 w 10000"/>
                <a:gd name="connsiteY91" fmla="*/ 2930 h 10038"/>
                <a:gd name="connsiteX92" fmla="*/ 9327 w 10000"/>
                <a:gd name="connsiteY92" fmla="*/ 2784 h 10038"/>
                <a:gd name="connsiteX93" fmla="*/ 9844 w 10000"/>
                <a:gd name="connsiteY93" fmla="*/ 2686 h 10038"/>
                <a:gd name="connsiteX94" fmla="*/ 10000 w 10000"/>
                <a:gd name="connsiteY94" fmla="*/ 2444 h 10038"/>
                <a:gd name="connsiteX95" fmla="*/ 9644 w 10000"/>
                <a:gd name="connsiteY95" fmla="*/ 2299 h 10038"/>
                <a:gd name="connsiteX96" fmla="*/ 9516 w 10000"/>
                <a:gd name="connsiteY96" fmla="*/ 2105 h 10038"/>
                <a:gd name="connsiteX97" fmla="*/ 9158 w 10000"/>
                <a:gd name="connsiteY97" fmla="*/ 2027 h 10038"/>
                <a:gd name="connsiteX98" fmla="*/ 9088 w 10000"/>
                <a:gd name="connsiteY98" fmla="*/ 1523 h 10038"/>
                <a:gd name="connsiteX99" fmla="*/ 8986 w 10000"/>
                <a:gd name="connsiteY99" fmla="*/ 1504 h 10038"/>
                <a:gd name="connsiteX100" fmla="*/ 8957 w 10000"/>
                <a:gd name="connsiteY100" fmla="*/ 1048 h 10038"/>
                <a:gd name="connsiteX101" fmla="*/ 8885 w 10000"/>
                <a:gd name="connsiteY101" fmla="*/ 893 h 10038"/>
                <a:gd name="connsiteX102" fmla="*/ 9058 w 10000"/>
                <a:gd name="connsiteY102" fmla="*/ 864 h 10038"/>
                <a:gd name="connsiteX103" fmla="*/ 8785 w 10000"/>
                <a:gd name="connsiteY103" fmla="*/ 631 h 10038"/>
                <a:gd name="connsiteX104" fmla="*/ 8743 w 10000"/>
                <a:gd name="connsiteY104" fmla="*/ 330 h 10038"/>
                <a:gd name="connsiteX0" fmla="*/ 8785 w 10000"/>
                <a:gd name="connsiteY0" fmla="*/ 311 h 9718"/>
                <a:gd name="connsiteX1" fmla="*/ 4796 w 10000"/>
                <a:gd name="connsiteY1" fmla="*/ 5436 h 9718"/>
                <a:gd name="connsiteX2" fmla="*/ 1754 w 10000"/>
                <a:gd name="connsiteY2" fmla="*/ 5424 h 9718"/>
                <a:gd name="connsiteX3" fmla="*/ 769 w 10000"/>
                <a:gd name="connsiteY3" fmla="*/ 6230 h 9718"/>
                <a:gd name="connsiteX4" fmla="*/ 175 w 10000"/>
                <a:gd name="connsiteY4" fmla="*/ 6420 h 9718"/>
                <a:gd name="connsiteX5" fmla="*/ 2 w 10000"/>
                <a:gd name="connsiteY5" fmla="*/ 6799 h 9718"/>
                <a:gd name="connsiteX6" fmla="*/ 117 w 10000"/>
                <a:gd name="connsiteY6" fmla="*/ 6867 h 9718"/>
                <a:gd name="connsiteX7" fmla="*/ 32 w 10000"/>
                <a:gd name="connsiteY7" fmla="*/ 6973 h 9718"/>
                <a:gd name="connsiteX8" fmla="*/ 518 w 10000"/>
                <a:gd name="connsiteY8" fmla="*/ 7002 h 9718"/>
                <a:gd name="connsiteX9" fmla="*/ 518 w 10000"/>
                <a:gd name="connsiteY9" fmla="*/ 7071 h 9718"/>
                <a:gd name="connsiteX10" fmla="*/ 502 w 10000"/>
                <a:gd name="connsiteY10" fmla="*/ 7226 h 9718"/>
                <a:gd name="connsiteX11" fmla="*/ 1016 w 10000"/>
                <a:gd name="connsiteY11" fmla="*/ 7284 h 9718"/>
                <a:gd name="connsiteX12" fmla="*/ 1016 w 10000"/>
                <a:gd name="connsiteY12" fmla="*/ 7410 h 9718"/>
                <a:gd name="connsiteX13" fmla="*/ 1288 w 10000"/>
                <a:gd name="connsiteY13" fmla="*/ 7507 h 9718"/>
                <a:gd name="connsiteX14" fmla="*/ 1203 w 10000"/>
                <a:gd name="connsiteY14" fmla="*/ 7652 h 9718"/>
                <a:gd name="connsiteX15" fmla="*/ 1586 w 10000"/>
                <a:gd name="connsiteY15" fmla="*/ 7778 h 9718"/>
                <a:gd name="connsiteX16" fmla="*/ 1817 w 10000"/>
                <a:gd name="connsiteY16" fmla="*/ 8011 h 9718"/>
                <a:gd name="connsiteX17" fmla="*/ 2030 w 10000"/>
                <a:gd name="connsiteY17" fmla="*/ 8099 h 9718"/>
                <a:gd name="connsiteX18" fmla="*/ 1945 w 10000"/>
                <a:gd name="connsiteY18" fmla="*/ 8176 h 9718"/>
                <a:gd name="connsiteX19" fmla="*/ 2059 w 10000"/>
                <a:gd name="connsiteY19" fmla="*/ 8263 h 9718"/>
                <a:gd name="connsiteX20" fmla="*/ 2043 w 10000"/>
                <a:gd name="connsiteY20" fmla="*/ 8389 h 9718"/>
                <a:gd name="connsiteX21" fmla="*/ 2261 w 10000"/>
                <a:gd name="connsiteY21" fmla="*/ 8399 h 9718"/>
                <a:gd name="connsiteX22" fmla="*/ 2502 w 10000"/>
                <a:gd name="connsiteY22" fmla="*/ 8535 h 9718"/>
                <a:gd name="connsiteX23" fmla="*/ 2561 w 10000"/>
                <a:gd name="connsiteY23" fmla="*/ 8748 h 9718"/>
                <a:gd name="connsiteX24" fmla="*/ 2615 w 10000"/>
                <a:gd name="connsiteY24" fmla="*/ 8826 h 9718"/>
                <a:gd name="connsiteX25" fmla="*/ 2917 w 10000"/>
                <a:gd name="connsiteY25" fmla="*/ 9010 h 9718"/>
                <a:gd name="connsiteX26" fmla="*/ 2917 w 10000"/>
                <a:gd name="connsiteY26" fmla="*/ 9146 h 9718"/>
                <a:gd name="connsiteX27" fmla="*/ 3360 w 10000"/>
                <a:gd name="connsiteY27" fmla="*/ 9292 h 9718"/>
                <a:gd name="connsiteX28" fmla="*/ 3602 w 10000"/>
                <a:gd name="connsiteY28" fmla="*/ 9136 h 9718"/>
                <a:gd name="connsiteX29" fmla="*/ 3903 w 10000"/>
                <a:gd name="connsiteY29" fmla="*/ 9253 h 9718"/>
                <a:gd name="connsiteX30" fmla="*/ 4142 w 10000"/>
                <a:gd name="connsiteY30" fmla="*/ 9078 h 9718"/>
                <a:gd name="connsiteX31" fmla="*/ 4415 w 10000"/>
                <a:gd name="connsiteY31" fmla="*/ 9359 h 9718"/>
                <a:gd name="connsiteX32" fmla="*/ 4801 w 10000"/>
                <a:gd name="connsiteY32" fmla="*/ 9515 h 9718"/>
                <a:gd name="connsiteX33" fmla="*/ 4843 w 10000"/>
                <a:gd name="connsiteY33" fmla="*/ 9651 h 9718"/>
                <a:gd name="connsiteX34" fmla="*/ 5002 w 10000"/>
                <a:gd name="connsiteY34" fmla="*/ 9670 h 9718"/>
                <a:gd name="connsiteX35" fmla="*/ 5228 w 10000"/>
                <a:gd name="connsiteY35" fmla="*/ 9543 h 9718"/>
                <a:gd name="connsiteX36" fmla="*/ 5517 w 10000"/>
                <a:gd name="connsiteY36" fmla="*/ 9621 h 9718"/>
                <a:gd name="connsiteX37" fmla="*/ 5615 w 10000"/>
                <a:gd name="connsiteY37" fmla="*/ 9553 h 9718"/>
                <a:gd name="connsiteX38" fmla="*/ 5716 w 10000"/>
                <a:gd name="connsiteY38" fmla="*/ 9543 h 9718"/>
                <a:gd name="connsiteX39" fmla="*/ 5914 w 10000"/>
                <a:gd name="connsiteY39" fmla="*/ 9718 h 9718"/>
                <a:gd name="connsiteX40" fmla="*/ 6101 w 10000"/>
                <a:gd name="connsiteY40" fmla="*/ 9573 h 9718"/>
                <a:gd name="connsiteX41" fmla="*/ 6329 w 10000"/>
                <a:gd name="connsiteY41" fmla="*/ 9582 h 9718"/>
                <a:gd name="connsiteX42" fmla="*/ 6500 w 10000"/>
                <a:gd name="connsiteY42" fmla="*/ 9504 h 9718"/>
                <a:gd name="connsiteX43" fmla="*/ 6744 w 10000"/>
                <a:gd name="connsiteY43" fmla="*/ 9582 h 9718"/>
                <a:gd name="connsiteX44" fmla="*/ 7058 w 10000"/>
                <a:gd name="connsiteY44" fmla="*/ 9340 h 9718"/>
                <a:gd name="connsiteX45" fmla="*/ 7171 w 10000"/>
                <a:gd name="connsiteY45" fmla="*/ 9340 h 9718"/>
                <a:gd name="connsiteX46" fmla="*/ 7372 w 10000"/>
                <a:gd name="connsiteY46" fmla="*/ 9146 h 9718"/>
                <a:gd name="connsiteX47" fmla="*/ 8228 w 10000"/>
                <a:gd name="connsiteY47" fmla="*/ 9136 h 9718"/>
                <a:gd name="connsiteX48" fmla="*/ 8415 w 10000"/>
                <a:gd name="connsiteY48" fmla="*/ 9059 h 9718"/>
                <a:gd name="connsiteX49" fmla="*/ 8401 w 10000"/>
                <a:gd name="connsiteY49" fmla="*/ 8962 h 9718"/>
                <a:gd name="connsiteX50" fmla="*/ 8343 w 10000"/>
                <a:gd name="connsiteY50" fmla="*/ 8748 h 9718"/>
                <a:gd name="connsiteX51" fmla="*/ 7986 w 10000"/>
                <a:gd name="connsiteY51" fmla="*/ 8680 h 9718"/>
                <a:gd name="connsiteX52" fmla="*/ 7815 w 10000"/>
                <a:gd name="connsiteY52" fmla="*/ 8341 h 9718"/>
                <a:gd name="connsiteX53" fmla="*/ 7715 w 10000"/>
                <a:gd name="connsiteY53" fmla="*/ 8302 h 9718"/>
                <a:gd name="connsiteX54" fmla="*/ 7688 w 10000"/>
                <a:gd name="connsiteY54" fmla="*/ 8060 h 9718"/>
                <a:gd name="connsiteX55" fmla="*/ 7559 w 10000"/>
                <a:gd name="connsiteY55" fmla="*/ 8050 h 9718"/>
                <a:gd name="connsiteX56" fmla="*/ 7514 w 10000"/>
                <a:gd name="connsiteY56" fmla="*/ 7924 h 9718"/>
                <a:gd name="connsiteX57" fmla="*/ 7300 w 10000"/>
                <a:gd name="connsiteY57" fmla="*/ 7894 h 9718"/>
                <a:gd name="connsiteX58" fmla="*/ 7228 w 10000"/>
                <a:gd name="connsiteY58" fmla="*/ 7701 h 9718"/>
                <a:gd name="connsiteX59" fmla="*/ 6873 w 10000"/>
                <a:gd name="connsiteY59" fmla="*/ 7516 h 9718"/>
                <a:gd name="connsiteX60" fmla="*/ 6485 w 10000"/>
                <a:gd name="connsiteY60" fmla="*/ 7488 h 9718"/>
                <a:gd name="connsiteX61" fmla="*/ 6588 w 10000"/>
                <a:gd name="connsiteY61" fmla="*/ 7274 h 9718"/>
                <a:gd name="connsiteX62" fmla="*/ 6560 w 10000"/>
                <a:gd name="connsiteY62" fmla="*/ 7119 h 9718"/>
                <a:gd name="connsiteX63" fmla="*/ 6887 w 10000"/>
                <a:gd name="connsiteY63" fmla="*/ 7129 h 9718"/>
                <a:gd name="connsiteX64" fmla="*/ 6957 w 10000"/>
                <a:gd name="connsiteY64" fmla="*/ 7177 h 9718"/>
                <a:gd name="connsiteX65" fmla="*/ 7158 w 10000"/>
                <a:gd name="connsiteY65" fmla="*/ 7080 h 9718"/>
                <a:gd name="connsiteX66" fmla="*/ 7214 w 10000"/>
                <a:gd name="connsiteY66" fmla="*/ 6731 h 9718"/>
                <a:gd name="connsiteX67" fmla="*/ 7131 w 10000"/>
                <a:gd name="connsiteY67" fmla="*/ 6470 h 9718"/>
                <a:gd name="connsiteX68" fmla="*/ 7372 w 10000"/>
                <a:gd name="connsiteY68" fmla="*/ 6256 h 9718"/>
                <a:gd name="connsiteX69" fmla="*/ 7300 w 10000"/>
                <a:gd name="connsiteY69" fmla="*/ 6052 h 9718"/>
                <a:gd name="connsiteX70" fmla="*/ 7459 w 10000"/>
                <a:gd name="connsiteY70" fmla="*/ 5858 h 9718"/>
                <a:gd name="connsiteX71" fmla="*/ 7559 w 10000"/>
                <a:gd name="connsiteY71" fmla="*/ 5965 h 9718"/>
                <a:gd name="connsiteX72" fmla="*/ 7728 w 10000"/>
                <a:gd name="connsiteY72" fmla="*/ 5917 h 9718"/>
                <a:gd name="connsiteX73" fmla="*/ 7715 w 10000"/>
                <a:gd name="connsiteY73" fmla="*/ 5616 h 9718"/>
                <a:gd name="connsiteX74" fmla="*/ 7815 w 10000"/>
                <a:gd name="connsiteY74" fmla="*/ 5509 h 9718"/>
                <a:gd name="connsiteX75" fmla="*/ 7787 w 10000"/>
                <a:gd name="connsiteY75" fmla="*/ 5364 h 9718"/>
                <a:gd name="connsiteX76" fmla="*/ 8015 w 10000"/>
                <a:gd name="connsiteY76" fmla="*/ 5277 h 9718"/>
                <a:gd name="connsiteX77" fmla="*/ 8029 w 10000"/>
                <a:gd name="connsiteY77" fmla="*/ 5082 h 9718"/>
                <a:gd name="connsiteX78" fmla="*/ 8201 w 10000"/>
                <a:gd name="connsiteY78" fmla="*/ 4898 h 9718"/>
                <a:gd name="connsiteX79" fmla="*/ 8512 w 10000"/>
                <a:gd name="connsiteY79" fmla="*/ 4879 h 9718"/>
                <a:gd name="connsiteX80" fmla="*/ 8486 w 10000"/>
                <a:gd name="connsiteY80" fmla="*/ 4627 h 9718"/>
                <a:gd name="connsiteX81" fmla="*/ 8716 w 10000"/>
                <a:gd name="connsiteY81" fmla="*/ 4355 h 9718"/>
                <a:gd name="connsiteX82" fmla="*/ 8716 w 10000"/>
                <a:gd name="connsiteY82" fmla="*/ 4064 h 9718"/>
                <a:gd name="connsiteX83" fmla="*/ 8686 w 10000"/>
                <a:gd name="connsiteY83" fmla="*/ 3744 h 9718"/>
                <a:gd name="connsiteX84" fmla="*/ 8617 w 10000"/>
                <a:gd name="connsiteY84" fmla="*/ 3647 h 9718"/>
                <a:gd name="connsiteX85" fmla="*/ 8785 w 10000"/>
                <a:gd name="connsiteY85" fmla="*/ 3511 h 9718"/>
                <a:gd name="connsiteX86" fmla="*/ 8799 w 10000"/>
                <a:gd name="connsiteY86" fmla="*/ 3347 h 9718"/>
                <a:gd name="connsiteX87" fmla="*/ 8973 w 10000"/>
                <a:gd name="connsiteY87" fmla="*/ 3153 h 9718"/>
                <a:gd name="connsiteX88" fmla="*/ 8885 w 10000"/>
                <a:gd name="connsiteY88" fmla="*/ 2852 h 9718"/>
                <a:gd name="connsiteX89" fmla="*/ 9044 w 10000"/>
                <a:gd name="connsiteY89" fmla="*/ 2774 h 9718"/>
                <a:gd name="connsiteX90" fmla="*/ 9044 w 10000"/>
                <a:gd name="connsiteY90" fmla="*/ 2677 h 9718"/>
                <a:gd name="connsiteX91" fmla="*/ 9312 w 10000"/>
                <a:gd name="connsiteY91" fmla="*/ 2610 h 9718"/>
                <a:gd name="connsiteX92" fmla="*/ 9327 w 10000"/>
                <a:gd name="connsiteY92" fmla="*/ 2464 h 9718"/>
                <a:gd name="connsiteX93" fmla="*/ 9844 w 10000"/>
                <a:gd name="connsiteY93" fmla="*/ 2366 h 9718"/>
                <a:gd name="connsiteX94" fmla="*/ 10000 w 10000"/>
                <a:gd name="connsiteY94" fmla="*/ 2124 h 9718"/>
                <a:gd name="connsiteX95" fmla="*/ 9644 w 10000"/>
                <a:gd name="connsiteY95" fmla="*/ 1979 h 9718"/>
                <a:gd name="connsiteX96" fmla="*/ 9516 w 10000"/>
                <a:gd name="connsiteY96" fmla="*/ 1785 h 9718"/>
                <a:gd name="connsiteX97" fmla="*/ 9158 w 10000"/>
                <a:gd name="connsiteY97" fmla="*/ 1707 h 9718"/>
                <a:gd name="connsiteX98" fmla="*/ 9088 w 10000"/>
                <a:gd name="connsiteY98" fmla="*/ 1203 h 9718"/>
                <a:gd name="connsiteX99" fmla="*/ 8986 w 10000"/>
                <a:gd name="connsiteY99" fmla="*/ 1184 h 9718"/>
                <a:gd name="connsiteX100" fmla="*/ 8957 w 10000"/>
                <a:gd name="connsiteY100" fmla="*/ 728 h 9718"/>
                <a:gd name="connsiteX101" fmla="*/ 8885 w 10000"/>
                <a:gd name="connsiteY101" fmla="*/ 573 h 9718"/>
                <a:gd name="connsiteX102" fmla="*/ 9058 w 10000"/>
                <a:gd name="connsiteY102" fmla="*/ 544 h 9718"/>
                <a:gd name="connsiteX103" fmla="*/ 8785 w 10000"/>
                <a:gd name="connsiteY103" fmla="*/ 311 h 9718"/>
                <a:gd name="connsiteX0" fmla="*/ 9058 w 10000"/>
                <a:gd name="connsiteY0" fmla="*/ 0 h 9440"/>
                <a:gd name="connsiteX1" fmla="*/ 4796 w 10000"/>
                <a:gd name="connsiteY1" fmla="*/ 5034 h 9440"/>
                <a:gd name="connsiteX2" fmla="*/ 1754 w 10000"/>
                <a:gd name="connsiteY2" fmla="*/ 5021 h 9440"/>
                <a:gd name="connsiteX3" fmla="*/ 769 w 10000"/>
                <a:gd name="connsiteY3" fmla="*/ 5851 h 9440"/>
                <a:gd name="connsiteX4" fmla="*/ 175 w 10000"/>
                <a:gd name="connsiteY4" fmla="*/ 6046 h 9440"/>
                <a:gd name="connsiteX5" fmla="*/ 2 w 10000"/>
                <a:gd name="connsiteY5" fmla="*/ 6436 h 9440"/>
                <a:gd name="connsiteX6" fmla="*/ 117 w 10000"/>
                <a:gd name="connsiteY6" fmla="*/ 6506 h 9440"/>
                <a:gd name="connsiteX7" fmla="*/ 32 w 10000"/>
                <a:gd name="connsiteY7" fmla="*/ 6615 h 9440"/>
                <a:gd name="connsiteX8" fmla="*/ 518 w 10000"/>
                <a:gd name="connsiteY8" fmla="*/ 6645 h 9440"/>
                <a:gd name="connsiteX9" fmla="*/ 518 w 10000"/>
                <a:gd name="connsiteY9" fmla="*/ 6716 h 9440"/>
                <a:gd name="connsiteX10" fmla="*/ 502 w 10000"/>
                <a:gd name="connsiteY10" fmla="*/ 6876 h 9440"/>
                <a:gd name="connsiteX11" fmla="*/ 1016 w 10000"/>
                <a:gd name="connsiteY11" fmla="*/ 6935 h 9440"/>
                <a:gd name="connsiteX12" fmla="*/ 1016 w 10000"/>
                <a:gd name="connsiteY12" fmla="*/ 7065 h 9440"/>
                <a:gd name="connsiteX13" fmla="*/ 1288 w 10000"/>
                <a:gd name="connsiteY13" fmla="*/ 7165 h 9440"/>
                <a:gd name="connsiteX14" fmla="*/ 1203 w 10000"/>
                <a:gd name="connsiteY14" fmla="*/ 7314 h 9440"/>
                <a:gd name="connsiteX15" fmla="*/ 1586 w 10000"/>
                <a:gd name="connsiteY15" fmla="*/ 7444 h 9440"/>
                <a:gd name="connsiteX16" fmla="*/ 1817 w 10000"/>
                <a:gd name="connsiteY16" fmla="*/ 7683 h 9440"/>
                <a:gd name="connsiteX17" fmla="*/ 2030 w 10000"/>
                <a:gd name="connsiteY17" fmla="*/ 7774 h 9440"/>
                <a:gd name="connsiteX18" fmla="*/ 1945 w 10000"/>
                <a:gd name="connsiteY18" fmla="*/ 7853 h 9440"/>
                <a:gd name="connsiteX19" fmla="*/ 2059 w 10000"/>
                <a:gd name="connsiteY19" fmla="*/ 7943 h 9440"/>
                <a:gd name="connsiteX20" fmla="*/ 2043 w 10000"/>
                <a:gd name="connsiteY20" fmla="*/ 8072 h 9440"/>
                <a:gd name="connsiteX21" fmla="*/ 2261 w 10000"/>
                <a:gd name="connsiteY21" fmla="*/ 8083 h 9440"/>
                <a:gd name="connsiteX22" fmla="*/ 2502 w 10000"/>
                <a:gd name="connsiteY22" fmla="*/ 8223 h 9440"/>
                <a:gd name="connsiteX23" fmla="*/ 2561 w 10000"/>
                <a:gd name="connsiteY23" fmla="*/ 8442 h 9440"/>
                <a:gd name="connsiteX24" fmla="*/ 2615 w 10000"/>
                <a:gd name="connsiteY24" fmla="*/ 8522 h 9440"/>
                <a:gd name="connsiteX25" fmla="*/ 2917 w 10000"/>
                <a:gd name="connsiteY25" fmla="*/ 8711 h 9440"/>
                <a:gd name="connsiteX26" fmla="*/ 2917 w 10000"/>
                <a:gd name="connsiteY26" fmla="*/ 8851 h 9440"/>
                <a:gd name="connsiteX27" fmla="*/ 3360 w 10000"/>
                <a:gd name="connsiteY27" fmla="*/ 9002 h 9440"/>
                <a:gd name="connsiteX28" fmla="*/ 3602 w 10000"/>
                <a:gd name="connsiteY28" fmla="*/ 8841 h 9440"/>
                <a:gd name="connsiteX29" fmla="*/ 3903 w 10000"/>
                <a:gd name="connsiteY29" fmla="*/ 8962 h 9440"/>
                <a:gd name="connsiteX30" fmla="*/ 4142 w 10000"/>
                <a:gd name="connsiteY30" fmla="*/ 8781 h 9440"/>
                <a:gd name="connsiteX31" fmla="*/ 4415 w 10000"/>
                <a:gd name="connsiteY31" fmla="*/ 9071 h 9440"/>
                <a:gd name="connsiteX32" fmla="*/ 4801 w 10000"/>
                <a:gd name="connsiteY32" fmla="*/ 9231 h 9440"/>
                <a:gd name="connsiteX33" fmla="*/ 4843 w 10000"/>
                <a:gd name="connsiteY33" fmla="*/ 9371 h 9440"/>
                <a:gd name="connsiteX34" fmla="*/ 5002 w 10000"/>
                <a:gd name="connsiteY34" fmla="*/ 9391 h 9440"/>
                <a:gd name="connsiteX35" fmla="*/ 5228 w 10000"/>
                <a:gd name="connsiteY35" fmla="*/ 9260 h 9440"/>
                <a:gd name="connsiteX36" fmla="*/ 5517 w 10000"/>
                <a:gd name="connsiteY36" fmla="*/ 9340 h 9440"/>
                <a:gd name="connsiteX37" fmla="*/ 5615 w 10000"/>
                <a:gd name="connsiteY37" fmla="*/ 9270 h 9440"/>
                <a:gd name="connsiteX38" fmla="*/ 5716 w 10000"/>
                <a:gd name="connsiteY38" fmla="*/ 9260 h 9440"/>
                <a:gd name="connsiteX39" fmla="*/ 5914 w 10000"/>
                <a:gd name="connsiteY39" fmla="*/ 9440 h 9440"/>
                <a:gd name="connsiteX40" fmla="*/ 6101 w 10000"/>
                <a:gd name="connsiteY40" fmla="*/ 9291 h 9440"/>
                <a:gd name="connsiteX41" fmla="*/ 6329 w 10000"/>
                <a:gd name="connsiteY41" fmla="*/ 9300 h 9440"/>
                <a:gd name="connsiteX42" fmla="*/ 6500 w 10000"/>
                <a:gd name="connsiteY42" fmla="*/ 9220 h 9440"/>
                <a:gd name="connsiteX43" fmla="*/ 6744 w 10000"/>
                <a:gd name="connsiteY43" fmla="*/ 9300 h 9440"/>
                <a:gd name="connsiteX44" fmla="*/ 7058 w 10000"/>
                <a:gd name="connsiteY44" fmla="*/ 9051 h 9440"/>
                <a:gd name="connsiteX45" fmla="*/ 7171 w 10000"/>
                <a:gd name="connsiteY45" fmla="*/ 9051 h 9440"/>
                <a:gd name="connsiteX46" fmla="*/ 7372 w 10000"/>
                <a:gd name="connsiteY46" fmla="*/ 8851 h 9440"/>
                <a:gd name="connsiteX47" fmla="*/ 8228 w 10000"/>
                <a:gd name="connsiteY47" fmla="*/ 8841 h 9440"/>
                <a:gd name="connsiteX48" fmla="*/ 8415 w 10000"/>
                <a:gd name="connsiteY48" fmla="*/ 8762 h 9440"/>
                <a:gd name="connsiteX49" fmla="*/ 8401 w 10000"/>
                <a:gd name="connsiteY49" fmla="*/ 8662 h 9440"/>
                <a:gd name="connsiteX50" fmla="*/ 8343 w 10000"/>
                <a:gd name="connsiteY50" fmla="*/ 8442 h 9440"/>
                <a:gd name="connsiteX51" fmla="*/ 7986 w 10000"/>
                <a:gd name="connsiteY51" fmla="*/ 8372 h 9440"/>
                <a:gd name="connsiteX52" fmla="*/ 7815 w 10000"/>
                <a:gd name="connsiteY52" fmla="*/ 8023 h 9440"/>
                <a:gd name="connsiteX53" fmla="*/ 7715 w 10000"/>
                <a:gd name="connsiteY53" fmla="*/ 7983 h 9440"/>
                <a:gd name="connsiteX54" fmla="*/ 7688 w 10000"/>
                <a:gd name="connsiteY54" fmla="*/ 7734 h 9440"/>
                <a:gd name="connsiteX55" fmla="*/ 7559 w 10000"/>
                <a:gd name="connsiteY55" fmla="*/ 7724 h 9440"/>
                <a:gd name="connsiteX56" fmla="*/ 7514 w 10000"/>
                <a:gd name="connsiteY56" fmla="*/ 7594 h 9440"/>
                <a:gd name="connsiteX57" fmla="*/ 7300 w 10000"/>
                <a:gd name="connsiteY57" fmla="*/ 7563 h 9440"/>
                <a:gd name="connsiteX58" fmla="*/ 7228 w 10000"/>
                <a:gd name="connsiteY58" fmla="*/ 7364 h 9440"/>
                <a:gd name="connsiteX59" fmla="*/ 6873 w 10000"/>
                <a:gd name="connsiteY59" fmla="*/ 7174 h 9440"/>
                <a:gd name="connsiteX60" fmla="*/ 6485 w 10000"/>
                <a:gd name="connsiteY60" fmla="*/ 7145 h 9440"/>
                <a:gd name="connsiteX61" fmla="*/ 6588 w 10000"/>
                <a:gd name="connsiteY61" fmla="*/ 6925 h 9440"/>
                <a:gd name="connsiteX62" fmla="*/ 6560 w 10000"/>
                <a:gd name="connsiteY62" fmla="*/ 6766 h 9440"/>
                <a:gd name="connsiteX63" fmla="*/ 6887 w 10000"/>
                <a:gd name="connsiteY63" fmla="*/ 6776 h 9440"/>
                <a:gd name="connsiteX64" fmla="*/ 6957 w 10000"/>
                <a:gd name="connsiteY64" fmla="*/ 6825 h 9440"/>
                <a:gd name="connsiteX65" fmla="*/ 7158 w 10000"/>
                <a:gd name="connsiteY65" fmla="*/ 6725 h 9440"/>
                <a:gd name="connsiteX66" fmla="*/ 7214 w 10000"/>
                <a:gd name="connsiteY66" fmla="*/ 6366 h 9440"/>
                <a:gd name="connsiteX67" fmla="*/ 7131 w 10000"/>
                <a:gd name="connsiteY67" fmla="*/ 6098 h 9440"/>
                <a:gd name="connsiteX68" fmla="*/ 7372 w 10000"/>
                <a:gd name="connsiteY68" fmla="*/ 5878 h 9440"/>
                <a:gd name="connsiteX69" fmla="*/ 7300 w 10000"/>
                <a:gd name="connsiteY69" fmla="*/ 5668 h 9440"/>
                <a:gd name="connsiteX70" fmla="*/ 7459 w 10000"/>
                <a:gd name="connsiteY70" fmla="*/ 5468 h 9440"/>
                <a:gd name="connsiteX71" fmla="*/ 7559 w 10000"/>
                <a:gd name="connsiteY71" fmla="*/ 5578 h 9440"/>
                <a:gd name="connsiteX72" fmla="*/ 7728 w 10000"/>
                <a:gd name="connsiteY72" fmla="*/ 5529 h 9440"/>
                <a:gd name="connsiteX73" fmla="*/ 7715 w 10000"/>
                <a:gd name="connsiteY73" fmla="*/ 5219 h 9440"/>
                <a:gd name="connsiteX74" fmla="*/ 7815 w 10000"/>
                <a:gd name="connsiteY74" fmla="*/ 5109 h 9440"/>
                <a:gd name="connsiteX75" fmla="*/ 7787 w 10000"/>
                <a:gd name="connsiteY75" fmla="*/ 4960 h 9440"/>
                <a:gd name="connsiteX76" fmla="*/ 8015 w 10000"/>
                <a:gd name="connsiteY76" fmla="*/ 4870 h 9440"/>
                <a:gd name="connsiteX77" fmla="*/ 8029 w 10000"/>
                <a:gd name="connsiteY77" fmla="*/ 4669 h 9440"/>
                <a:gd name="connsiteX78" fmla="*/ 8201 w 10000"/>
                <a:gd name="connsiteY78" fmla="*/ 4480 h 9440"/>
                <a:gd name="connsiteX79" fmla="*/ 8512 w 10000"/>
                <a:gd name="connsiteY79" fmla="*/ 4461 h 9440"/>
                <a:gd name="connsiteX80" fmla="*/ 8486 w 10000"/>
                <a:gd name="connsiteY80" fmla="*/ 4201 h 9440"/>
                <a:gd name="connsiteX81" fmla="*/ 8716 w 10000"/>
                <a:gd name="connsiteY81" fmla="*/ 3921 h 9440"/>
                <a:gd name="connsiteX82" fmla="*/ 8716 w 10000"/>
                <a:gd name="connsiteY82" fmla="*/ 3622 h 9440"/>
                <a:gd name="connsiteX83" fmla="*/ 8686 w 10000"/>
                <a:gd name="connsiteY83" fmla="*/ 3293 h 9440"/>
                <a:gd name="connsiteX84" fmla="*/ 8617 w 10000"/>
                <a:gd name="connsiteY84" fmla="*/ 3193 h 9440"/>
                <a:gd name="connsiteX85" fmla="*/ 8785 w 10000"/>
                <a:gd name="connsiteY85" fmla="*/ 3053 h 9440"/>
                <a:gd name="connsiteX86" fmla="*/ 8799 w 10000"/>
                <a:gd name="connsiteY86" fmla="*/ 2884 h 9440"/>
                <a:gd name="connsiteX87" fmla="*/ 8973 w 10000"/>
                <a:gd name="connsiteY87" fmla="*/ 2684 h 9440"/>
                <a:gd name="connsiteX88" fmla="*/ 8885 w 10000"/>
                <a:gd name="connsiteY88" fmla="*/ 2375 h 9440"/>
                <a:gd name="connsiteX89" fmla="*/ 9044 w 10000"/>
                <a:gd name="connsiteY89" fmla="*/ 2294 h 9440"/>
                <a:gd name="connsiteX90" fmla="*/ 9044 w 10000"/>
                <a:gd name="connsiteY90" fmla="*/ 2195 h 9440"/>
                <a:gd name="connsiteX91" fmla="*/ 9312 w 10000"/>
                <a:gd name="connsiteY91" fmla="*/ 2126 h 9440"/>
                <a:gd name="connsiteX92" fmla="*/ 9327 w 10000"/>
                <a:gd name="connsiteY92" fmla="*/ 1976 h 9440"/>
                <a:gd name="connsiteX93" fmla="*/ 9844 w 10000"/>
                <a:gd name="connsiteY93" fmla="*/ 1875 h 9440"/>
                <a:gd name="connsiteX94" fmla="*/ 10000 w 10000"/>
                <a:gd name="connsiteY94" fmla="*/ 1626 h 9440"/>
                <a:gd name="connsiteX95" fmla="*/ 9644 w 10000"/>
                <a:gd name="connsiteY95" fmla="*/ 1476 h 9440"/>
                <a:gd name="connsiteX96" fmla="*/ 9516 w 10000"/>
                <a:gd name="connsiteY96" fmla="*/ 1277 h 9440"/>
                <a:gd name="connsiteX97" fmla="*/ 9158 w 10000"/>
                <a:gd name="connsiteY97" fmla="*/ 1197 h 9440"/>
                <a:gd name="connsiteX98" fmla="*/ 9088 w 10000"/>
                <a:gd name="connsiteY98" fmla="*/ 678 h 9440"/>
                <a:gd name="connsiteX99" fmla="*/ 8986 w 10000"/>
                <a:gd name="connsiteY99" fmla="*/ 658 h 9440"/>
                <a:gd name="connsiteX100" fmla="*/ 8957 w 10000"/>
                <a:gd name="connsiteY100" fmla="*/ 189 h 9440"/>
                <a:gd name="connsiteX101" fmla="*/ 8885 w 10000"/>
                <a:gd name="connsiteY101" fmla="*/ 30 h 9440"/>
                <a:gd name="connsiteX102" fmla="*/ 9058 w 10000"/>
                <a:gd name="connsiteY102" fmla="*/ 0 h 9440"/>
                <a:gd name="connsiteX0" fmla="*/ 8885 w 10000"/>
                <a:gd name="connsiteY0" fmla="*/ 0 h 9968"/>
                <a:gd name="connsiteX1" fmla="*/ 4796 w 10000"/>
                <a:gd name="connsiteY1" fmla="*/ 5301 h 9968"/>
                <a:gd name="connsiteX2" fmla="*/ 1754 w 10000"/>
                <a:gd name="connsiteY2" fmla="*/ 5287 h 9968"/>
                <a:gd name="connsiteX3" fmla="*/ 769 w 10000"/>
                <a:gd name="connsiteY3" fmla="*/ 6166 h 9968"/>
                <a:gd name="connsiteX4" fmla="*/ 175 w 10000"/>
                <a:gd name="connsiteY4" fmla="*/ 6373 h 9968"/>
                <a:gd name="connsiteX5" fmla="*/ 2 w 10000"/>
                <a:gd name="connsiteY5" fmla="*/ 6786 h 9968"/>
                <a:gd name="connsiteX6" fmla="*/ 117 w 10000"/>
                <a:gd name="connsiteY6" fmla="*/ 6860 h 9968"/>
                <a:gd name="connsiteX7" fmla="*/ 32 w 10000"/>
                <a:gd name="connsiteY7" fmla="*/ 6975 h 9968"/>
                <a:gd name="connsiteX8" fmla="*/ 518 w 10000"/>
                <a:gd name="connsiteY8" fmla="*/ 7007 h 9968"/>
                <a:gd name="connsiteX9" fmla="*/ 518 w 10000"/>
                <a:gd name="connsiteY9" fmla="*/ 7082 h 9968"/>
                <a:gd name="connsiteX10" fmla="*/ 502 w 10000"/>
                <a:gd name="connsiteY10" fmla="*/ 7252 h 9968"/>
                <a:gd name="connsiteX11" fmla="*/ 1016 w 10000"/>
                <a:gd name="connsiteY11" fmla="*/ 7314 h 9968"/>
                <a:gd name="connsiteX12" fmla="*/ 1016 w 10000"/>
                <a:gd name="connsiteY12" fmla="*/ 7452 h 9968"/>
                <a:gd name="connsiteX13" fmla="*/ 1288 w 10000"/>
                <a:gd name="connsiteY13" fmla="*/ 7558 h 9968"/>
                <a:gd name="connsiteX14" fmla="*/ 1203 w 10000"/>
                <a:gd name="connsiteY14" fmla="*/ 7716 h 9968"/>
                <a:gd name="connsiteX15" fmla="*/ 1586 w 10000"/>
                <a:gd name="connsiteY15" fmla="*/ 7854 h 9968"/>
                <a:gd name="connsiteX16" fmla="*/ 1817 w 10000"/>
                <a:gd name="connsiteY16" fmla="*/ 8107 h 9968"/>
                <a:gd name="connsiteX17" fmla="*/ 2030 w 10000"/>
                <a:gd name="connsiteY17" fmla="*/ 8203 h 9968"/>
                <a:gd name="connsiteX18" fmla="*/ 1945 w 10000"/>
                <a:gd name="connsiteY18" fmla="*/ 8287 h 9968"/>
                <a:gd name="connsiteX19" fmla="*/ 2059 w 10000"/>
                <a:gd name="connsiteY19" fmla="*/ 8382 h 9968"/>
                <a:gd name="connsiteX20" fmla="*/ 2043 w 10000"/>
                <a:gd name="connsiteY20" fmla="*/ 8519 h 9968"/>
                <a:gd name="connsiteX21" fmla="*/ 2261 w 10000"/>
                <a:gd name="connsiteY21" fmla="*/ 8531 h 9968"/>
                <a:gd name="connsiteX22" fmla="*/ 2502 w 10000"/>
                <a:gd name="connsiteY22" fmla="*/ 8679 h 9968"/>
                <a:gd name="connsiteX23" fmla="*/ 2561 w 10000"/>
                <a:gd name="connsiteY23" fmla="*/ 8911 h 9968"/>
                <a:gd name="connsiteX24" fmla="*/ 2615 w 10000"/>
                <a:gd name="connsiteY24" fmla="*/ 8996 h 9968"/>
                <a:gd name="connsiteX25" fmla="*/ 2917 w 10000"/>
                <a:gd name="connsiteY25" fmla="*/ 9196 h 9968"/>
                <a:gd name="connsiteX26" fmla="*/ 2917 w 10000"/>
                <a:gd name="connsiteY26" fmla="*/ 9344 h 9968"/>
                <a:gd name="connsiteX27" fmla="*/ 3360 w 10000"/>
                <a:gd name="connsiteY27" fmla="*/ 9504 h 9968"/>
                <a:gd name="connsiteX28" fmla="*/ 3602 w 10000"/>
                <a:gd name="connsiteY28" fmla="*/ 9333 h 9968"/>
                <a:gd name="connsiteX29" fmla="*/ 3903 w 10000"/>
                <a:gd name="connsiteY29" fmla="*/ 9462 h 9968"/>
                <a:gd name="connsiteX30" fmla="*/ 4142 w 10000"/>
                <a:gd name="connsiteY30" fmla="*/ 9270 h 9968"/>
                <a:gd name="connsiteX31" fmla="*/ 4415 w 10000"/>
                <a:gd name="connsiteY31" fmla="*/ 9577 h 9968"/>
                <a:gd name="connsiteX32" fmla="*/ 4801 w 10000"/>
                <a:gd name="connsiteY32" fmla="*/ 9747 h 9968"/>
                <a:gd name="connsiteX33" fmla="*/ 4843 w 10000"/>
                <a:gd name="connsiteY33" fmla="*/ 9895 h 9968"/>
                <a:gd name="connsiteX34" fmla="*/ 5002 w 10000"/>
                <a:gd name="connsiteY34" fmla="*/ 9916 h 9968"/>
                <a:gd name="connsiteX35" fmla="*/ 5228 w 10000"/>
                <a:gd name="connsiteY35" fmla="*/ 9777 h 9968"/>
                <a:gd name="connsiteX36" fmla="*/ 5517 w 10000"/>
                <a:gd name="connsiteY36" fmla="*/ 9862 h 9968"/>
                <a:gd name="connsiteX37" fmla="*/ 5615 w 10000"/>
                <a:gd name="connsiteY37" fmla="*/ 9788 h 9968"/>
                <a:gd name="connsiteX38" fmla="*/ 5716 w 10000"/>
                <a:gd name="connsiteY38" fmla="*/ 9777 h 9968"/>
                <a:gd name="connsiteX39" fmla="*/ 5914 w 10000"/>
                <a:gd name="connsiteY39" fmla="*/ 9968 h 9968"/>
                <a:gd name="connsiteX40" fmla="*/ 6101 w 10000"/>
                <a:gd name="connsiteY40" fmla="*/ 9810 h 9968"/>
                <a:gd name="connsiteX41" fmla="*/ 6329 w 10000"/>
                <a:gd name="connsiteY41" fmla="*/ 9820 h 9968"/>
                <a:gd name="connsiteX42" fmla="*/ 6500 w 10000"/>
                <a:gd name="connsiteY42" fmla="*/ 9735 h 9968"/>
                <a:gd name="connsiteX43" fmla="*/ 6744 w 10000"/>
                <a:gd name="connsiteY43" fmla="*/ 9820 h 9968"/>
                <a:gd name="connsiteX44" fmla="*/ 7058 w 10000"/>
                <a:gd name="connsiteY44" fmla="*/ 9556 h 9968"/>
                <a:gd name="connsiteX45" fmla="*/ 7171 w 10000"/>
                <a:gd name="connsiteY45" fmla="*/ 9556 h 9968"/>
                <a:gd name="connsiteX46" fmla="*/ 7372 w 10000"/>
                <a:gd name="connsiteY46" fmla="*/ 9344 h 9968"/>
                <a:gd name="connsiteX47" fmla="*/ 8228 w 10000"/>
                <a:gd name="connsiteY47" fmla="*/ 9333 h 9968"/>
                <a:gd name="connsiteX48" fmla="*/ 8415 w 10000"/>
                <a:gd name="connsiteY48" fmla="*/ 9250 h 9968"/>
                <a:gd name="connsiteX49" fmla="*/ 8401 w 10000"/>
                <a:gd name="connsiteY49" fmla="*/ 9144 h 9968"/>
                <a:gd name="connsiteX50" fmla="*/ 8343 w 10000"/>
                <a:gd name="connsiteY50" fmla="*/ 8911 h 9968"/>
                <a:gd name="connsiteX51" fmla="*/ 7986 w 10000"/>
                <a:gd name="connsiteY51" fmla="*/ 8837 h 9968"/>
                <a:gd name="connsiteX52" fmla="*/ 7815 w 10000"/>
                <a:gd name="connsiteY52" fmla="*/ 8467 h 9968"/>
                <a:gd name="connsiteX53" fmla="*/ 7715 w 10000"/>
                <a:gd name="connsiteY53" fmla="*/ 8425 h 9968"/>
                <a:gd name="connsiteX54" fmla="*/ 7688 w 10000"/>
                <a:gd name="connsiteY54" fmla="*/ 8161 h 9968"/>
                <a:gd name="connsiteX55" fmla="*/ 7559 w 10000"/>
                <a:gd name="connsiteY55" fmla="*/ 8150 h 9968"/>
                <a:gd name="connsiteX56" fmla="*/ 7514 w 10000"/>
                <a:gd name="connsiteY56" fmla="*/ 8012 h 9968"/>
                <a:gd name="connsiteX57" fmla="*/ 7300 w 10000"/>
                <a:gd name="connsiteY57" fmla="*/ 7980 h 9968"/>
                <a:gd name="connsiteX58" fmla="*/ 7228 w 10000"/>
                <a:gd name="connsiteY58" fmla="*/ 7769 h 9968"/>
                <a:gd name="connsiteX59" fmla="*/ 6873 w 10000"/>
                <a:gd name="connsiteY59" fmla="*/ 7568 h 9968"/>
                <a:gd name="connsiteX60" fmla="*/ 6485 w 10000"/>
                <a:gd name="connsiteY60" fmla="*/ 7537 h 9968"/>
                <a:gd name="connsiteX61" fmla="*/ 6588 w 10000"/>
                <a:gd name="connsiteY61" fmla="*/ 7304 h 9968"/>
                <a:gd name="connsiteX62" fmla="*/ 6560 w 10000"/>
                <a:gd name="connsiteY62" fmla="*/ 7135 h 9968"/>
                <a:gd name="connsiteX63" fmla="*/ 6887 w 10000"/>
                <a:gd name="connsiteY63" fmla="*/ 7146 h 9968"/>
                <a:gd name="connsiteX64" fmla="*/ 6957 w 10000"/>
                <a:gd name="connsiteY64" fmla="*/ 7198 h 9968"/>
                <a:gd name="connsiteX65" fmla="*/ 7158 w 10000"/>
                <a:gd name="connsiteY65" fmla="*/ 7092 h 9968"/>
                <a:gd name="connsiteX66" fmla="*/ 7214 w 10000"/>
                <a:gd name="connsiteY66" fmla="*/ 6712 h 9968"/>
                <a:gd name="connsiteX67" fmla="*/ 7131 w 10000"/>
                <a:gd name="connsiteY67" fmla="*/ 6428 h 9968"/>
                <a:gd name="connsiteX68" fmla="*/ 7372 w 10000"/>
                <a:gd name="connsiteY68" fmla="*/ 6195 h 9968"/>
                <a:gd name="connsiteX69" fmla="*/ 7300 w 10000"/>
                <a:gd name="connsiteY69" fmla="*/ 5972 h 9968"/>
                <a:gd name="connsiteX70" fmla="*/ 7459 w 10000"/>
                <a:gd name="connsiteY70" fmla="*/ 5760 h 9968"/>
                <a:gd name="connsiteX71" fmla="*/ 7559 w 10000"/>
                <a:gd name="connsiteY71" fmla="*/ 5877 h 9968"/>
                <a:gd name="connsiteX72" fmla="*/ 7728 w 10000"/>
                <a:gd name="connsiteY72" fmla="*/ 5825 h 9968"/>
                <a:gd name="connsiteX73" fmla="*/ 7715 w 10000"/>
                <a:gd name="connsiteY73" fmla="*/ 5497 h 9968"/>
                <a:gd name="connsiteX74" fmla="*/ 7815 w 10000"/>
                <a:gd name="connsiteY74" fmla="*/ 5380 h 9968"/>
                <a:gd name="connsiteX75" fmla="*/ 7787 w 10000"/>
                <a:gd name="connsiteY75" fmla="*/ 5222 h 9968"/>
                <a:gd name="connsiteX76" fmla="*/ 8015 w 10000"/>
                <a:gd name="connsiteY76" fmla="*/ 5127 h 9968"/>
                <a:gd name="connsiteX77" fmla="*/ 8029 w 10000"/>
                <a:gd name="connsiteY77" fmla="*/ 4914 h 9968"/>
                <a:gd name="connsiteX78" fmla="*/ 8201 w 10000"/>
                <a:gd name="connsiteY78" fmla="*/ 4714 h 9968"/>
                <a:gd name="connsiteX79" fmla="*/ 8512 w 10000"/>
                <a:gd name="connsiteY79" fmla="*/ 4694 h 9968"/>
                <a:gd name="connsiteX80" fmla="*/ 8486 w 10000"/>
                <a:gd name="connsiteY80" fmla="*/ 4418 h 9968"/>
                <a:gd name="connsiteX81" fmla="*/ 8716 w 10000"/>
                <a:gd name="connsiteY81" fmla="*/ 4122 h 9968"/>
                <a:gd name="connsiteX82" fmla="*/ 8716 w 10000"/>
                <a:gd name="connsiteY82" fmla="*/ 3805 h 9968"/>
                <a:gd name="connsiteX83" fmla="*/ 8686 w 10000"/>
                <a:gd name="connsiteY83" fmla="*/ 3456 h 9968"/>
                <a:gd name="connsiteX84" fmla="*/ 8617 w 10000"/>
                <a:gd name="connsiteY84" fmla="*/ 3350 h 9968"/>
                <a:gd name="connsiteX85" fmla="*/ 8785 w 10000"/>
                <a:gd name="connsiteY85" fmla="*/ 3202 h 9968"/>
                <a:gd name="connsiteX86" fmla="*/ 8799 w 10000"/>
                <a:gd name="connsiteY86" fmla="*/ 3023 h 9968"/>
                <a:gd name="connsiteX87" fmla="*/ 8973 w 10000"/>
                <a:gd name="connsiteY87" fmla="*/ 2811 h 9968"/>
                <a:gd name="connsiteX88" fmla="*/ 8885 w 10000"/>
                <a:gd name="connsiteY88" fmla="*/ 2484 h 9968"/>
                <a:gd name="connsiteX89" fmla="*/ 9044 w 10000"/>
                <a:gd name="connsiteY89" fmla="*/ 2398 h 9968"/>
                <a:gd name="connsiteX90" fmla="*/ 9044 w 10000"/>
                <a:gd name="connsiteY90" fmla="*/ 2293 h 9968"/>
                <a:gd name="connsiteX91" fmla="*/ 9312 w 10000"/>
                <a:gd name="connsiteY91" fmla="*/ 2220 h 9968"/>
                <a:gd name="connsiteX92" fmla="*/ 9327 w 10000"/>
                <a:gd name="connsiteY92" fmla="*/ 2061 h 9968"/>
                <a:gd name="connsiteX93" fmla="*/ 9844 w 10000"/>
                <a:gd name="connsiteY93" fmla="*/ 1954 h 9968"/>
                <a:gd name="connsiteX94" fmla="*/ 10000 w 10000"/>
                <a:gd name="connsiteY94" fmla="*/ 1690 h 9968"/>
                <a:gd name="connsiteX95" fmla="*/ 9644 w 10000"/>
                <a:gd name="connsiteY95" fmla="*/ 1532 h 9968"/>
                <a:gd name="connsiteX96" fmla="*/ 9516 w 10000"/>
                <a:gd name="connsiteY96" fmla="*/ 1321 h 9968"/>
                <a:gd name="connsiteX97" fmla="*/ 9158 w 10000"/>
                <a:gd name="connsiteY97" fmla="*/ 1236 h 9968"/>
                <a:gd name="connsiteX98" fmla="*/ 9088 w 10000"/>
                <a:gd name="connsiteY98" fmla="*/ 686 h 9968"/>
                <a:gd name="connsiteX99" fmla="*/ 8986 w 10000"/>
                <a:gd name="connsiteY99" fmla="*/ 665 h 9968"/>
                <a:gd name="connsiteX100" fmla="*/ 8957 w 10000"/>
                <a:gd name="connsiteY100" fmla="*/ 168 h 9968"/>
                <a:gd name="connsiteX101" fmla="*/ 8885 w 10000"/>
                <a:gd name="connsiteY101" fmla="*/ 0 h 9968"/>
                <a:gd name="connsiteX0" fmla="*/ 8957 w 10000"/>
                <a:gd name="connsiteY0" fmla="*/ 250 h 10081"/>
                <a:gd name="connsiteX1" fmla="*/ 4796 w 10000"/>
                <a:gd name="connsiteY1" fmla="*/ 5399 h 10081"/>
                <a:gd name="connsiteX2" fmla="*/ 1754 w 10000"/>
                <a:gd name="connsiteY2" fmla="*/ 5385 h 10081"/>
                <a:gd name="connsiteX3" fmla="*/ 769 w 10000"/>
                <a:gd name="connsiteY3" fmla="*/ 6267 h 10081"/>
                <a:gd name="connsiteX4" fmla="*/ 175 w 10000"/>
                <a:gd name="connsiteY4" fmla="*/ 6474 h 10081"/>
                <a:gd name="connsiteX5" fmla="*/ 2 w 10000"/>
                <a:gd name="connsiteY5" fmla="*/ 6889 h 10081"/>
                <a:gd name="connsiteX6" fmla="*/ 117 w 10000"/>
                <a:gd name="connsiteY6" fmla="*/ 6963 h 10081"/>
                <a:gd name="connsiteX7" fmla="*/ 32 w 10000"/>
                <a:gd name="connsiteY7" fmla="*/ 7078 h 10081"/>
                <a:gd name="connsiteX8" fmla="*/ 518 w 10000"/>
                <a:gd name="connsiteY8" fmla="*/ 7110 h 10081"/>
                <a:gd name="connsiteX9" fmla="*/ 518 w 10000"/>
                <a:gd name="connsiteY9" fmla="*/ 7186 h 10081"/>
                <a:gd name="connsiteX10" fmla="*/ 502 w 10000"/>
                <a:gd name="connsiteY10" fmla="*/ 7356 h 10081"/>
                <a:gd name="connsiteX11" fmla="*/ 1016 w 10000"/>
                <a:gd name="connsiteY11" fmla="*/ 7418 h 10081"/>
                <a:gd name="connsiteX12" fmla="*/ 1016 w 10000"/>
                <a:gd name="connsiteY12" fmla="*/ 7557 h 10081"/>
                <a:gd name="connsiteX13" fmla="*/ 1288 w 10000"/>
                <a:gd name="connsiteY13" fmla="*/ 7663 h 10081"/>
                <a:gd name="connsiteX14" fmla="*/ 1203 w 10000"/>
                <a:gd name="connsiteY14" fmla="*/ 7822 h 10081"/>
                <a:gd name="connsiteX15" fmla="*/ 1586 w 10000"/>
                <a:gd name="connsiteY15" fmla="*/ 7960 h 10081"/>
                <a:gd name="connsiteX16" fmla="*/ 1817 w 10000"/>
                <a:gd name="connsiteY16" fmla="*/ 8214 h 10081"/>
                <a:gd name="connsiteX17" fmla="*/ 2030 w 10000"/>
                <a:gd name="connsiteY17" fmla="*/ 8310 h 10081"/>
                <a:gd name="connsiteX18" fmla="*/ 1945 w 10000"/>
                <a:gd name="connsiteY18" fmla="*/ 8395 h 10081"/>
                <a:gd name="connsiteX19" fmla="*/ 2059 w 10000"/>
                <a:gd name="connsiteY19" fmla="*/ 8490 h 10081"/>
                <a:gd name="connsiteX20" fmla="*/ 2043 w 10000"/>
                <a:gd name="connsiteY20" fmla="*/ 8627 h 10081"/>
                <a:gd name="connsiteX21" fmla="*/ 2261 w 10000"/>
                <a:gd name="connsiteY21" fmla="*/ 8639 h 10081"/>
                <a:gd name="connsiteX22" fmla="*/ 2502 w 10000"/>
                <a:gd name="connsiteY22" fmla="*/ 8788 h 10081"/>
                <a:gd name="connsiteX23" fmla="*/ 2561 w 10000"/>
                <a:gd name="connsiteY23" fmla="*/ 9021 h 10081"/>
                <a:gd name="connsiteX24" fmla="*/ 2615 w 10000"/>
                <a:gd name="connsiteY24" fmla="*/ 9106 h 10081"/>
                <a:gd name="connsiteX25" fmla="*/ 2917 w 10000"/>
                <a:gd name="connsiteY25" fmla="*/ 9307 h 10081"/>
                <a:gd name="connsiteX26" fmla="*/ 2917 w 10000"/>
                <a:gd name="connsiteY26" fmla="*/ 9455 h 10081"/>
                <a:gd name="connsiteX27" fmla="*/ 3360 w 10000"/>
                <a:gd name="connsiteY27" fmla="*/ 9616 h 10081"/>
                <a:gd name="connsiteX28" fmla="*/ 3602 w 10000"/>
                <a:gd name="connsiteY28" fmla="*/ 9444 h 10081"/>
                <a:gd name="connsiteX29" fmla="*/ 3903 w 10000"/>
                <a:gd name="connsiteY29" fmla="*/ 9573 h 10081"/>
                <a:gd name="connsiteX30" fmla="*/ 4142 w 10000"/>
                <a:gd name="connsiteY30" fmla="*/ 9381 h 10081"/>
                <a:gd name="connsiteX31" fmla="*/ 4415 w 10000"/>
                <a:gd name="connsiteY31" fmla="*/ 9689 h 10081"/>
                <a:gd name="connsiteX32" fmla="*/ 4801 w 10000"/>
                <a:gd name="connsiteY32" fmla="*/ 9859 h 10081"/>
                <a:gd name="connsiteX33" fmla="*/ 4843 w 10000"/>
                <a:gd name="connsiteY33" fmla="*/ 10008 h 10081"/>
                <a:gd name="connsiteX34" fmla="*/ 5002 w 10000"/>
                <a:gd name="connsiteY34" fmla="*/ 10029 h 10081"/>
                <a:gd name="connsiteX35" fmla="*/ 5228 w 10000"/>
                <a:gd name="connsiteY35" fmla="*/ 9889 h 10081"/>
                <a:gd name="connsiteX36" fmla="*/ 5517 w 10000"/>
                <a:gd name="connsiteY36" fmla="*/ 9975 h 10081"/>
                <a:gd name="connsiteX37" fmla="*/ 5615 w 10000"/>
                <a:gd name="connsiteY37" fmla="*/ 9900 h 10081"/>
                <a:gd name="connsiteX38" fmla="*/ 5716 w 10000"/>
                <a:gd name="connsiteY38" fmla="*/ 9889 h 10081"/>
                <a:gd name="connsiteX39" fmla="*/ 5914 w 10000"/>
                <a:gd name="connsiteY39" fmla="*/ 10081 h 10081"/>
                <a:gd name="connsiteX40" fmla="*/ 6101 w 10000"/>
                <a:gd name="connsiteY40" fmla="*/ 9922 h 10081"/>
                <a:gd name="connsiteX41" fmla="*/ 6329 w 10000"/>
                <a:gd name="connsiteY41" fmla="*/ 9933 h 10081"/>
                <a:gd name="connsiteX42" fmla="*/ 6500 w 10000"/>
                <a:gd name="connsiteY42" fmla="*/ 9847 h 10081"/>
                <a:gd name="connsiteX43" fmla="*/ 6744 w 10000"/>
                <a:gd name="connsiteY43" fmla="*/ 9933 h 10081"/>
                <a:gd name="connsiteX44" fmla="*/ 7058 w 10000"/>
                <a:gd name="connsiteY44" fmla="*/ 9668 h 10081"/>
                <a:gd name="connsiteX45" fmla="*/ 7171 w 10000"/>
                <a:gd name="connsiteY45" fmla="*/ 9668 h 10081"/>
                <a:gd name="connsiteX46" fmla="*/ 7372 w 10000"/>
                <a:gd name="connsiteY46" fmla="*/ 9455 h 10081"/>
                <a:gd name="connsiteX47" fmla="*/ 8228 w 10000"/>
                <a:gd name="connsiteY47" fmla="*/ 9444 h 10081"/>
                <a:gd name="connsiteX48" fmla="*/ 8415 w 10000"/>
                <a:gd name="connsiteY48" fmla="*/ 9361 h 10081"/>
                <a:gd name="connsiteX49" fmla="*/ 8401 w 10000"/>
                <a:gd name="connsiteY49" fmla="*/ 9254 h 10081"/>
                <a:gd name="connsiteX50" fmla="*/ 8343 w 10000"/>
                <a:gd name="connsiteY50" fmla="*/ 9021 h 10081"/>
                <a:gd name="connsiteX51" fmla="*/ 7986 w 10000"/>
                <a:gd name="connsiteY51" fmla="*/ 8946 h 10081"/>
                <a:gd name="connsiteX52" fmla="*/ 7815 w 10000"/>
                <a:gd name="connsiteY52" fmla="*/ 8575 h 10081"/>
                <a:gd name="connsiteX53" fmla="*/ 7715 w 10000"/>
                <a:gd name="connsiteY53" fmla="*/ 8533 h 10081"/>
                <a:gd name="connsiteX54" fmla="*/ 7688 w 10000"/>
                <a:gd name="connsiteY54" fmla="*/ 8268 h 10081"/>
                <a:gd name="connsiteX55" fmla="*/ 7559 w 10000"/>
                <a:gd name="connsiteY55" fmla="*/ 8257 h 10081"/>
                <a:gd name="connsiteX56" fmla="*/ 7514 w 10000"/>
                <a:gd name="connsiteY56" fmla="*/ 8119 h 10081"/>
                <a:gd name="connsiteX57" fmla="*/ 7300 w 10000"/>
                <a:gd name="connsiteY57" fmla="*/ 8087 h 10081"/>
                <a:gd name="connsiteX58" fmla="*/ 7228 w 10000"/>
                <a:gd name="connsiteY58" fmla="*/ 7875 h 10081"/>
                <a:gd name="connsiteX59" fmla="*/ 6873 w 10000"/>
                <a:gd name="connsiteY59" fmla="*/ 7673 h 10081"/>
                <a:gd name="connsiteX60" fmla="*/ 6485 w 10000"/>
                <a:gd name="connsiteY60" fmla="*/ 7642 h 10081"/>
                <a:gd name="connsiteX61" fmla="*/ 6588 w 10000"/>
                <a:gd name="connsiteY61" fmla="*/ 7408 h 10081"/>
                <a:gd name="connsiteX62" fmla="*/ 6560 w 10000"/>
                <a:gd name="connsiteY62" fmla="*/ 7239 h 10081"/>
                <a:gd name="connsiteX63" fmla="*/ 6887 w 10000"/>
                <a:gd name="connsiteY63" fmla="*/ 7250 h 10081"/>
                <a:gd name="connsiteX64" fmla="*/ 6957 w 10000"/>
                <a:gd name="connsiteY64" fmla="*/ 7302 h 10081"/>
                <a:gd name="connsiteX65" fmla="*/ 7158 w 10000"/>
                <a:gd name="connsiteY65" fmla="*/ 7196 h 10081"/>
                <a:gd name="connsiteX66" fmla="*/ 7214 w 10000"/>
                <a:gd name="connsiteY66" fmla="*/ 6815 h 10081"/>
                <a:gd name="connsiteX67" fmla="*/ 7131 w 10000"/>
                <a:gd name="connsiteY67" fmla="*/ 6530 h 10081"/>
                <a:gd name="connsiteX68" fmla="*/ 7372 w 10000"/>
                <a:gd name="connsiteY68" fmla="*/ 6296 h 10081"/>
                <a:gd name="connsiteX69" fmla="*/ 7300 w 10000"/>
                <a:gd name="connsiteY69" fmla="*/ 6072 h 10081"/>
                <a:gd name="connsiteX70" fmla="*/ 7459 w 10000"/>
                <a:gd name="connsiteY70" fmla="*/ 5859 h 10081"/>
                <a:gd name="connsiteX71" fmla="*/ 7559 w 10000"/>
                <a:gd name="connsiteY71" fmla="*/ 5977 h 10081"/>
                <a:gd name="connsiteX72" fmla="*/ 7728 w 10000"/>
                <a:gd name="connsiteY72" fmla="*/ 5925 h 10081"/>
                <a:gd name="connsiteX73" fmla="*/ 7715 w 10000"/>
                <a:gd name="connsiteY73" fmla="*/ 5596 h 10081"/>
                <a:gd name="connsiteX74" fmla="*/ 7815 w 10000"/>
                <a:gd name="connsiteY74" fmla="*/ 5478 h 10081"/>
                <a:gd name="connsiteX75" fmla="*/ 7787 w 10000"/>
                <a:gd name="connsiteY75" fmla="*/ 5320 h 10081"/>
                <a:gd name="connsiteX76" fmla="*/ 8015 w 10000"/>
                <a:gd name="connsiteY76" fmla="*/ 5224 h 10081"/>
                <a:gd name="connsiteX77" fmla="*/ 8029 w 10000"/>
                <a:gd name="connsiteY77" fmla="*/ 5011 h 10081"/>
                <a:gd name="connsiteX78" fmla="*/ 8201 w 10000"/>
                <a:gd name="connsiteY78" fmla="*/ 4810 h 10081"/>
                <a:gd name="connsiteX79" fmla="*/ 8512 w 10000"/>
                <a:gd name="connsiteY79" fmla="*/ 4790 h 10081"/>
                <a:gd name="connsiteX80" fmla="*/ 8486 w 10000"/>
                <a:gd name="connsiteY80" fmla="*/ 4513 h 10081"/>
                <a:gd name="connsiteX81" fmla="*/ 8716 w 10000"/>
                <a:gd name="connsiteY81" fmla="*/ 4216 h 10081"/>
                <a:gd name="connsiteX82" fmla="*/ 8716 w 10000"/>
                <a:gd name="connsiteY82" fmla="*/ 3898 h 10081"/>
                <a:gd name="connsiteX83" fmla="*/ 8686 w 10000"/>
                <a:gd name="connsiteY83" fmla="*/ 3548 h 10081"/>
                <a:gd name="connsiteX84" fmla="*/ 8617 w 10000"/>
                <a:gd name="connsiteY84" fmla="*/ 3442 h 10081"/>
                <a:gd name="connsiteX85" fmla="*/ 8785 w 10000"/>
                <a:gd name="connsiteY85" fmla="*/ 3293 h 10081"/>
                <a:gd name="connsiteX86" fmla="*/ 8799 w 10000"/>
                <a:gd name="connsiteY86" fmla="*/ 3114 h 10081"/>
                <a:gd name="connsiteX87" fmla="*/ 8973 w 10000"/>
                <a:gd name="connsiteY87" fmla="*/ 2901 h 10081"/>
                <a:gd name="connsiteX88" fmla="*/ 8885 w 10000"/>
                <a:gd name="connsiteY88" fmla="*/ 2573 h 10081"/>
                <a:gd name="connsiteX89" fmla="*/ 9044 w 10000"/>
                <a:gd name="connsiteY89" fmla="*/ 2487 h 10081"/>
                <a:gd name="connsiteX90" fmla="*/ 9044 w 10000"/>
                <a:gd name="connsiteY90" fmla="*/ 2381 h 10081"/>
                <a:gd name="connsiteX91" fmla="*/ 9312 w 10000"/>
                <a:gd name="connsiteY91" fmla="*/ 2308 h 10081"/>
                <a:gd name="connsiteX92" fmla="*/ 9327 w 10000"/>
                <a:gd name="connsiteY92" fmla="*/ 2149 h 10081"/>
                <a:gd name="connsiteX93" fmla="*/ 9844 w 10000"/>
                <a:gd name="connsiteY93" fmla="*/ 2041 h 10081"/>
                <a:gd name="connsiteX94" fmla="*/ 10000 w 10000"/>
                <a:gd name="connsiteY94" fmla="*/ 1776 h 10081"/>
                <a:gd name="connsiteX95" fmla="*/ 9644 w 10000"/>
                <a:gd name="connsiteY95" fmla="*/ 1618 h 10081"/>
                <a:gd name="connsiteX96" fmla="*/ 9516 w 10000"/>
                <a:gd name="connsiteY96" fmla="*/ 1406 h 10081"/>
                <a:gd name="connsiteX97" fmla="*/ 9158 w 10000"/>
                <a:gd name="connsiteY97" fmla="*/ 1321 h 10081"/>
                <a:gd name="connsiteX98" fmla="*/ 9088 w 10000"/>
                <a:gd name="connsiteY98" fmla="*/ 769 h 10081"/>
                <a:gd name="connsiteX99" fmla="*/ 8986 w 10000"/>
                <a:gd name="connsiteY99" fmla="*/ 748 h 10081"/>
                <a:gd name="connsiteX100" fmla="*/ 8957 w 10000"/>
                <a:gd name="connsiteY100" fmla="*/ 250 h 10081"/>
                <a:gd name="connsiteX0" fmla="*/ 8986 w 10000"/>
                <a:gd name="connsiteY0" fmla="*/ 0 h 9333"/>
                <a:gd name="connsiteX1" fmla="*/ 4796 w 10000"/>
                <a:gd name="connsiteY1" fmla="*/ 4651 h 9333"/>
                <a:gd name="connsiteX2" fmla="*/ 1754 w 10000"/>
                <a:gd name="connsiteY2" fmla="*/ 4637 h 9333"/>
                <a:gd name="connsiteX3" fmla="*/ 769 w 10000"/>
                <a:gd name="connsiteY3" fmla="*/ 5519 h 9333"/>
                <a:gd name="connsiteX4" fmla="*/ 175 w 10000"/>
                <a:gd name="connsiteY4" fmla="*/ 5726 h 9333"/>
                <a:gd name="connsiteX5" fmla="*/ 2 w 10000"/>
                <a:gd name="connsiteY5" fmla="*/ 6141 h 9333"/>
                <a:gd name="connsiteX6" fmla="*/ 117 w 10000"/>
                <a:gd name="connsiteY6" fmla="*/ 6215 h 9333"/>
                <a:gd name="connsiteX7" fmla="*/ 32 w 10000"/>
                <a:gd name="connsiteY7" fmla="*/ 6330 h 9333"/>
                <a:gd name="connsiteX8" fmla="*/ 518 w 10000"/>
                <a:gd name="connsiteY8" fmla="*/ 6362 h 9333"/>
                <a:gd name="connsiteX9" fmla="*/ 518 w 10000"/>
                <a:gd name="connsiteY9" fmla="*/ 6438 h 9333"/>
                <a:gd name="connsiteX10" fmla="*/ 502 w 10000"/>
                <a:gd name="connsiteY10" fmla="*/ 6608 h 9333"/>
                <a:gd name="connsiteX11" fmla="*/ 1016 w 10000"/>
                <a:gd name="connsiteY11" fmla="*/ 6670 h 9333"/>
                <a:gd name="connsiteX12" fmla="*/ 1016 w 10000"/>
                <a:gd name="connsiteY12" fmla="*/ 6809 h 9333"/>
                <a:gd name="connsiteX13" fmla="*/ 1288 w 10000"/>
                <a:gd name="connsiteY13" fmla="*/ 6915 h 9333"/>
                <a:gd name="connsiteX14" fmla="*/ 1203 w 10000"/>
                <a:gd name="connsiteY14" fmla="*/ 7074 h 9333"/>
                <a:gd name="connsiteX15" fmla="*/ 1586 w 10000"/>
                <a:gd name="connsiteY15" fmla="*/ 7212 h 9333"/>
                <a:gd name="connsiteX16" fmla="*/ 1817 w 10000"/>
                <a:gd name="connsiteY16" fmla="*/ 7466 h 9333"/>
                <a:gd name="connsiteX17" fmla="*/ 2030 w 10000"/>
                <a:gd name="connsiteY17" fmla="*/ 7562 h 9333"/>
                <a:gd name="connsiteX18" fmla="*/ 1945 w 10000"/>
                <a:gd name="connsiteY18" fmla="*/ 7647 h 9333"/>
                <a:gd name="connsiteX19" fmla="*/ 2059 w 10000"/>
                <a:gd name="connsiteY19" fmla="*/ 7742 h 9333"/>
                <a:gd name="connsiteX20" fmla="*/ 2043 w 10000"/>
                <a:gd name="connsiteY20" fmla="*/ 7879 h 9333"/>
                <a:gd name="connsiteX21" fmla="*/ 2261 w 10000"/>
                <a:gd name="connsiteY21" fmla="*/ 7891 h 9333"/>
                <a:gd name="connsiteX22" fmla="*/ 2502 w 10000"/>
                <a:gd name="connsiteY22" fmla="*/ 8040 h 9333"/>
                <a:gd name="connsiteX23" fmla="*/ 2561 w 10000"/>
                <a:gd name="connsiteY23" fmla="*/ 8273 h 9333"/>
                <a:gd name="connsiteX24" fmla="*/ 2615 w 10000"/>
                <a:gd name="connsiteY24" fmla="*/ 8358 h 9333"/>
                <a:gd name="connsiteX25" fmla="*/ 2917 w 10000"/>
                <a:gd name="connsiteY25" fmla="*/ 8559 h 9333"/>
                <a:gd name="connsiteX26" fmla="*/ 2917 w 10000"/>
                <a:gd name="connsiteY26" fmla="*/ 8707 h 9333"/>
                <a:gd name="connsiteX27" fmla="*/ 3360 w 10000"/>
                <a:gd name="connsiteY27" fmla="*/ 8868 h 9333"/>
                <a:gd name="connsiteX28" fmla="*/ 3602 w 10000"/>
                <a:gd name="connsiteY28" fmla="*/ 8696 h 9333"/>
                <a:gd name="connsiteX29" fmla="*/ 3903 w 10000"/>
                <a:gd name="connsiteY29" fmla="*/ 8825 h 9333"/>
                <a:gd name="connsiteX30" fmla="*/ 4142 w 10000"/>
                <a:gd name="connsiteY30" fmla="*/ 8633 h 9333"/>
                <a:gd name="connsiteX31" fmla="*/ 4415 w 10000"/>
                <a:gd name="connsiteY31" fmla="*/ 8941 h 9333"/>
                <a:gd name="connsiteX32" fmla="*/ 4801 w 10000"/>
                <a:gd name="connsiteY32" fmla="*/ 9111 h 9333"/>
                <a:gd name="connsiteX33" fmla="*/ 4843 w 10000"/>
                <a:gd name="connsiteY33" fmla="*/ 9260 h 9333"/>
                <a:gd name="connsiteX34" fmla="*/ 5002 w 10000"/>
                <a:gd name="connsiteY34" fmla="*/ 9281 h 9333"/>
                <a:gd name="connsiteX35" fmla="*/ 5228 w 10000"/>
                <a:gd name="connsiteY35" fmla="*/ 9141 h 9333"/>
                <a:gd name="connsiteX36" fmla="*/ 5517 w 10000"/>
                <a:gd name="connsiteY36" fmla="*/ 9227 h 9333"/>
                <a:gd name="connsiteX37" fmla="*/ 5615 w 10000"/>
                <a:gd name="connsiteY37" fmla="*/ 9152 h 9333"/>
                <a:gd name="connsiteX38" fmla="*/ 5716 w 10000"/>
                <a:gd name="connsiteY38" fmla="*/ 9141 h 9333"/>
                <a:gd name="connsiteX39" fmla="*/ 5914 w 10000"/>
                <a:gd name="connsiteY39" fmla="*/ 9333 h 9333"/>
                <a:gd name="connsiteX40" fmla="*/ 6101 w 10000"/>
                <a:gd name="connsiteY40" fmla="*/ 9174 h 9333"/>
                <a:gd name="connsiteX41" fmla="*/ 6329 w 10000"/>
                <a:gd name="connsiteY41" fmla="*/ 9185 h 9333"/>
                <a:gd name="connsiteX42" fmla="*/ 6500 w 10000"/>
                <a:gd name="connsiteY42" fmla="*/ 9099 h 9333"/>
                <a:gd name="connsiteX43" fmla="*/ 6744 w 10000"/>
                <a:gd name="connsiteY43" fmla="*/ 9185 h 9333"/>
                <a:gd name="connsiteX44" fmla="*/ 7058 w 10000"/>
                <a:gd name="connsiteY44" fmla="*/ 8920 h 9333"/>
                <a:gd name="connsiteX45" fmla="*/ 7171 w 10000"/>
                <a:gd name="connsiteY45" fmla="*/ 8920 h 9333"/>
                <a:gd name="connsiteX46" fmla="*/ 7372 w 10000"/>
                <a:gd name="connsiteY46" fmla="*/ 8707 h 9333"/>
                <a:gd name="connsiteX47" fmla="*/ 8228 w 10000"/>
                <a:gd name="connsiteY47" fmla="*/ 8696 h 9333"/>
                <a:gd name="connsiteX48" fmla="*/ 8415 w 10000"/>
                <a:gd name="connsiteY48" fmla="*/ 8613 h 9333"/>
                <a:gd name="connsiteX49" fmla="*/ 8401 w 10000"/>
                <a:gd name="connsiteY49" fmla="*/ 8506 h 9333"/>
                <a:gd name="connsiteX50" fmla="*/ 8343 w 10000"/>
                <a:gd name="connsiteY50" fmla="*/ 8273 h 9333"/>
                <a:gd name="connsiteX51" fmla="*/ 7986 w 10000"/>
                <a:gd name="connsiteY51" fmla="*/ 8198 h 9333"/>
                <a:gd name="connsiteX52" fmla="*/ 7815 w 10000"/>
                <a:gd name="connsiteY52" fmla="*/ 7827 h 9333"/>
                <a:gd name="connsiteX53" fmla="*/ 7715 w 10000"/>
                <a:gd name="connsiteY53" fmla="*/ 7785 h 9333"/>
                <a:gd name="connsiteX54" fmla="*/ 7688 w 10000"/>
                <a:gd name="connsiteY54" fmla="*/ 7520 h 9333"/>
                <a:gd name="connsiteX55" fmla="*/ 7559 w 10000"/>
                <a:gd name="connsiteY55" fmla="*/ 7509 h 9333"/>
                <a:gd name="connsiteX56" fmla="*/ 7514 w 10000"/>
                <a:gd name="connsiteY56" fmla="*/ 7371 h 9333"/>
                <a:gd name="connsiteX57" fmla="*/ 7300 w 10000"/>
                <a:gd name="connsiteY57" fmla="*/ 7339 h 9333"/>
                <a:gd name="connsiteX58" fmla="*/ 7228 w 10000"/>
                <a:gd name="connsiteY58" fmla="*/ 7127 h 9333"/>
                <a:gd name="connsiteX59" fmla="*/ 6873 w 10000"/>
                <a:gd name="connsiteY59" fmla="*/ 6925 h 9333"/>
                <a:gd name="connsiteX60" fmla="*/ 6485 w 10000"/>
                <a:gd name="connsiteY60" fmla="*/ 6894 h 9333"/>
                <a:gd name="connsiteX61" fmla="*/ 6588 w 10000"/>
                <a:gd name="connsiteY61" fmla="*/ 6660 h 9333"/>
                <a:gd name="connsiteX62" fmla="*/ 6560 w 10000"/>
                <a:gd name="connsiteY62" fmla="*/ 6491 h 9333"/>
                <a:gd name="connsiteX63" fmla="*/ 6887 w 10000"/>
                <a:gd name="connsiteY63" fmla="*/ 6502 h 9333"/>
                <a:gd name="connsiteX64" fmla="*/ 6957 w 10000"/>
                <a:gd name="connsiteY64" fmla="*/ 6554 h 9333"/>
                <a:gd name="connsiteX65" fmla="*/ 7158 w 10000"/>
                <a:gd name="connsiteY65" fmla="*/ 6448 h 9333"/>
                <a:gd name="connsiteX66" fmla="*/ 7214 w 10000"/>
                <a:gd name="connsiteY66" fmla="*/ 6067 h 9333"/>
                <a:gd name="connsiteX67" fmla="*/ 7131 w 10000"/>
                <a:gd name="connsiteY67" fmla="*/ 5782 h 9333"/>
                <a:gd name="connsiteX68" fmla="*/ 7372 w 10000"/>
                <a:gd name="connsiteY68" fmla="*/ 5548 h 9333"/>
                <a:gd name="connsiteX69" fmla="*/ 7300 w 10000"/>
                <a:gd name="connsiteY69" fmla="*/ 5324 h 9333"/>
                <a:gd name="connsiteX70" fmla="*/ 7459 w 10000"/>
                <a:gd name="connsiteY70" fmla="*/ 5111 h 9333"/>
                <a:gd name="connsiteX71" fmla="*/ 7559 w 10000"/>
                <a:gd name="connsiteY71" fmla="*/ 5229 h 9333"/>
                <a:gd name="connsiteX72" fmla="*/ 7728 w 10000"/>
                <a:gd name="connsiteY72" fmla="*/ 5177 h 9333"/>
                <a:gd name="connsiteX73" fmla="*/ 7715 w 10000"/>
                <a:gd name="connsiteY73" fmla="*/ 4848 h 9333"/>
                <a:gd name="connsiteX74" fmla="*/ 7815 w 10000"/>
                <a:gd name="connsiteY74" fmla="*/ 4730 h 9333"/>
                <a:gd name="connsiteX75" fmla="*/ 7787 w 10000"/>
                <a:gd name="connsiteY75" fmla="*/ 4572 h 9333"/>
                <a:gd name="connsiteX76" fmla="*/ 8015 w 10000"/>
                <a:gd name="connsiteY76" fmla="*/ 4476 h 9333"/>
                <a:gd name="connsiteX77" fmla="*/ 8029 w 10000"/>
                <a:gd name="connsiteY77" fmla="*/ 4263 h 9333"/>
                <a:gd name="connsiteX78" fmla="*/ 8201 w 10000"/>
                <a:gd name="connsiteY78" fmla="*/ 4062 h 9333"/>
                <a:gd name="connsiteX79" fmla="*/ 8512 w 10000"/>
                <a:gd name="connsiteY79" fmla="*/ 4042 h 9333"/>
                <a:gd name="connsiteX80" fmla="*/ 8486 w 10000"/>
                <a:gd name="connsiteY80" fmla="*/ 3765 h 9333"/>
                <a:gd name="connsiteX81" fmla="*/ 8716 w 10000"/>
                <a:gd name="connsiteY81" fmla="*/ 3468 h 9333"/>
                <a:gd name="connsiteX82" fmla="*/ 8716 w 10000"/>
                <a:gd name="connsiteY82" fmla="*/ 3150 h 9333"/>
                <a:gd name="connsiteX83" fmla="*/ 8686 w 10000"/>
                <a:gd name="connsiteY83" fmla="*/ 2800 h 9333"/>
                <a:gd name="connsiteX84" fmla="*/ 8617 w 10000"/>
                <a:gd name="connsiteY84" fmla="*/ 2694 h 9333"/>
                <a:gd name="connsiteX85" fmla="*/ 8785 w 10000"/>
                <a:gd name="connsiteY85" fmla="*/ 2545 h 9333"/>
                <a:gd name="connsiteX86" fmla="*/ 8799 w 10000"/>
                <a:gd name="connsiteY86" fmla="*/ 2366 h 9333"/>
                <a:gd name="connsiteX87" fmla="*/ 8973 w 10000"/>
                <a:gd name="connsiteY87" fmla="*/ 2153 h 9333"/>
                <a:gd name="connsiteX88" fmla="*/ 8885 w 10000"/>
                <a:gd name="connsiteY88" fmla="*/ 1825 h 9333"/>
                <a:gd name="connsiteX89" fmla="*/ 9044 w 10000"/>
                <a:gd name="connsiteY89" fmla="*/ 1739 h 9333"/>
                <a:gd name="connsiteX90" fmla="*/ 9044 w 10000"/>
                <a:gd name="connsiteY90" fmla="*/ 1633 h 9333"/>
                <a:gd name="connsiteX91" fmla="*/ 9312 w 10000"/>
                <a:gd name="connsiteY91" fmla="*/ 1560 h 9333"/>
                <a:gd name="connsiteX92" fmla="*/ 9327 w 10000"/>
                <a:gd name="connsiteY92" fmla="*/ 1401 h 9333"/>
                <a:gd name="connsiteX93" fmla="*/ 9844 w 10000"/>
                <a:gd name="connsiteY93" fmla="*/ 1293 h 9333"/>
                <a:gd name="connsiteX94" fmla="*/ 10000 w 10000"/>
                <a:gd name="connsiteY94" fmla="*/ 1028 h 9333"/>
                <a:gd name="connsiteX95" fmla="*/ 9644 w 10000"/>
                <a:gd name="connsiteY95" fmla="*/ 870 h 9333"/>
                <a:gd name="connsiteX96" fmla="*/ 9516 w 10000"/>
                <a:gd name="connsiteY96" fmla="*/ 658 h 9333"/>
                <a:gd name="connsiteX97" fmla="*/ 9158 w 10000"/>
                <a:gd name="connsiteY97" fmla="*/ 573 h 9333"/>
                <a:gd name="connsiteX98" fmla="*/ 9088 w 10000"/>
                <a:gd name="connsiteY98" fmla="*/ 21 h 9333"/>
                <a:gd name="connsiteX99" fmla="*/ 8986 w 10000"/>
                <a:gd name="connsiteY99" fmla="*/ 0 h 9333"/>
                <a:gd name="connsiteX0" fmla="*/ 9088 w 10000"/>
                <a:gd name="connsiteY0" fmla="*/ 0 h 9977"/>
                <a:gd name="connsiteX1" fmla="*/ 4796 w 10000"/>
                <a:gd name="connsiteY1" fmla="*/ 4960 h 9977"/>
                <a:gd name="connsiteX2" fmla="*/ 1754 w 10000"/>
                <a:gd name="connsiteY2" fmla="*/ 4945 h 9977"/>
                <a:gd name="connsiteX3" fmla="*/ 769 w 10000"/>
                <a:gd name="connsiteY3" fmla="*/ 5890 h 9977"/>
                <a:gd name="connsiteX4" fmla="*/ 175 w 10000"/>
                <a:gd name="connsiteY4" fmla="*/ 6112 h 9977"/>
                <a:gd name="connsiteX5" fmla="*/ 2 w 10000"/>
                <a:gd name="connsiteY5" fmla="*/ 6557 h 9977"/>
                <a:gd name="connsiteX6" fmla="*/ 117 w 10000"/>
                <a:gd name="connsiteY6" fmla="*/ 6636 h 9977"/>
                <a:gd name="connsiteX7" fmla="*/ 32 w 10000"/>
                <a:gd name="connsiteY7" fmla="*/ 6759 h 9977"/>
                <a:gd name="connsiteX8" fmla="*/ 518 w 10000"/>
                <a:gd name="connsiteY8" fmla="*/ 6794 h 9977"/>
                <a:gd name="connsiteX9" fmla="*/ 518 w 10000"/>
                <a:gd name="connsiteY9" fmla="*/ 6875 h 9977"/>
                <a:gd name="connsiteX10" fmla="*/ 502 w 10000"/>
                <a:gd name="connsiteY10" fmla="*/ 7057 h 9977"/>
                <a:gd name="connsiteX11" fmla="*/ 1016 w 10000"/>
                <a:gd name="connsiteY11" fmla="*/ 7124 h 9977"/>
                <a:gd name="connsiteX12" fmla="*/ 1016 w 10000"/>
                <a:gd name="connsiteY12" fmla="*/ 7273 h 9977"/>
                <a:gd name="connsiteX13" fmla="*/ 1288 w 10000"/>
                <a:gd name="connsiteY13" fmla="*/ 7386 h 9977"/>
                <a:gd name="connsiteX14" fmla="*/ 1203 w 10000"/>
                <a:gd name="connsiteY14" fmla="*/ 7557 h 9977"/>
                <a:gd name="connsiteX15" fmla="*/ 1586 w 10000"/>
                <a:gd name="connsiteY15" fmla="*/ 7704 h 9977"/>
                <a:gd name="connsiteX16" fmla="*/ 1817 w 10000"/>
                <a:gd name="connsiteY16" fmla="*/ 7977 h 9977"/>
                <a:gd name="connsiteX17" fmla="*/ 2030 w 10000"/>
                <a:gd name="connsiteY17" fmla="*/ 8079 h 9977"/>
                <a:gd name="connsiteX18" fmla="*/ 1945 w 10000"/>
                <a:gd name="connsiteY18" fmla="*/ 8171 h 9977"/>
                <a:gd name="connsiteX19" fmla="*/ 2059 w 10000"/>
                <a:gd name="connsiteY19" fmla="*/ 8272 h 9977"/>
                <a:gd name="connsiteX20" fmla="*/ 2043 w 10000"/>
                <a:gd name="connsiteY20" fmla="*/ 8419 h 9977"/>
                <a:gd name="connsiteX21" fmla="*/ 2261 w 10000"/>
                <a:gd name="connsiteY21" fmla="*/ 8432 h 9977"/>
                <a:gd name="connsiteX22" fmla="*/ 2502 w 10000"/>
                <a:gd name="connsiteY22" fmla="*/ 8592 h 9977"/>
                <a:gd name="connsiteX23" fmla="*/ 2561 w 10000"/>
                <a:gd name="connsiteY23" fmla="*/ 8841 h 9977"/>
                <a:gd name="connsiteX24" fmla="*/ 2615 w 10000"/>
                <a:gd name="connsiteY24" fmla="*/ 8932 h 9977"/>
                <a:gd name="connsiteX25" fmla="*/ 2917 w 10000"/>
                <a:gd name="connsiteY25" fmla="*/ 9148 h 9977"/>
                <a:gd name="connsiteX26" fmla="*/ 2917 w 10000"/>
                <a:gd name="connsiteY26" fmla="*/ 9306 h 9977"/>
                <a:gd name="connsiteX27" fmla="*/ 3360 w 10000"/>
                <a:gd name="connsiteY27" fmla="*/ 9479 h 9977"/>
                <a:gd name="connsiteX28" fmla="*/ 3602 w 10000"/>
                <a:gd name="connsiteY28" fmla="*/ 9294 h 9977"/>
                <a:gd name="connsiteX29" fmla="*/ 3903 w 10000"/>
                <a:gd name="connsiteY29" fmla="*/ 9433 h 9977"/>
                <a:gd name="connsiteX30" fmla="*/ 4142 w 10000"/>
                <a:gd name="connsiteY30" fmla="*/ 9227 h 9977"/>
                <a:gd name="connsiteX31" fmla="*/ 4415 w 10000"/>
                <a:gd name="connsiteY31" fmla="*/ 9557 h 9977"/>
                <a:gd name="connsiteX32" fmla="*/ 4801 w 10000"/>
                <a:gd name="connsiteY32" fmla="*/ 9739 h 9977"/>
                <a:gd name="connsiteX33" fmla="*/ 4843 w 10000"/>
                <a:gd name="connsiteY33" fmla="*/ 9899 h 9977"/>
                <a:gd name="connsiteX34" fmla="*/ 5002 w 10000"/>
                <a:gd name="connsiteY34" fmla="*/ 9921 h 9977"/>
                <a:gd name="connsiteX35" fmla="*/ 5228 w 10000"/>
                <a:gd name="connsiteY35" fmla="*/ 9771 h 9977"/>
                <a:gd name="connsiteX36" fmla="*/ 5517 w 10000"/>
                <a:gd name="connsiteY36" fmla="*/ 9863 h 9977"/>
                <a:gd name="connsiteX37" fmla="*/ 5615 w 10000"/>
                <a:gd name="connsiteY37" fmla="*/ 9783 h 9977"/>
                <a:gd name="connsiteX38" fmla="*/ 5716 w 10000"/>
                <a:gd name="connsiteY38" fmla="*/ 9771 h 9977"/>
                <a:gd name="connsiteX39" fmla="*/ 5914 w 10000"/>
                <a:gd name="connsiteY39" fmla="*/ 9977 h 9977"/>
                <a:gd name="connsiteX40" fmla="*/ 6101 w 10000"/>
                <a:gd name="connsiteY40" fmla="*/ 9807 h 9977"/>
                <a:gd name="connsiteX41" fmla="*/ 6329 w 10000"/>
                <a:gd name="connsiteY41" fmla="*/ 9818 h 9977"/>
                <a:gd name="connsiteX42" fmla="*/ 6500 w 10000"/>
                <a:gd name="connsiteY42" fmla="*/ 9726 h 9977"/>
                <a:gd name="connsiteX43" fmla="*/ 6744 w 10000"/>
                <a:gd name="connsiteY43" fmla="*/ 9818 h 9977"/>
                <a:gd name="connsiteX44" fmla="*/ 7058 w 10000"/>
                <a:gd name="connsiteY44" fmla="*/ 9534 h 9977"/>
                <a:gd name="connsiteX45" fmla="*/ 7171 w 10000"/>
                <a:gd name="connsiteY45" fmla="*/ 9534 h 9977"/>
                <a:gd name="connsiteX46" fmla="*/ 7372 w 10000"/>
                <a:gd name="connsiteY46" fmla="*/ 9306 h 9977"/>
                <a:gd name="connsiteX47" fmla="*/ 8228 w 10000"/>
                <a:gd name="connsiteY47" fmla="*/ 9294 h 9977"/>
                <a:gd name="connsiteX48" fmla="*/ 8415 w 10000"/>
                <a:gd name="connsiteY48" fmla="*/ 9206 h 9977"/>
                <a:gd name="connsiteX49" fmla="*/ 8401 w 10000"/>
                <a:gd name="connsiteY49" fmla="*/ 9091 h 9977"/>
                <a:gd name="connsiteX50" fmla="*/ 8343 w 10000"/>
                <a:gd name="connsiteY50" fmla="*/ 8841 h 9977"/>
                <a:gd name="connsiteX51" fmla="*/ 7986 w 10000"/>
                <a:gd name="connsiteY51" fmla="*/ 8761 h 9977"/>
                <a:gd name="connsiteX52" fmla="*/ 7815 w 10000"/>
                <a:gd name="connsiteY52" fmla="*/ 8363 h 9977"/>
                <a:gd name="connsiteX53" fmla="*/ 7715 w 10000"/>
                <a:gd name="connsiteY53" fmla="*/ 8318 h 9977"/>
                <a:gd name="connsiteX54" fmla="*/ 7688 w 10000"/>
                <a:gd name="connsiteY54" fmla="*/ 8034 h 9977"/>
                <a:gd name="connsiteX55" fmla="*/ 7559 w 10000"/>
                <a:gd name="connsiteY55" fmla="*/ 8023 h 9977"/>
                <a:gd name="connsiteX56" fmla="*/ 7514 w 10000"/>
                <a:gd name="connsiteY56" fmla="*/ 7875 h 9977"/>
                <a:gd name="connsiteX57" fmla="*/ 7300 w 10000"/>
                <a:gd name="connsiteY57" fmla="*/ 7840 h 9977"/>
                <a:gd name="connsiteX58" fmla="*/ 7228 w 10000"/>
                <a:gd name="connsiteY58" fmla="*/ 7613 h 9977"/>
                <a:gd name="connsiteX59" fmla="*/ 6873 w 10000"/>
                <a:gd name="connsiteY59" fmla="*/ 7397 h 9977"/>
                <a:gd name="connsiteX60" fmla="*/ 6485 w 10000"/>
                <a:gd name="connsiteY60" fmla="*/ 7364 h 9977"/>
                <a:gd name="connsiteX61" fmla="*/ 6588 w 10000"/>
                <a:gd name="connsiteY61" fmla="*/ 7113 h 9977"/>
                <a:gd name="connsiteX62" fmla="*/ 6560 w 10000"/>
                <a:gd name="connsiteY62" fmla="*/ 6932 h 9977"/>
                <a:gd name="connsiteX63" fmla="*/ 6887 w 10000"/>
                <a:gd name="connsiteY63" fmla="*/ 6944 h 9977"/>
                <a:gd name="connsiteX64" fmla="*/ 6957 w 10000"/>
                <a:gd name="connsiteY64" fmla="*/ 6999 h 9977"/>
                <a:gd name="connsiteX65" fmla="*/ 7158 w 10000"/>
                <a:gd name="connsiteY65" fmla="*/ 6886 h 9977"/>
                <a:gd name="connsiteX66" fmla="*/ 7214 w 10000"/>
                <a:gd name="connsiteY66" fmla="*/ 6478 h 9977"/>
                <a:gd name="connsiteX67" fmla="*/ 7131 w 10000"/>
                <a:gd name="connsiteY67" fmla="*/ 6172 h 9977"/>
                <a:gd name="connsiteX68" fmla="*/ 7372 w 10000"/>
                <a:gd name="connsiteY68" fmla="*/ 5921 h 9977"/>
                <a:gd name="connsiteX69" fmla="*/ 7300 w 10000"/>
                <a:gd name="connsiteY69" fmla="*/ 5681 h 9977"/>
                <a:gd name="connsiteX70" fmla="*/ 7459 w 10000"/>
                <a:gd name="connsiteY70" fmla="*/ 5453 h 9977"/>
                <a:gd name="connsiteX71" fmla="*/ 7559 w 10000"/>
                <a:gd name="connsiteY71" fmla="*/ 5580 h 9977"/>
                <a:gd name="connsiteX72" fmla="*/ 7728 w 10000"/>
                <a:gd name="connsiteY72" fmla="*/ 5524 h 9977"/>
                <a:gd name="connsiteX73" fmla="*/ 7715 w 10000"/>
                <a:gd name="connsiteY73" fmla="*/ 5171 h 9977"/>
                <a:gd name="connsiteX74" fmla="*/ 7815 w 10000"/>
                <a:gd name="connsiteY74" fmla="*/ 5045 h 9977"/>
                <a:gd name="connsiteX75" fmla="*/ 7787 w 10000"/>
                <a:gd name="connsiteY75" fmla="*/ 4876 h 9977"/>
                <a:gd name="connsiteX76" fmla="*/ 8015 w 10000"/>
                <a:gd name="connsiteY76" fmla="*/ 4773 h 9977"/>
                <a:gd name="connsiteX77" fmla="*/ 8029 w 10000"/>
                <a:gd name="connsiteY77" fmla="*/ 4545 h 9977"/>
                <a:gd name="connsiteX78" fmla="*/ 8201 w 10000"/>
                <a:gd name="connsiteY78" fmla="*/ 4329 h 9977"/>
                <a:gd name="connsiteX79" fmla="*/ 8512 w 10000"/>
                <a:gd name="connsiteY79" fmla="*/ 4308 h 9977"/>
                <a:gd name="connsiteX80" fmla="*/ 8486 w 10000"/>
                <a:gd name="connsiteY80" fmla="*/ 4011 h 9977"/>
                <a:gd name="connsiteX81" fmla="*/ 8716 w 10000"/>
                <a:gd name="connsiteY81" fmla="*/ 3693 h 9977"/>
                <a:gd name="connsiteX82" fmla="*/ 8716 w 10000"/>
                <a:gd name="connsiteY82" fmla="*/ 3352 h 9977"/>
                <a:gd name="connsiteX83" fmla="*/ 8686 w 10000"/>
                <a:gd name="connsiteY83" fmla="*/ 2977 h 9977"/>
                <a:gd name="connsiteX84" fmla="*/ 8617 w 10000"/>
                <a:gd name="connsiteY84" fmla="*/ 2864 h 9977"/>
                <a:gd name="connsiteX85" fmla="*/ 8785 w 10000"/>
                <a:gd name="connsiteY85" fmla="*/ 2704 h 9977"/>
                <a:gd name="connsiteX86" fmla="*/ 8799 w 10000"/>
                <a:gd name="connsiteY86" fmla="*/ 2512 h 9977"/>
                <a:gd name="connsiteX87" fmla="*/ 8973 w 10000"/>
                <a:gd name="connsiteY87" fmla="*/ 2284 h 9977"/>
                <a:gd name="connsiteX88" fmla="*/ 8885 w 10000"/>
                <a:gd name="connsiteY88" fmla="*/ 1932 h 9977"/>
                <a:gd name="connsiteX89" fmla="*/ 9044 w 10000"/>
                <a:gd name="connsiteY89" fmla="*/ 1840 h 9977"/>
                <a:gd name="connsiteX90" fmla="*/ 9044 w 10000"/>
                <a:gd name="connsiteY90" fmla="*/ 1727 h 9977"/>
                <a:gd name="connsiteX91" fmla="*/ 9312 w 10000"/>
                <a:gd name="connsiteY91" fmla="*/ 1648 h 9977"/>
                <a:gd name="connsiteX92" fmla="*/ 9327 w 10000"/>
                <a:gd name="connsiteY92" fmla="*/ 1478 h 9977"/>
                <a:gd name="connsiteX93" fmla="*/ 9844 w 10000"/>
                <a:gd name="connsiteY93" fmla="*/ 1362 h 9977"/>
                <a:gd name="connsiteX94" fmla="*/ 10000 w 10000"/>
                <a:gd name="connsiteY94" fmla="*/ 1078 h 9977"/>
                <a:gd name="connsiteX95" fmla="*/ 9644 w 10000"/>
                <a:gd name="connsiteY95" fmla="*/ 909 h 9977"/>
                <a:gd name="connsiteX96" fmla="*/ 9516 w 10000"/>
                <a:gd name="connsiteY96" fmla="*/ 682 h 9977"/>
                <a:gd name="connsiteX97" fmla="*/ 9158 w 10000"/>
                <a:gd name="connsiteY97" fmla="*/ 591 h 9977"/>
                <a:gd name="connsiteX98" fmla="*/ 9088 w 10000"/>
                <a:gd name="connsiteY98" fmla="*/ 0 h 9977"/>
                <a:gd name="connsiteX0" fmla="*/ 9158 w 10000"/>
                <a:gd name="connsiteY0" fmla="*/ 305 h 9713"/>
                <a:gd name="connsiteX1" fmla="*/ 4796 w 10000"/>
                <a:gd name="connsiteY1" fmla="*/ 4684 h 9713"/>
                <a:gd name="connsiteX2" fmla="*/ 1754 w 10000"/>
                <a:gd name="connsiteY2" fmla="*/ 4669 h 9713"/>
                <a:gd name="connsiteX3" fmla="*/ 769 w 10000"/>
                <a:gd name="connsiteY3" fmla="*/ 5617 h 9713"/>
                <a:gd name="connsiteX4" fmla="*/ 175 w 10000"/>
                <a:gd name="connsiteY4" fmla="*/ 5839 h 9713"/>
                <a:gd name="connsiteX5" fmla="*/ 2 w 10000"/>
                <a:gd name="connsiteY5" fmla="*/ 6285 h 9713"/>
                <a:gd name="connsiteX6" fmla="*/ 117 w 10000"/>
                <a:gd name="connsiteY6" fmla="*/ 6364 h 9713"/>
                <a:gd name="connsiteX7" fmla="*/ 32 w 10000"/>
                <a:gd name="connsiteY7" fmla="*/ 6488 h 9713"/>
                <a:gd name="connsiteX8" fmla="*/ 518 w 10000"/>
                <a:gd name="connsiteY8" fmla="*/ 6523 h 9713"/>
                <a:gd name="connsiteX9" fmla="*/ 518 w 10000"/>
                <a:gd name="connsiteY9" fmla="*/ 6604 h 9713"/>
                <a:gd name="connsiteX10" fmla="*/ 502 w 10000"/>
                <a:gd name="connsiteY10" fmla="*/ 6786 h 9713"/>
                <a:gd name="connsiteX11" fmla="*/ 1016 w 10000"/>
                <a:gd name="connsiteY11" fmla="*/ 6853 h 9713"/>
                <a:gd name="connsiteX12" fmla="*/ 1016 w 10000"/>
                <a:gd name="connsiteY12" fmla="*/ 7003 h 9713"/>
                <a:gd name="connsiteX13" fmla="*/ 1288 w 10000"/>
                <a:gd name="connsiteY13" fmla="*/ 7116 h 9713"/>
                <a:gd name="connsiteX14" fmla="*/ 1203 w 10000"/>
                <a:gd name="connsiteY14" fmla="*/ 7287 h 9713"/>
                <a:gd name="connsiteX15" fmla="*/ 1586 w 10000"/>
                <a:gd name="connsiteY15" fmla="*/ 7435 h 9713"/>
                <a:gd name="connsiteX16" fmla="*/ 1817 w 10000"/>
                <a:gd name="connsiteY16" fmla="*/ 7708 h 9713"/>
                <a:gd name="connsiteX17" fmla="*/ 2030 w 10000"/>
                <a:gd name="connsiteY17" fmla="*/ 7811 h 9713"/>
                <a:gd name="connsiteX18" fmla="*/ 1945 w 10000"/>
                <a:gd name="connsiteY18" fmla="*/ 7903 h 9713"/>
                <a:gd name="connsiteX19" fmla="*/ 2059 w 10000"/>
                <a:gd name="connsiteY19" fmla="*/ 8004 h 9713"/>
                <a:gd name="connsiteX20" fmla="*/ 2043 w 10000"/>
                <a:gd name="connsiteY20" fmla="*/ 8151 h 9713"/>
                <a:gd name="connsiteX21" fmla="*/ 2261 w 10000"/>
                <a:gd name="connsiteY21" fmla="*/ 8164 h 9713"/>
                <a:gd name="connsiteX22" fmla="*/ 2502 w 10000"/>
                <a:gd name="connsiteY22" fmla="*/ 8325 h 9713"/>
                <a:gd name="connsiteX23" fmla="*/ 2561 w 10000"/>
                <a:gd name="connsiteY23" fmla="*/ 8574 h 9713"/>
                <a:gd name="connsiteX24" fmla="*/ 2615 w 10000"/>
                <a:gd name="connsiteY24" fmla="*/ 8666 h 9713"/>
                <a:gd name="connsiteX25" fmla="*/ 2917 w 10000"/>
                <a:gd name="connsiteY25" fmla="*/ 8882 h 9713"/>
                <a:gd name="connsiteX26" fmla="*/ 2917 w 10000"/>
                <a:gd name="connsiteY26" fmla="*/ 9040 h 9713"/>
                <a:gd name="connsiteX27" fmla="*/ 3360 w 10000"/>
                <a:gd name="connsiteY27" fmla="*/ 9214 h 9713"/>
                <a:gd name="connsiteX28" fmla="*/ 3602 w 10000"/>
                <a:gd name="connsiteY28" fmla="*/ 9028 h 9713"/>
                <a:gd name="connsiteX29" fmla="*/ 3903 w 10000"/>
                <a:gd name="connsiteY29" fmla="*/ 9168 h 9713"/>
                <a:gd name="connsiteX30" fmla="*/ 4142 w 10000"/>
                <a:gd name="connsiteY30" fmla="*/ 8961 h 9713"/>
                <a:gd name="connsiteX31" fmla="*/ 4415 w 10000"/>
                <a:gd name="connsiteY31" fmla="*/ 9292 h 9713"/>
                <a:gd name="connsiteX32" fmla="*/ 4801 w 10000"/>
                <a:gd name="connsiteY32" fmla="*/ 9474 h 9713"/>
                <a:gd name="connsiteX33" fmla="*/ 4843 w 10000"/>
                <a:gd name="connsiteY33" fmla="*/ 9635 h 9713"/>
                <a:gd name="connsiteX34" fmla="*/ 5002 w 10000"/>
                <a:gd name="connsiteY34" fmla="*/ 9657 h 9713"/>
                <a:gd name="connsiteX35" fmla="*/ 5228 w 10000"/>
                <a:gd name="connsiteY35" fmla="*/ 9507 h 9713"/>
                <a:gd name="connsiteX36" fmla="*/ 5517 w 10000"/>
                <a:gd name="connsiteY36" fmla="*/ 9599 h 9713"/>
                <a:gd name="connsiteX37" fmla="*/ 5615 w 10000"/>
                <a:gd name="connsiteY37" fmla="*/ 9519 h 9713"/>
                <a:gd name="connsiteX38" fmla="*/ 5716 w 10000"/>
                <a:gd name="connsiteY38" fmla="*/ 9507 h 9713"/>
                <a:gd name="connsiteX39" fmla="*/ 5914 w 10000"/>
                <a:gd name="connsiteY39" fmla="*/ 9713 h 9713"/>
                <a:gd name="connsiteX40" fmla="*/ 6101 w 10000"/>
                <a:gd name="connsiteY40" fmla="*/ 9543 h 9713"/>
                <a:gd name="connsiteX41" fmla="*/ 6329 w 10000"/>
                <a:gd name="connsiteY41" fmla="*/ 9554 h 9713"/>
                <a:gd name="connsiteX42" fmla="*/ 6500 w 10000"/>
                <a:gd name="connsiteY42" fmla="*/ 9461 h 9713"/>
                <a:gd name="connsiteX43" fmla="*/ 6744 w 10000"/>
                <a:gd name="connsiteY43" fmla="*/ 9554 h 9713"/>
                <a:gd name="connsiteX44" fmla="*/ 7058 w 10000"/>
                <a:gd name="connsiteY44" fmla="*/ 9269 h 9713"/>
                <a:gd name="connsiteX45" fmla="*/ 7171 w 10000"/>
                <a:gd name="connsiteY45" fmla="*/ 9269 h 9713"/>
                <a:gd name="connsiteX46" fmla="*/ 7372 w 10000"/>
                <a:gd name="connsiteY46" fmla="*/ 9040 h 9713"/>
                <a:gd name="connsiteX47" fmla="*/ 8228 w 10000"/>
                <a:gd name="connsiteY47" fmla="*/ 9028 h 9713"/>
                <a:gd name="connsiteX48" fmla="*/ 8415 w 10000"/>
                <a:gd name="connsiteY48" fmla="*/ 8940 h 9713"/>
                <a:gd name="connsiteX49" fmla="*/ 8401 w 10000"/>
                <a:gd name="connsiteY49" fmla="*/ 8825 h 9713"/>
                <a:gd name="connsiteX50" fmla="*/ 8343 w 10000"/>
                <a:gd name="connsiteY50" fmla="*/ 8574 h 9713"/>
                <a:gd name="connsiteX51" fmla="*/ 7986 w 10000"/>
                <a:gd name="connsiteY51" fmla="*/ 8494 h 9713"/>
                <a:gd name="connsiteX52" fmla="*/ 7815 w 10000"/>
                <a:gd name="connsiteY52" fmla="*/ 8095 h 9713"/>
                <a:gd name="connsiteX53" fmla="*/ 7715 w 10000"/>
                <a:gd name="connsiteY53" fmla="*/ 8050 h 9713"/>
                <a:gd name="connsiteX54" fmla="*/ 7688 w 10000"/>
                <a:gd name="connsiteY54" fmla="*/ 7766 h 9713"/>
                <a:gd name="connsiteX55" fmla="*/ 7559 w 10000"/>
                <a:gd name="connsiteY55" fmla="*/ 7754 h 9713"/>
                <a:gd name="connsiteX56" fmla="*/ 7514 w 10000"/>
                <a:gd name="connsiteY56" fmla="*/ 7606 h 9713"/>
                <a:gd name="connsiteX57" fmla="*/ 7300 w 10000"/>
                <a:gd name="connsiteY57" fmla="*/ 7571 h 9713"/>
                <a:gd name="connsiteX58" fmla="*/ 7228 w 10000"/>
                <a:gd name="connsiteY58" fmla="*/ 7344 h 9713"/>
                <a:gd name="connsiteX59" fmla="*/ 6873 w 10000"/>
                <a:gd name="connsiteY59" fmla="*/ 7127 h 9713"/>
                <a:gd name="connsiteX60" fmla="*/ 6485 w 10000"/>
                <a:gd name="connsiteY60" fmla="*/ 7094 h 9713"/>
                <a:gd name="connsiteX61" fmla="*/ 6588 w 10000"/>
                <a:gd name="connsiteY61" fmla="*/ 6842 h 9713"/>
                <a:gd name="connsiteX62" fmla="*/ 6560 w 10000"/>
                <a:gd name="connsiteY62" fmla="*/ 6661 h 9713"/>
                <a:gd name="connsiteX63" fmla="*/ 6887 w 10000"/>
                <a:gd name="connsiteY63" fmla="*/ 6673 h 9713"/>
                <a:gd name="connsiteX64" fmla="*/ 6957 w 10000"/>
                <a:gd name="connsiteY64" fmla="*/ 6728 h 9713"/>
                <a:gd name="connsiteX65" fmla="*/ 7158 w 10000"/>
                <a:gd name="connsiteY65" fmla="*/ 6615 h 9713"/>
                <a:gd name="connsiteX66" fmla="*/ 7214 w 10000"/>
                <a:gd name="connsiteY66" fmla="*/ 6206 h 9713"/>
                <a:gd name="connsiteX67" fmla="*/ 7131 w 10000"/>
                <a:gd name="connsiteY67" fmla="*/ 5899 h 9713"/>
                <a:gd name="connsiteX68" fmla="*/ 7372 w 10000"/>
                <a:gd name="connsiteY68" fmla="*/ 5648 h 9713"/>
                <a:gd name="connsiteX69" fmla="*/ 7300 w 10000"/>
                <a:gd name="connsiteY69" fmla="*/ 5407 h 9713"/>
                <a:gd name="connsiteX70" fmla="*/ 7459 w 10000"/>
                <a:gd name="connsiteY70" fmla="*/ 5179 h 9713"/>
                <a:gd name="connsiteX71" fmla="*/ 7559 w 10000"/>
                <a:gd name="connsiteY71" fmla="*/ 5306 h 9713"/>
                <a:gd name="connsiteX72" fmla="*/ 7728 w 10000"/>
                <a:gd name="connsiteY72" fmla="*/ 5250 h 9713"/>
                <a:gd name="connsiteX73" fmla="*/ 7715 w 10000"/>
                <a:gd name="connsiteY73" fmla="*/ 4896 h 9713"/>
                <a:gd name="connsiteX74" fmla="*/ 7815 w 10000"/>
                <a:gd name="connsiteY74" fmla="*/ 4770 h 9713"/>
                <a:gd name="connsiteX75" fmla="*/ 7787 w 10000"/>
                <a:gd name="connsiteY75" fmla="*/ 4600 h 9713"/>
                <a:gd name="connsiteX76" fmla="*/ 8015 w 10000"/>
                <a:gd name="connsiteY76" fmla="*/ 4497 h 9713"/>
                <a:gd name="connsiteX77" fmla="*/ 8029 w 10000"/>
                <a:gd name="connsiteY77" fmla="*/ 4268 h 9713"/>
                <a:gd name="connsiteX78" fmla="*/ 8201 w 10000"/>
                <a:gd name="connsiteY78" fmla="*/ 4052 h 9713"/>
                <a:gd name="connsiteX79" fmla="*/ 8512 w 10000"/>
                <a:gd name="connsiteY79" fmla="*/ 4031 h 9713"/>
                <a:gd name="connsiteX80" fmla="*/ 8486 w 10000"/>
                <a:gd name="connsiteY80" fmla="*/ 3733 h 9713"/>
                <a:gd name="connsiteX81" fmla="*/ 8716 w 10000"/>
                <a:gd name="connsiteY81" fmla="*/ 3415 h 9713"/>
                <a:gd name="connsiteX82" fmla="*/ 8716 w 10000"/>
                <a:gd name="connsiteY82" fmla="*/ 3073 h 9713"/>
                <a:gd name="connsiteX83" fmla="*/ 8686 w 10000"/>
                <a:gd name="connsiteY83" fmla="*/ 2697 h 9713"/>
                <a:gd name="connsiteX84" fmla="*/ 8617 w 10000"/>
                <a:gd name="connsiteY84" fmla="*/ 2584 h 9713"/>
                <a:gd name="connsiteX85" fmla="*/ 8785 w 10000"/>
                <a:gd name="connsiteY85" fmla="*/ 2423 h 9713"/>
                <a:gd name="connsiteX86" fmla="*/ 8799 w 10000"/>
                <a:gd name="connsiteY86" fmla="*/ 2231 h 9713"/>
                <a:gd name="connsiteX87" fmla="*/ 8973 w 10000"/>
                <a:gd name="connsiteY87" fmla="*/ 2002 h 9713"/>
                <a:gd name="connsiteX88" fmla="*/ 8885 w 10000"/>
                <a:gd name="connsiteY88" fmla="*/ 1649 h 9713"/>
                <a:gd name="connsiteX89" fmla="*/ 9044 w 10000"/>
                <a:gd name="connsiteY89" fmla="*/ 1557 h 9713"/>
                <a:gd name="connsiteX90" fmla="*/ 9044 w 10000"/>
                <a:gd name="connsiteY90" fmla="*/ 1444 h 9713"/>
                <a:gd name="connsiteX91" fmla="*/ 9312 w 10000"/>
                <a:gd name="connsiteY91" fmla="*/ 1365 h 9713"/>
                <a:gd name="connsiteX92" fmla="*/ 9327 w 10000"/>
                <a:gd name="connsiteY92" fmla="*/ 1194 h 9713"/>
                <a:gd name="connsiteX93" fmla="*/ 9844 w 10000"/>
                <a:gd name="connsiteY93" fmla="*/ 1078 h 9713"/>
                <a:gd name="connsiteX94" fmla="*/ 10000 w 10000"/>
                <a:gd name="connsiteY94" fmla="*/ 793 h 9713"/>
                <a:gd name="connsiteX95" fmla="*/ 9644 w 10000"/>
                <a:gd name="connsiteY95" fmla="*/ 624 h 9713"/>
                <a:gd name="connsiteX96" fmla="*/ 9516 w 10000"/>
                <a:gd name="connsiteY96" fmla="*/ 397 h 9713"/>
                <a:gd name="connsiteX97" fmla="*/ 9158 w 10000"/>
                <a:gd name="connsiteY97" fmla="*/ 305 h 9713"/>
                <a:gd name="connsiteX0" fmla="*/ 9516 w 10000"/>
                <a:gd name="connsiteY0" fmla="*/ 0 h 9591"/>
                <a:gd name="connsiteX1" fmla="*/ 4796 w 10000"/>
                <a:gd name="connsiteY1" fmla="*/ 4413 h 9591"/>
                <a:gd name="connsiteX2" fmla="*/ 1754 w 10000"/>
                <a:gd name="connsiteY2" fmla="*/ 4398 h 9591"/>
                <a:gd name="connsiteX3" fmla="*/ 769 w 10000"/>
                <a:gd name="connsiteY3" fmla="*/ 5374 h 9591"/>
                <a:gd name="connsiteX4" fmla="*/ 175 w 10000"/>
                <a:gd name="connsiteY4" fmla="*/ 5603 h 9591"/>
                <a:gd name="connsiteX5" fmla="*/ 2 w 10000"/>
                <a:gd name="connsiteY5" fmla="*/ 6062 h 9591"/>
                <a:gd name="connsiteX6" fmla="*/ 117 w 10000"/>
                <a:gd name="connsiteY6" fmla="*/ 6143 h 9591"/>
                <a:gd name="connsiteX7" fmla="*/ 32 w 10000"/>
                <a:gd name="connsiteY7" fmla="*/ 6271 h 9591"/>
                <a:gd name="connsiteX8" fmla="*/ 518 w 10000"/>
                <a:gd name="connsiteY8" fmla="*/ 6307 h 9591"/>
                <a:gd name="connsiteX9" fmla="*/ 518 w 10000"/>
                <a:gd name="connsiteY9" fmla="*/ 6390 h 9591"/>
                <a:gd name="connsiteX10" fmla="*/ 502 w 10000"/>
                <a:gd name="connsiteY10" fmla="*/ 6578 h 9591"/>
                <a:gd name="connsiteX11" fmla="*/ 1016 w 10000"/>
                <a:gd name="connsiteY11" fmla="*/ 6646 h 9591"/>
                <a:gd name="connsiteX12" fmla="*/ 1016 w 10000"/>
                <a:gd name="connsiteY12" fmla="*/ 6801 h 9591"/>
                <a:gd name="connsiteX13" fmla="*/ 1288 w 10000"/>
                <a:gd name="connsiteY13" fmla="*/ 6917 h 9591"/>
                <a:gd name="connsiteX14" fmla="*/ 1203 w 10000"/>
                <a:gd name="connsiteY14" fmla="*/ 7093 h 9591"/>
                <a:gd name="connsiteX15" fmla="*/ 1586 w 10000"/>
                <a:gd name="connsiteY15" fmla="*/ 7246 h 9591"/>
                <a:gd name="connsiteX16" fmla="*/ 1817 w 10000"/>
                <a:gd name="connsiteY16" fmla="*/ 7527 h 9591"/>
                <a:gd name="connsiteX17" fmla="*/ 2030 w 10000"/>
                <a:gd name="connsiteY17" fmla="*/ 7633 h 9591"/>
                <a:gd name="connsiteX18" fmla="*/ 1945 w 10000"/>
                <a:gd name="connsiteY18" fmla="*/ 7728 h 9591"/>
                <a:gd name="connsiteX19" fmla="*/ 2059 w 10000"/>
                <a:gd name="connsiteY19" fmla="*/ 7832 h 9591"/>
                <a:gd name="connsiteX20" fmla="*/ 2043 w 10000"/>
                <a:gd name="connsiteY20" fmla="*/ 7983 h 9591"/>
                <a:gd name="connsiteX21" fmla="*/ 2261 w 10000"/>
                <a:gd name="connsiteY21" fmla="*/ 7996 h 9591"/>
                <a:gd name="connsiteX22" fmla="*/ 2502 w 10000"/>
                <a:gd name="connsiteY22" fmla="*/ 8162 h 9591"/>
                <a:gd name="connsiteX23" fmla="*/ 2561 w 10000"/>
                <a:gd name="connsiteY23" fmla="*/ 8418 h 9591"/>
                <a:gd name="connsiteX24" fmla="*/ 2615 w 10000"/>
                <a:gd name="connsiteY24" fmla="*/ 8513 h 9591"/>
                <a:gd name="connsiteX25" fmla="*/ 2917 w 10000"/>
                <a:gd name="connsiteY25" fmla="*/ 8735 h 9591"/>
                <a:gd name="connsiteX26" fmla="*/ 2917 w 10000"/>
                <a:gd name="connsiteY26" fmla="*/ 8898 h 9591"/>
                <a:gd name="connsiteX27" fmla="*/ 3360 w 10000"/>
                <a:gd name="connsiteY27" fmla="*/ 9077 h 9591"/>
                <a:gd name="connsiteX28" fmla="*/ 3602 w 10000"/>
                <a:gd name="connsiteY28" fmla="*/ 8886 h 9591"/>
                <a:gd name="connsiteX29" fmla="*/ 3903 w 10000"/>
                <a:gd name="connsiteY29" fmla="*/ 9030 h 9591"/>
                <a:gd name="connsiteX30" fmla="*/ 4142 w 10000"/>
                <a:gd name="connsiteY30" fmla="*/ 8817 h 9591"/>
                <a:gd name="connsiteX31" fmla="*/ 4415 w 10000"/>
                <a:gd name="connsiteY31" fmla="*/ 9158 h 9591"/>
                <a:gd name="connsiteX32" fmla="*/ 4801 w 10000"/>
                <a:gd name="connsiteY32" fmla="*/ 9345 h 9591"/>
                <a:gd name="connsiteX33" fmla="*/ 4843 w 10000"/>
                <a:gd name="connsiteY33" fmla="*/ 9511 h 9591"/>
                <a:gd name="connsiteX34" fmla="*/ 5002 w 10000"/>
                <a:gd name="connsiteY34" fmla="*/ 9533 h 9591"/>
                <a:gd name="connsiteX35" fmla="*/ 5228 w 10000"/>
                <a:gd name="connsiteY35" fmla="*/ 9379 h 9591"/>
                <a:gd name="connsiteX36" fmla="*/ 5517 w 10000"/>
                <a:gd name="connsiteY36" fmla="*/ 9474 h 9591"/>
                <a:gd name="connsiteX37" fmla="*/ 5615 w 10000"/>
                <a:gd name="connsiteY37" fmla="*/ 9391 h 9591"/>
                <a:gd name="connsiteX38" fmla="*/ 5716 w 10000"/>
                <a:gd name="connsiteY38" fmla="*/ 9379 h 9591"/>
                <a:gd name="connsiteX39" fmla="*/ 5914 w 10000"/>
                <a:gd name="connsiteY39" fmla="*/ 9591 h 9591"/>
                <a:gd name="connsiteX40" fmla="*/ 6101 w 10000"/>
                <a:gd name="connsiteY40" fmla="*/ 9416 h 9591"/>
                <a:gd name="connsiteX41" fmla="*/ 6329 w 10000"/>
                <a:gd name="connsiteY41" fmla="*/ 9427 h 9591"/>
                <a:gd name="connsiteX42" fmla="*/ 6500 w 10000"/>
                <a:gd name="connsiteY42" fmla="*/ 9332 h 9591"/>
                <a:gd name="connsiteX43" fmla="*/ 6744 w 10000"/>
                <a:gd name="connsiteY43" fmla="*/ 9427 h 9591"/>
                <a:gd name="connsiteX44" fmla="*/ 7058 w 10000"/>
                <a:gd name="connsiteY44" fmla="*/ 9134 h 9591"/>
                <a:gd name="connsiteX45" fmla="*/ 7171 w 10000"/>
                <a:gd name="connsiteY45" fmla="*/ 9134 h 9591"/>
                <a:gd name="connsiteX46" fmla="*/ 7372 w 10000"/>
                <a:gd name="connsiteY46" fmla="*/ 8898 h 9591"/>
                <a:gd name="connsiteX47" fmla="*/ 8228 w 10000"/>
                <a:gd name="connsiteY47" fmla="*/ 8886 h 9591"/>
                <a:gd name="connsiteX48" fmla="*/ 8415 w 10000"/>
                <a:gd name="connsiteY48" fmla="*/ 8795 h 9591"/>
                <a:gd name="connsiteX49" fmla="*/ 8401 w 10000"/>
                <a:gd name="connsiteY49" fmla="*/ 8677 h 9591"/>
                <a:gd name="connsiteX50" fmla="*/ 8343 w 10000"/>
                <a:gd name="connsiteY50" fmla="*/ 8418 h 9591"/>
                <a:gd name="connsiteX51" fmla="*/ 7986 w 10000"/>
                <a:gd name="connsiteY51" fmla="*/ 8336 h 9591"/>
                <a:gd name="connsiteX52" fmla="*/ 7815 w 10000"/>
                <a:gd name="connsiteY52" fmla="*/ 7925 h 9591"/>
                <a:gd name="connsiteX53" fmla="*/ 7715 w 10000"/>
                <a:gd name="connsiteY53" fmla="*/ 7879 h 9591"/>
                <a:gd name="connsiteX54" fmla="*/ 7688 w 10000"/>
                <a:gd name="connsiteY54" fmla="*/ 7586 h 9591"/>
                <a:gd name="connsiteX55" fmla="*/ 7559 w 10000"/>
                <a:gd name="connsiteY55" fmla="*/ 7574 h 9591"/>
                <a:gd name="connsiteX56" fmla="*/ 7514 w 10000"/>
                <a:gd name="connsiteY56" fmla="*/ 7422 h 9591"/>
                <a:gd name="connsiteX57" fmla="*/ 7300 w 10000"/>
                <a:gd name="connsiteY57" fmla="*/ 7386 h 9591"/>
                <a:gd name="connsiteX58" fmla="*/ 7228 w 10000"/>
                <a:gd name="connsiteY58" fmla="*/ 7152 h 9591"/>
                <a:gd name="connsiteX59" fmla="*/ 6873 w 10000"/>
                <a:gd name="connsiteY59" fmla="*/ 6929 h 9591"/>
                <a:gd name="connsiteX60" fmla="*/ 6485 w 10000"/>
                <a:gd name="connsiteY60" fmla="*/ 6895 h 9591"/>
                <a:gd name="connsiteX61" fmla="*/ 6588 w 10000"/>
                <a:gd name="connsiteY61" fmla="*/ 6635 h 9591"/>
                <a:gd name="connsiteX62" fmla="*/ 6560 w 10000"/>
                <a:gd name="connsiteY62" fmla="*/ 6449 h 9591"/>
                <a:gd name="connsiteX63" fmla="*/ 6887 w 10000"/>
                <a:gd name="connsiteY63" fmla="*/ 6461 h 9591"/>
                <a:gd name="connsiteX64" fmla="*/ 6957 w 10000"/>
                <a:gd name="connsiteY64" fmla="*/ 6518 h 9591"/>
                <a:gd name="connsiteX65" fmla="*/ 7158 w 10000"/>
                <a:gd name="connsiteY65" fmla="*/ 6401 h 9591"/>
                <a:gd name="connsiteX66" fmla="*/ 7214 w 10000"/>
                <a:gd name="connsiteY66" fmla="*/ 5980 h 9591"/>
                <a:gd name="connsiteX67" fmla="*/ 7131 w 10000"/>
                <a:gd name="connsiteY67" fmla="*/ 5664 h 9591"/>
                <a:gd name="connsiteX68" fmla="*/ 7372 w 10000"/>
                <a:gd name="connsiteY68" fmla="*/ 5406 h 9591"/>
                <a:gd name="connsiteX69" fmla="*/ 7300 w 10000"/>
                <a:gd name="connsiteY69" fmla="*/ 5158 h 9591"/>
                <a:gd name="connsiteX70" fmla="*/ 7459 w 10000"/>
                <a:gd name="connsiteY70" fmla="*/ 4923 h 9591"/>
                <a:gd name="connsiteX71" fmla="*/ 7559 w 10000"/>
                <a:gd name="connsiteY71" fmla="*/ 5054 h 9591"/>
                <a:gd name="connsiteX72" fmla="*/ 7728 w 10000"/>
                <a:gd name="connsiteY72" fmla="*/ 4996 h 9591"/>
                <a:gd name="connsiteX73" fmla="*/ 7715 w 10000"/>
                <a:gd name="connsiteY73" fmla="*/ 4632 h 9591"/>
                <a:gd name="connsiteX74" fmla="*/ 7815 w 10000"/>
                <a:gd name="connsiteY74" fmla="*/ 4502 h 9591"/>
                <a:gd name="connsiteX75" fmla="*/ 7787 w 10000"/>
                <a:gd name="connsiteY75" fmla="*/ 4327 h 9591"/>
                <a:gd name="connsiteX76" fmla="*/ 8015 w 10000"/>
                <a:gd name="connsiteY76" fmla="*/ 4221 h 9591"/>
                <a:gd name="connsiteX77" fmla="*/ 8029 w 10000"/>
                <a:gd name="connsiteY77" fmla="*/ 3985 h 9591"/>
                <a:gd name="connsiteX78" fmla="*/ 8201 w 10000"/>
                <a:gd name="connsiteY78" fmla="*/ 3763 h 9591"/>
                <a:gd name="connsiteX79" fmla="*/ 8512 w 10000"/>
                <a:gd name="connsiteY79" fmla="*/ 3741 h 9591"/>
                <a:gd name="connsiteX80" fmla="*/ 8486 w 10000"/>
                <a:gd name="connsiteY80" fmla="*/ 3434 h 9591"/>
                <a:gd name="connsiteX81" fmla="*/ 8716 w 10000"/>
                <a:gd name="connsiteY81" fmla="*/ 3107 h 9591"/>
                <a:gd name="connsiteX82" fmla="*/ 8716 w 10000"/>
                <a:gd name="connsiteY82" fmla="*/ 2755 h 9591"/>
                <a:gd name="connsiteX83" fmla="*/ 8686 w 10000"/>
                <a:gd name="connsiteY83" fmla="*/ 2368 h 9591"/>
                <a:gd name="connsiteX84" fmla="*/ 8617 w 10000"/>
                <a:gd name="connsiteY84" fmla="*/ 2251 h 9591"/>
                <a:gd name="connsiteX85" fmla="*/ 8785 w 10000"/>
                <a:gd name="connsiteY85" fmla="*/ 2086 h 9591"/>
                <a:gd name="connsiteX86" fmla="*/ 8799 w 10000"/>
                <a:gd name="connsiteY86" fmla="*/ 1888 h 9591"/>
                <a:gd name="connsiteX87" fmla="*/ 8973 w 10000"/>
                <a:gd name="connsiteY87" fmla="*/ 1652 h 9591"/>
                <a:gd name="connsiteX88" fmla="*/ 8885 w 10000"/>
                <a:gd name="connsiteY88" fmla="*/ 1289 h 9591"/>
                <a:gd name="connsiteX89" fmla="*/ 9044 w 10000"/>
                <a:gd name="connsiteY89" fmla="*/ 1194 h 9591"/>
                <a:gd name="connsiteX90" fmla="*/ 9044 w 10000"/>
                <a:gd name="connsiteY90" fmla="*/ 1078 h 9591"/>
                <a:gd name="connsiteX91" fmla="*/ 9312 w 10000"/>
                <a:gd name="connsiteY91" fmla="*/ 996 h 9591"/>
                <a:gd name="connsiteX92" fmla="*/ 9327 w 10000"/>
                <a:gd name="connsiteY92" fmla="*/ 820 h 9591"/>
                <a:gd name="connsiteX93" fmla="*/ 9844 w 10000"/>
                <a:gd name="connsiteY93" fmla="*/ 701 h 9591"/>
                <a:gd name="connsiteX94" fmla="*/ 10000 w 10000"/>
                <a:gd name="connsiteY94" fmla="*/ 407 h 9591"/>
                <a:gd name="connsiteX95" fmla="*/ 9644 w 10000"/>
                <a:gd name="connsiteY95" fmla="*/ 233 h 9591"/>
                <a:gd name="connsiteX96" fmla="*/ 9516 w 10000"/>
                <a:gd name="connsiteY96" fmla="*/ 0 h 9591"/>
                <a:gd name="connsiteX0" fmla="*/ 9644 w 10000"/>
                <a:gd name="connsiteY0" fmla="*/ 0 h 9757"/>
                <a:gd name="connsiteX1" fmla="*/ 4796 w 10000"/>
                <a:gd name="connsiteY1" fmla="*/ 4358 h 9757"/>
                <a:gd name="connsiteX2" fmla="*/ 1754 w 10000"/>
                <a:gd name="connsiteY2" fmla="*/ 4343 h 9757"/>
                <a:gd name="connsiteX3" fmla="*/ 769 w 10000"/>
                <a:gd name="connsiteY3" fmla="*/ 5360 h 9757"/>
                <a:gd name="connsiteX4" fmla="*/ 175 w 10000"/>
                <a:gd name="connsiteY4" fmla="*/ 5599 h 9757"/>
                <a:gd name="connsiteX5" fmla="*/ 2 w 10000"/>
                <a:gd name="connsiteY5" fmla="*/ 6078 h 9757"/>
                <a:gd name="connsiteX6" fmla="*/ 117 w 10000"/>
                <a:gd name="connsiteY6" fmla="*/ 6162 h 9757"/>
                <a:gd name="connsiteX7" fmla="*/ 32 w 10000"/>
                <a:gd name="connsiteY7" fmla="*/ 6295 h 9757"/>
                <a:gd name="connsiteX8" fmla="*/ 518 w 10000"/>
                <a:gd name="connsiteY8" fmla="*/ 6333 h 9757"/>
                <a:gd name="connsiteX9" fmla="*/ 518 w 10000"/>
                <a:gd name="connsiteY9" fmla="*/ 6419 h 9757"/>
                <a:gd name="connsiteX10" fmla="*/ 502 w 10000"/>
                <a:gd name="connsiteY10" fmla="*/ 6616 h 9757"/>
                <a:gd name="connsiteX11" fmla="*/ 1016 w 10000"/>
                <a:gd name="connsiteY11" fmla="*/ 6686 h 9757"/>
                <a:gd name="connsiteX12" fmla="*/ 1016 w 10000"/>
                <a:gd name="connsiteY12" fmla="*/ 6848 h 9757"/>
                <a:gd name="connsiteX13" fmla="*/ 1288 w 10000"/>
                <a:gd name="connsiteY13" fmla="*/ 6969 h 9757"/>
                <a:gd name="connsiteX14" fmla="*/ 1203 w 10000"/>
                <a:gd name="connsiteY14" fmla="*/ 7152 h 9757"/>
                <a:gd name="connsiteX15" fmla="*/ 1586 w 10000"/>
                <a:gd name="connsiteY15" fmla="*/ 7312 h 9757"/>
                <a:gd name="connsiteX16" fmla="*/ 1817 w 10000"/>
                <a:gd name="connsiteY16" fmla="*/ 7605 h 9757"/>
                <a:gd name="connsiteX17" fmla="*/ 2030 w 10000"/>
                <a:gd name="connsiteY17" fmla="*/ 7716 h 9757"/>
                <a:gd name="connsiteX18" fmla="*/ 1945 w 10000"/>
                <a:gd name="connsiteY18" fmla="*/ 7815 h 9757"/>
                <a:gd name="connsiteX19" fmla="*/ 2059 w 10000"/>
                <a:gd name="connsiteY19" fmla="*/ 7923 h 9757"/>
                <a:gd name="connsiteX20" fmla="*/ 2043 w 10000"/>
                <a:gd name="connsiteY20" fmla="*/ 8080 h 9757"/>
                <a:gd name="connsiteX21" fmla="*/ 2261 w 10000"/>
                <a:gd name="connsiteY21" fmla="*/ 8094 h 9757"/>
                <a:gd name="connsiteX22" fmla="*/ 2502 w 10000"/>
                <a:gd name="connsiteY22" fmla="*/ 8267 h 9757"/>
                <a:gd name="connsiteX23" fmla="*/ 2561 w 10000"/>
                <a:gd name="connsiteY23" fmla="*/ 8534 h 9757"/>
                <a:gd name="connsiteX24" fmla="*/ 2615 w 10000"/>
                <a:gd name="connsiteY24" fmla="*/ 8633 h 9757"/>
                <a:gd name="connsiteX25" fmla="*/ 2917 w 10000"/>
                <a:gd name="connsiteY25" fmla="*/ 8864 h 9757"/>
                <a:gd name="connsiteX26" fmla="*/ 2917 w 10000"/>
                <a:gd name="connsiteY26" fmla="*/ 9034 h 9757"/>
                <a:gd name="connsiteX27" fmla="*/ 3360 w 10000"/>
                <a:gd name="connsiteY27" fmla="*/ 9221 h 9757"/>
                <a:gd name="connsiteX28" fmla="*/ 3602 w 10000"/>
                <a:gd name="connsiteY28" fmla="*/ 9022 h 9757"/>
                <a:gd name="connsiteX29" fmla="*/ 3903 w 10000"/>
                <a:gd name="connsiteY29" fmla="*/ 9172 h 9757"/>
                <a:gd name="connsiteX30" fmla="*/ 4142 w 10000"/>
                <a:gd name="connsiteY30" fmla="*/ 8950 h 9757"/>
                <a:gd name="connsiteX31" fmla="*/ 4415 w 10000"/>
                <a:gd name="connsiteY31" fmla="*/ 9306 h 9757"/>
                <a:gd name="connsiteX32" fmla="*/ 4801 w 10000"/>
                <a:gd name="connsiteY32" fmla="*/ 9501 h 9757"/>
                <a:gd name="connsiteX33" fmla="*/ 4843 w 10000"/>
                <a:gd name="connsiteY33" fmla="*/ 9674 h 9757"/>
                <a:gd name="connsiteX34" fmla="*/ 5002 w 10000"/>
                <a:gd name="connsiteY34" fmla="*/ 9697 h 9757"/>
                <a:gd name="connsiteX35" fmla="*/ 5228 w 10000"/>
                <a:gd name="connsiteY35" fmla="*/ 9536 h 9757"/>
                <a:gd name="connsiteX36" fmla="*/ 5517 w 10000"/>
                <a:gd name="connsiteY36" fmla="*/ 9635 h 9757"/>
                <a:gd name="connsiteX37" fmla="*/ 5615 w 10000"/>
                <a:gd name="connsiteY37" fmla="*/ 9548 h 9757"/>
                <a:gd name="connsiteX38" fmla="*/ 5716 w 10000"/>
                <a:gd name="connsiteY38" fmla="*/ 9536 h 9757"/>
                <a:gd name="connsiteX39" fmla="*/ 5914 w 10000"/>
                <a:gd name="connsiteY39" fmla="*/ 9757 h 9757"/>
                <a:gd name="connsiteX40" fmla="*/ 6101 w 10000"/>
                <a:gd name="connsiteY40" fmla="*/ 9575 h 9757"/>
                <a:gd name="connsiteX41" fmla="*/ 6329 w 10000"/>
                <a:gd name="connsiteY41" fmla="*/ 9586 h 9757"/>
                <a:gd name="connsiteX42" fmla="*/ 6500 w 10000"/>
                <a:gd name="connsiteY42" fmla="*/ 9487 h 9757"/>
                <a:gd name="connsiteX43" fmla="*/ 6744 w 10000"/>
                <a:gd name="connsiteY43" fmla="*/ 9586 h 9757"/>
                <a:gd name="connsiteX44" fmla="*/ 7058 w 10000"/>
                <a:gd name="connsiteY44" fmla="*/ 9281 h 9757"/>
                <a:gd name="connsiteX45" fmla="*/ 7171 w 10000"/>
                <a:gd name="connsiteY45" fmla="*/ 9281 h 9757"/>
                <a:gd name="connsiteX46" fmla="*/ 7372 w 10000"/>
                <a:gd name="connsiteY46" fmla="*/ 9034 h 9757"/>
                <a:gd name="connsiteX47" fmla="*/ 8228 w 10000"/>
                <a:gd name="connsiteY47" fmla="*/ 9022 h 9757"/>
                <a:gd name="connsiteX48" fmla="*/ 8415 w 10000"/>
                <a:gd name="connsiteY48" fmla="*/ 8927 h 9757"/>
                <a:gd name="connsiteX49" fmla="*/ 8401 w 10000"/>
                <a:gd name="connsiteY49" fmla="*/ 8804 h 9757"/>
                <a:gd name="connsiteX50" fmla="*/ 8343 w 10000"/>
                <a:gd name="connsiteY50" fmla="*/ 8534 h 9757"/>
                <a:gd name="connsiteX51" fmla="*/ 7986 w 10000"/>
                <a:gd name="connsiteY51" fmla="*/ 8448 h 9757"/>
                <a:gd name="connsiteX52" fmla="*/ 7815 w 10000"/>
                <a:gd name="connsiteY52" fmla="*/ 8020 h 9757"/>
                <a:gd name="connsiteX53" fmla="*/ 7715 w 10000"/>
                <a:gd name="connsiteY53" fmla="*/ 7972 h 9757"/>
                <a:gd name="connsiteX54" fmla="*/ 7688 w 10000"/>
                <a:gd name="connsiteY54" fmla="*/ 7666 h 9757"/>
                <a:gd name="connsiteX55" fmla="*/ 7559 w 10000"/>
                <a:gd name="connsiteY55" fmla="*/ 7654 h 9757"/>
                <a:gd name="connsiteX56" fmla="*/ 7514 w 10000"/>
                <a:gd name="connsiteY56" fmla="*/ 7496 h 9757"/>
                <a:gd name="connsiteX57" fmla="*/ 7300 w 10000"/>
                <a:gd name="connsiteY57" fmla="*/ 7458 h 9757"/>
                <a:gd name="connsiteX58" fmla="*/ 7228 w 10000"/>
                <a:gd name="connsiteY58" fmla="*/ 7214 h 9757"/>
                <a:gd name="connsiteX59" fmla="*/ 6873 w 10000"/>
                <a:gd name="connsiteY59" fmla="*/ 6981 h 9757"/>
                <a:gd name="connsiteX60" fmla="*/ 6485 w 10000"/>
                <a:gd name="connsiteY60" fmla="*/ 6946 h 9757"/>
                <a:gd name="connsiteX61" fmla="*/ 6588 w 10000"/>
                <a:gd name="connsiteY61" fmla="*/ 6675 h 9757"/>
                <a:gd name="connsiteX62" fmla="*/ 6560 w 10000"/>
                <a:gd name="connsiteY62" fmla="*/ 6481 h 9757"/>
                <a:gd name="connsiteX63" fmla="*/ 6887 w 10000"/>
                <a:gd name="connsiteY63" fmla="*/ 6494 h 9757"/>
                <a:gd name="connsiteX64" fmla="*/ 6957 w 10000"/>
                <a:gd name="connsiteY64" fmla="*/ 6553 h 9757"/>
                <a:gd name="connsiteX65" fmla="*/ 7158 w 10000"/>
                <a:gd name="connsiteY65" fmla="*/ 6431 h 9757"/>
                <a:gd name="connsiteX66" fmla="*/ 7214 w 10000"/>
                <a:gd name="connsiteY66" fmla="*/ 5992 h 9757"/>
                <a:gd name="connsiteX67" fmla="*/ 7131 w 10000"/>
                <a:gd name="connsiteY67" fmla="*/ 5663 h 9757"/>
                <a:gd name="connsiteX68" fmla="*/ 7372 w 10000"/>
                <a:gd name="connsiteY68" fmla="*/ 5394 h 9757"/>
                <a:gd name="connsiteX69" fmla="*/ 7300 w 10000"/>
                <a:gd name="connsiteY69" fmla="*/ 5135 h 9757"/>
                <a:gd name="connsiteX70" fmla="*/ 7459 w 10000"/>
                <a:gd name="connsiteY70" fmla="*/ 4890 h 9757"/>
                <a:gd name="connsiteX71" fmla="*/ 7559 w 10000"/>
                <a:gd name="connsiteY71" fmla="*/ 5027 h 9757"/>
                <a:gd name="connsiteX72" fmla="*/ 7728 w 10000"/>
                <a:gd name="connsiteY72" fmla="*/ 4966 h 9757"/>
                <a:gd name="connsiteX73" fmla="*/ 7715 w 10000"/>
                <a:gd name="connsiteY73" fmla="*/ 4587 h 9757"/>
                <a:gd name="connsiteX74" fmla="*/ 7815 w 10000"/>
                <a:gd name="connsiteY74" fmla="*/ 4451 h 9757"/>
                <a:gd name="connsiteX75" fmla="*/ 7787 w 10000"/>
                <a:gd name="connsiteY75" fmla="*/ 4269 h 9757"/>
                <a:gd name="connsiteX76" fmla="*/ 8015 w 10000"/>
                <a:gd name="connsiteY76" fmla="*/ 4158 h 9757"/>
                <a:gd name="connsiteX77" fmla="*/ 8029 w 10000"/>
                <a:gd name="connsiteY77" fmla="*/ 3912 h 9757"/>
                <a:gd name="connsiteX78" fmla="*/ 8201 w 10000"/>
                <a:gd name="connsiteY78" fmla="*/ 3680 h 9757"/>
                <a:gd name="connsiteX79" fmla="*/ 8512 w 10000"/>
                <a:gd name="connsiteY79" fmla="*/ 3658 h 9757"/>
                <a:gd name="connsiteX80" fmla="*/ 8486 w 10000"/>
                <a:gd name="connsiteY80" fmla="*/ 3337 h 9757"/>
                <a:gd name="connsiteX81" fmla="*/ 8716 w 10000"/>
                <a:gd name="connsiteY81" fmla="*/ 2996 h 9757"/>
                <a:gd name="connsiteX82" fmla="*/ 8716 w 10000"/>
                <a:gd name="connsiteY82" fmla="*/ 2629 h 9757"/>
                <a:gd name="connsiteX83" fmla="*/ 8686 w 10000"/>
                <a:gd name="connsiteY83" fmla="*/ 2226 h 9757"/>
                <a:gd name="connsiteX84" fmla="*/ 8617 w 10000"/>
                <a:gd name="connsiteY84" fmla="*/ 2104 h 9757"/>
                <a:gd name="connsiteX85" fmla="*/ 8785 w 10000"/>
                <a:gd name="connsiteY85" fmla="*/ 1932 h 9757"/>
                <a:gd name="connsiteX86" fmla="*/ 8799 w 10000"/>
                <a:gd name="connsiteY86" fmla="*/ 1726 h 9757"/>
                <a:gd name="connsiteX87" fmla="*/ 8973 w 10000"/>
                <a:gd name="connsiteY87" fmla="*/ 1479 h 9757"/>
                <a:gd name="connsiteX88" fmla="*/ 8885 w 10000"/>
                <a:gd name="connsiteY88" fmla="*/ 1101 h 9757"/>
                <a:gd name="connsiteX89" fmla="*/ 9044 w 10000"/>
                <a:gd name="connsiteY89" fmla="*/ 1002 h 9757"/>
                <a:gd name="connsiteX90" fmla="*/ 9044 w 10000"/>
                <a:gd name="connsiteY90" fmla="*/ 881 h 9757"/>
                <a:gd name="connsiteX91" fmla="*/ 9312 w 10000"/>
                <a:gd name="connsiteY91" fmla="*/ 795 h 9757"/>
                <a:gd name="connsiteX92" fmla="*/ 9327 w 10000"/>
                <a:gd name="connsiteY92" fmla="*/ 612 h 9757"/>
                <a:gd name="connsiteX93" fmla="*/ 9844 w 10000"/>
                <a:gd name="connsiteY93" fmla="*/ 488 h 9757"/>
                <a:gd name="connsiteX94" fmla="*/ 10000 w 10000"/>
                <a:gd name="connsiteY94" fmla="*/ 181 h 9757"/>
                <a:gd name="connsiteX95" fmla="*/ 9644 w 10000"/>
                <a:gd name="connsiteY95" fmla="*/ 0 h 9757"/>
                <a:gd name="connsiteX0" fmla="*/ 10000 w 10000"/>
                <a:gd name="connsiteY0" fmla="*/ 0 h 9814"/>
                <a:gd name="connsiteX1" fmla="*/ 4796 w 10000"/>
                <a:gd name="connsiteY1" fmla="*/ 4281 h 9814"/>
                <a:gd name="connsiteX2" fmla="*/ 1754 w 10000"/>
                <a:gd name="connsiteY2" fmla="*/ 4265 h 9814"/>
                <a:gd name="connsiteX3" fmla="*/ 769 w 10000"/>
                <a:gd name="connsiteY3" fmla="*/ 5307 h 9814"/>
                <a:gd name="connsiteX4" fmla="*/ 175 w 10000"/>
                <a:gd name="connsiteY4" fmla="*/ 5552 h 9814"/>
                <a:gd name="connsiteX5" fmla="*/ 2 w 10000"/>
                <a:gd name="connsiteY5" fmla="*/ 6043 h 9814"/>
                <a:gd name="connsiteX6" fmla="*/ 117 w 10000"/>
                <a:gd name="connsiteY6" fmla="*/ 6129 h 9814"/>
                <a:gd name="connsiteX7" fmla="*/ 32 w 10000"/>
                <a:gd name="connsiteY7" fmla="*/ 6266 h 9814"/>
                <a:gd name="connsiteX8" fmla="*/ 518 w 10000"/>
                <a:gd name="connsiteY8" fmla="*/ 6305 h 9814"/>
                <a:gd name="connsiteX9" fmla="*/ 518 w 10000"/>
                <a:gd name="connsiteY9" fmla="*/ 6393 h 9814"/>
                <a:gd name="connsiteX10" fmla="*/ 502 w 10000"/>
                <a:gd name="connsiteY10" fmla="*/ 6595 h 9814"/>
                <a:gd name="connsiteX11" fmla="*/ 1016 w 10000"/>
                <a:gd name="connsiteY11" fmla="*/ 6667 h 9814"/>
                <a:gd name="connsiteX12" fmla="*/ 1016 w 10000"/>
                <a:gd name="connsiteY12" fmla="*/ 6833 h 9814"/>
                <a:gd name="connsiteX13" fmla="*/ 1288 w 10000"/>
                <a:gd name="connsiteY13" fmla="*/ 6957 h 9814"/>
                <a:gd name="connsiteX14" fmla="*/ 1203 w 10000"/>
                <a:gd name="connsiteY14" fmla="*/ 7144 h 9814"/>
                <a:gd name="connsiteX15" fmla="*/ 1586 w 10000"/>
                <a:gd name="connsiteY15" fmla="*/ 7308 h 9814"/>
                <a:gd name="connsiteX16" fmla="*/ 1817 w 10000"/>
                <a:gd name="connsiteY16" fmla="*/ 7608 h 9814"/>
                <a:gd name="connsiteX17" fmla="*/ 2030 w 10000"/>
                <a:gd name="connsiteY17" fmla="*/ 7722 h 9814"/>
                <a:gd name="connsiteX18" fmla="*/ 1945 w 10000"/>
                <a:gd name="connsiteY18" fmla="*/ 7824 h 9814"/>
                <a:gd name="connsiteX19" fmla="*/ 2059 w 10000"/>
                <a:gd name="connsiteY19" fmla="*/ 7934 h 9814"/>
                <a:gd name="connsiteX20" fmla="*/ 2043 w 10000"/>
                <a:gd name="connsiteY20" fmla="*/ 8095 h 9814"/>
                <a:gd name="connsiteX21" fmla="*/ 2261 w 10000"/>
                <a:gd name="connsiteY21" fmla="*/ 8110 h 9814"/>
                <a:gd name="connsiteX22" fmla="*/ 2502 w 10000"/>
                <a:gd name="connsiteY22" fmla="*/ 8287 h 9814"/>
                <a:gd name="connsiteX23" fmla="*/ 2561 w 10000"/>
                <a:gd name="connsiteY23" fmla="*/ 8561 h 9814"/>
                <a:gd name="connsiteX24" fmla="*/ 2615 w 10000"/>
                <a:gd name="connsiteY24" fmla="*/ 8662 h 9814"/>
                <a:gd name="connsiteX25" fmla="*/ 2917 w 10000"/>
                <a:gd name="connsiteY25" fmla="*/ 8899 h 9814"/>
                <a:gd name="connsiteX26" fmla="*/ 2917 w 10000"/>
                <a:gd name="connsiteY26" fmla="*/ 9073 h 9814"/>
                <a:gd name="connsiteX27" fmla="*/ 3360 w 10000"/>
                <a:gd name="connsiteY27" fmla="*/ 9265 h 9814"/>
                <a:gd name="connsiteX28" fmla="*/ 3602 w 10000"/>
                <a:gd name="connsiteY28" fmla="*/ 9061 h 9814"/>
                <a:gd name="connsiteX29" fmla="*/ 3903 w 10000"/>
                <a:gd name="connsiteY29" fmla="*/ 9214 h 9814"/>
                <a:gd name="connsiteX30" fmla="*/ 4142 w 10000"/>
                <a:gd name="connsiteY30" fmla="*/ 8987 h 9814"/>
                <a:gd name="connsiteX31" fmla="*/ 4415 w 10000"/>
                <a:gd name="connsiteY31" fmla="*/ 9352 h 9814"/>
                <a:gd name="connsiteX32" fmla="*/ 4801 w 10000"/>
                <a:gd name="connsiteY32" fmla="*/ 9552 h 9814"/>
                <a:gd name="connsiteX33" fmla="*/ 4843 w 10000"/>
                <a:gd name="connsiteY33" fmla="*/ 9729 h 9814"/>
                <a:gd name="connsiteX34" fmla="*/ 5002 w 10000"/>
                <a:gd name="connsiteY34" fmla="*/ 9753 h 9814"/>
                <a:gd name="connsiteX35" fmla="*/ 5228 w 10000"/>
                <a:gd name="connsiteY35" fmla="*/ 9587 h 9814"/>
                <a:gd name="connsiteX36" fmla="*/ 5517 w 10000"/>
                <a:gd name="connsiteY36" fmla="*/ 9689 h 9814"/>
                <a:gd name="connsiteX37" fmla="*/ 5615 w 10000"/>
                <a:gd name="connsiteY37" fmla="*/ 9600 h 9814"/>
                <a:gd name="connsiteX38" fmla="*/ 5716 w 10000"/>
                <a:gd name="connsiteY38" fmla="*/ 9587 h 9814"/>
                <a:gd name="connsiteX39" fmla="*/ 5914 w 10000"/>
                <a:gd name="connsiteY39" fmla="*/ 9814 h 9814"/>
                <a:gd name="connsiteX40" fmla="*/ 6101 w 10000"/>
                <a:gd name="connsiteY40" fmla="*/ 9627 h 9814"/>
                <a:gd name="connsiteX41" fmla="*/ 6329 w 10000"/>
                <a:gd name="connsiteY41" fmla="*/ 9639 h 9814"/>
                <a:gd name="connsiteX42" fmla="*/ 6500 w 10000"/>
                <a:gd name="connsiteY42" fmla="*/ 9537 h 9814"/>
                <a:gd name="connsiteX43" fmla="*/ 6744 w 10000"/>
                <a:gd name="connsiteY43" fmla="*/ 9639 h 9814"/>
                <a:gd name="connsiteX44" fmla="*/ 7058 w 10000"/>
                <a:gd name="connsiteY44" fmla="*/ 9326 h 9814"/>
                <a:gd name="connsiteX45" fmla="*/ 7171 w 10000"/>
                <a:gd name="connsiteY45" fmla="*/ 9326 h 9814"/>
                <a:gd name="connsiteX46" fmla="*/ 7372 w 10000"/>
                <a:gd name="connsiteY46" fmla="*/ 9073 h 9814"/>
                <a:gd name="connsiteX47" fmla="*/ 8228 w 10000"/>
                <a:gd name="connsiteY47" fmla="*/ 9061 h 9814"/>
                <a:gd name="connsiteX48" fmla="*/ 8415 w 10000"/>
                <a:gd name="connsiteY48" fmla="*/ 8963 h 9814"/>
                <a:gd name="connsiteX49" fmla="*/ 8401 w 10000"/>
                <a:gd name="connsiteY49" fmla="*/ 8837 h 9814"/>
                <a:gd name="connsiteX50" fmla="*/ 8343 w 10000"/>
                <a:gd name="connsiteY50" fmla="*/ 8561 h 9814"/>
                <a:gd name="connsiteX51" fmla="*/ 7986 w 10000"/>
                <a:gd name="connsiteY51" fmla="*/ 8472 h 9814"/>
                <a:gd name="connsiteX52" fmla="*/ 7815 w 10000"/>
                <a:gd name="connsiteY52" fmla="*/ 8034 h 9814"/>
                <a:gd name="connsiteX53" fmla="*/ 7715 w 10000"/>
                <a:gd name="connsiteY53" fmla="*/ 7985 h 9814"/>
                <a:gd name="connsiteX54" fmla="*/ 7688 w 10000"/>
                <a:gd name="connsiteY54" fmla="*/ 7671 h 9814"/>
                <a:gd name="connsiteX55" fmla="*/ 7559 w 10000"/>
                <a:gd name="connsiteY55" fmla="*/ 7659 h 9814"/>
                <a:gd name="connsiteX56" fmla="*/ 7514 w 10000"/>
                <a:gd name="connsiteY56" fmla="*/ 7497 h 9814"/>
                <a:gd name="connsiteX57" fmla="*/ 7300 w 10000"/>
                <a:gd name="connsiteY57" fmla="*/ 7458 h 9814"/>
                <a:gd name="connsiteX58" fmla="*/ 7228 w 10000"/>
                <a:gd name="connsiteY58" fmla="*/ 7208 h 9814"/>
                <a:gd name="connsiteX59" fmla="*/ 6873 w 10000"/>
                <a:gd name="connsiteY59" fmla="*/ 6969 h 9814"/>
                <a:gd name="connsiteX60" fmla="*/ 6485 w 10000"/>
                <a:gd name="connsiteY60" fmla="*/ 6933 h 9814"/>
                <a:gd name="connsiteX61" fmla="*/ 6588 w 10000"/>
                <a:gd name="connsiteY61" fmla="*/ 6655 h 9814"/>
                <a:gd name="connsiteX62" fmla="*/ 6560 w 10000"/>
                <a:gd name="connsiteY62" fmla="*/ 6456 h 9814"/>
                <a:gd name="connsiteX63" fmla="*/ 6887 w 10000"/>
                <a:gd name="connsiteY63" fmla="*/ 6470 h 9814"/>
                <a:gd name="connsiteX64" fmla="*/ 6957 w 10000"/>
                <a:gd name="connsiteY64" fmla="*/ 6530 h 9814"/>
                <a:gd name="connsiteX65" fmla="*/ 7158 w 10000"/>
                <a:gd name="connsiteY65" fmla="*/ 6405 h 9814"/>
                <a:gd name="connsiteX66" fmla="*/ 7214 w 10000"/>
                <a:gd name="connsiteY66" fmla="*/ 5955 h 9814"/>
                <a:gd name="connsiteX67" fmla="*/ 7131 w 10000"/>
                <a:gd name="connsiteY67" fmla="*/ 5618 h 9814"/>
                <a:gd name="connsiteX68" fmla="*/ 7372 w 10000"/>
                <a:gd name="connsiteY68" fmla="*/ 5342 h 9814"/>
                <a:gd name="connsiteX69" fmla="*/ 7300 w 10000"/>
                <a:gd name="connsiteY69" fmla="*/ 5077 h 9814"/>
                <a:gd name="connsiteX70" fmla="*/ 7459 w 10000"/>
                <a:gd name="connsiteY70" fmla="*/ 4826 h 9814"/>
                <a:gd name="connsiteX71" fmla="*/ 7559 w 10000"/>
                <a:gd name="connsiteY71" fmla="*/ 4966 h 9814"/>
                <a:gd name="connsiteX72" fmla="*/ 7728 w 10000"/>
                <a:gd name="connsiteY72" fmla="*/ 4904 h 9814"/>
                <a:gd name="connsiteX73" fmla="*/ 7715 w 10000"/>
                <a:gd name="connsiteY73" fmla="*/ 4515 h 9814"/>
                <a:gd name="connsiteX74" fmla="*/ 7815 w 10000"/>
                <a:gd name="connsiteY74" fmla="*/ 4376 h 9814"/>
                <a:gd name="connsiteX75" fmla="*/ 7787 w 10000"/>
                <a:gd name="connsiteY75" fmla="*/ 4189 h 9814"/>
                <a:gd name="connsiteX76" fmla="*/ 8015 w 10000"/>
                <a:gd name="connsiteY76" fmla="*/ 4076 h 9814"/>
                <a:gd name="connsiteX77" fmla="*/ 8029 w 10000"/>
                <a:gd name="connsiteY77" fmla="*/ 3823 h 9814"/>
                <a:gd name="connsiteX78" fmla="*/ 8201 w 10000"/>
                <a:gd name="connsiteY78" fmla="*/ 3586 h 9814"/>
                <a:gd name="connsiteX79" fmla="*/ 8512 w 10000"/>
                <a:gd name="connsiteY79" fmla="*/ 3563 h 9814"/>
                <a:gd name="connsiteX80" fmla="*/ 8486 w 10000"/>
                <a:gd name="connsiteY80" fmla="*/ 3234 h 9814"/>
                <a:gd name="connsiteX81" fmla="*/ 8716 w 10000"/>
                <a:gd name="connsiteY81" fmla="*/ 2885 h 9814"/>
                <a:gd name="connsiteX82" fmla="*/ 8716 w 10000"/>
                <a:gd name="connsiteY82" fmla="*/ 2508 h 9814"/>
                <a:gd name="connsiteX83" fmla="*/ 8686 w 10000"/>
                <a:gd name="connsiteY83" fmla="*/ 2095 h 9814"/>
                <a:gd name="connsiteX84" fmla="*/ 8617 w 10000"/>
                <a:gd name="connsiteY84" fmla="*/ 1970 h 9814"/>
                <a:gd name="connsiteX85" fmla="*/ 8785 w 10000"/>
                <a:gd name="connsiteY85" fmla="*/ 1794 h 9814"/>
                <a:gd name="connsiteX86" fmla="*/ 8799 w 10000"/>
                <a:gd name="connsiteY86" fmla="*/ 1583 h 9814"/>
                <a:gd name="connsiteX87" fmla="*/ 8973 w 10000"/>
                <a:gd name="connsiteY87" fmla="*/ 1330 h 9814"/>
                <a:gd name="connsiteX88" fmla="*/ 8885 w 10000"/>
                <a:gd name="connsiteY88" fmla="*/ 942 h 9814"/>
                <a:gd name="connsiteX89" fmla="*/ 9044 w 10000"/>
                <a:gd name="connsiteY89" fmla="*/ 841 h 9814"/>
                <a:gd name="connsiteX90" fmla="*/ 9044 w 10000"/>
                <a:gd name="connsiteY90" fmla="*/ 717 h 9814"/>
                <a:gd name="connsiteX91" fmla="*/ 9312 w 10000"/>
                <a:gd name="connsiteY91" fmla="*/ 629 h 9814"/>
                <a:gd name="connsiteX92" fmla="*/ 9327 w 10000"/>
                <a:gd name="connsiteY92" fmla="*/ 441 h 9814"/>
                <a:gd name="connsiteX93" fmla="*/ 9844 w 10000"/>
                <a:gd name="connsiteY93" fmla="*/ 314 h 9814"/>
                <a:gd name="connsiteX94" fmla="*/ 10000 w 10000"/>
                <a:gd name="connsiteY94" fmla="*/ 0 h 9814"/>
                <a:gd name="connsiteX0" fmla="*/ 9844 w 9844"/>
                <a:gd name="connsiteY0" fmla="*/ 0 h 9680"/>
                <a:gd name="connsiteX1" fmla="*/ 4796 w 9844"/>
                <a:gd name="connsiteY1" fmla="*/ 4042 h 9680"/>
                <a:gd name="connsiteX2" fmla="*/ 1754 w 9844"/>
                <a:gd name="connsiteY2" fmla="*/ 4026 h 9680"/>
                <a:gd name="connsiteX3" fmla="*/ 769 w 9844"/>
                <a:gd name="connsiteY3" fmla="*/ 5088 h 9680"/>
                <a:gd name="connsiteX4" fmla="*/ 175 w 9844"/>
                <a:gd name="connsiteY4" fmla="*/ 5337 h 9680"/>
                <a:gd name="connsiteX5" fmla="*/ 2 w 9844"/>
                <a:gd name="connsiteY5" fmla="*/ 5838 h 9680"/>
                <a:gd name="connsiteX6" fmla="*/ 117 w 9844"/>
                <a:gd name="connsiteY6" fmla="*/ 5925 h 9680"/>
                <a:gd name="connsiteX7" fmla="*/ 32 w 9844"/>
                <a:gd name="connsiteY7" fmla="*/ 6065 h 9680"/>
                <a:gd name="connsiteX8" fmla="*/ 518 w 9844"/>
                <a:gd name="connsiteY8" fmla="*/ 6104 h 9680"/>
                <a:gd name="connsiteX9" fmla="*/ 518 w 9844"/>
                <a:gd name="connsiteY9" fmla="*/ 6194 h 9680"/>
                <a:gd name="connsiteX10" fmla="*/ 502 w 9844"/>
                <a:gd name="connsiteY10" fmla="*/ 6400 h 9680"/>
                <a:gd name="connsiteX11" fmla="*/ 1016 w 9844"/>
                <a:gd name="connsiteY11" fmla="*/ 6473 h 9680"/>
                <a:gd name="connsiteX12" fmla="*/ 1016 w 9844"/>
                <a:gd name="connsiteY12" fmla="*/ 6643 h 9680"/>
                <a:gd name="connsiteX13" fmla="*/ 1288 w 9844"/>
                <a:gd name="connsiteY13" fmla="*/ 6769 h 9680"/>
                <a:gd name="connsiteX14" fmla="*/ 1203 w 9844"/>
                <a:gd name="connsiteY14" fmla="*/ 6959 h 9680"/>
                <a:gd name="connsiteX15" fmla="*/ 1586 w 9844"/>
                <a:gd name="connsiteY15" fmla="*/ 7127 h 9680"/>
                <a:gd name="connsiteX16" fmla="*/ 1817 w 9844"/>
                <a:gd name="connsiteY16" fmla="*/ 7432 h 9680"/>
                <a:gd name="connsiteX17" fmla="*/ 2030 w 9844"/>
                <a:gd name="connsiteY17" fmla="*/ 7548 h 9680"/>
                <a:gd name="connsiteX18" fmla="*/ 1945 w 9844"/>
                <a:gd name="connsiteY18" fmla="*/ 7652 h 9680"/>
                <a:gd name="connsiteX19" fmla="*/ 2059 w 9844"/>
                <a:gd name="connsiteY19" fmla="*/ 7764 h 9680"/>
                <a:gd name="connsiteX20" fmla="*/ 2043 w 9844"/>
                <a:gd name="connsiteY20" fmla="*/ 7928 h 9680"/>
                <a:gd name="connsiteX21" fmla="*/ 2261 w 9844"/>
                <a:gd name="connsiteY21" fmla="*/ 7944 h 9680"/>
                <a:gd name="connsiteX22" fmla="*/ 2502 w 9844"/>
                <a:gd name="connsiteY22" fmla="*/ 8124 h 9680"/>
                <a:gd name="connsiteX23" fmla="*/ 2561 w 9844"/>
                <a:gd name="connsiteY23" fmla="*/ 8403 h 9680"/>
                <a:gd name="connsiteX24" fmla="*/ 2615 w 9844"/>
                <a:gd name="connsiteY24" fmla="*/ 8506 h 9680"/>
                <a:gd name="connsiteX25" fmla="*/ 2917 w 9844"/>
                <a:gd name="connsiteY25" fmla="*/ 8748 h 9680"/>
                <a:gd name="connsiteX26" fmla="*/ 2917 w 9844"/>
                <a:gd name="connsiteY26" fmla="*/ 8925 h 9680"/>
                <a:gd name="connsiteX27" fmla="*/ 3360 w 9844"/>
                <a:gd name="connsiteY27" fmla="*/ 9121 h 9680"/>
                <a:gd name="connsiteX28" fmla="*/ 3602 w 9844"/>
                <a:gd name="connsiteY28" fmla="*/ 8913 h 9680"/>
                <a:gd name="connsiteX29" fmla="*/ 3903 w 9844"/>
                <a:gd name="connsiteY29" fmla="*/ 9069 h 9680"/>
                <a:gd name="connsiteX30" fmla="*/ 4142 w 9844"/>
                <a:gd name="connsiteY30" fmla="*/ 8837 h 9680"/>
                <a:gd name="connsiteX31" fmla="*/ 4415 w 9844"/>
                <a:gd name="connsiteY31" fmla="*/ 9209 h 9680"/>
                <a:gd name="connsiteX32" fmla="*/ 4801 w 9844"/>
                <a:gd name="connsiteY32" fmla="*/ 9413 h 9680"/>
                <a:gd name="connsiteX33" fmla="*/ 4843 w 9844"/>
                <a:gd name="connsiteY33" fmla="*/ 9593 h 9680"/>
                <a:gd name="connsiteX34" fmla="*/ 5002 w 9844"/>
                <a:gd name="connsiteY34" fmla="*/ 9618 h 9680"/>
                <a:gd name="connsiteX35" fmla="*/ 5228 w 9844"/>
                <a:gd name="connsiteY35" fmla="*/ 9449 h 9680"/>
                <a:gd name="connsiteX36" fmla="*/ 5517 w 9844"/>
                <a:gd name="connsiteY36" fmla="*/ 9553 h 9680"/>
                <a:gd name="connsiteX37" fmla="*/ 5615 w 9844"/>
                <a:gd name="connsiteY37" fmla="*/ 9462 h 9680"/>
                <a:gd name="connsiteX38" fmla="*/ 5716 w 9844"/>
                <a:gd name="connsiteY38" fmla="*/ 9449 h 9680"/>
                <a:gd name="connsiteX39" fmla="*/ 5914 w 9844"/>
                <a:gd name="connsiteY39" fmla="*/ 9680 h 9680"/>
                <a:gd name="connsiteX40" fmla="*/ 6101 w 9844"/>
                <a:gd name="connsiteY40" fmla="*/ 9489 h 9680"/>
                <a:gd name="connsiteX41" fmla="*/ 6329 w 9844"/>
                <a:gd name="connsiteY41" fmla="*/ 9502 h 9680"/>
                <a:gd name="connsiteX42" fmla="*/ 6500 w 9844"/>
                <a:gd name="connsiteY42" fmla="*/ 9398 h 9680"/>
                <a:gd name="connsiteX43" fmla="*/ 6744 w 9844"/>
                <a:gd name="connsiteY43" fmla="*/ 9502 h 9680"/>
                <a:gd name="connsiteX44" fmla="*/ 7058 w 9844"/>
                <a:gd name="connsiteY44" fmla="*/ 9183 h 9680"/>
                <a:gd name="connsiteX45" fmla="*/ 7171 w 9844"/>
                <a:gd name="connsiteY45" fmla="*/ 9183 h 9680"/>
                <a:gd name="connsiteX46" fmla="*/ 7372 w 9844"/>
                <a:gd name="connsiteY46" fmla="*/ 8925 h 9680"/>
                <a:gd name="connsiteX47" fmla="*/ 8228 w 9844"/>
                <a:gd name="connsiteY47" fmla="*/ 8913 h 9680"/>
                <a:gd name="connsiteX48" fmla="*/ 8415 w 9844"/>
                <a:gd name="connsiteY48" fmla="*/ 8813 h 9680"/>
                <a:gd name="connsiteX49" fmla="*/ 8401 w 9844"/>
                <a:gd name="connsiteY49" fmla="*/ 8684 h 9680"/>
                <a:gd name="connsiteX50" fmla="*/ 8343 w 9844"/>
                <a:gd name="connsiteY50" fmla="*/ 8403 h 9680"/>
                <a:gd name="connsiteX51" fmla="*/ 7986 w 9844"/>
                <a:gd name="connsiteY51" fmla="*/ 8313 h 9680"/>
                <a:gd name="connsiteX52" fmla="*/ 7815 w 9844"/>
                <a:gd name="connsiteY52" fmla="*/ 7866 h 9680"/>
                <a:gd name="connsiteX53" fmla="*/ 7715 w 9844"/>
                <a:gd name="connsiteY53" fmla="*/ 7816 h 9680"/>
                <a:gd name="connsiteX54" fmla="*/ 7688 w 9844"/>
                <a:gd name="connsiteY54" fmla="*/ 7496 h 9680"/>
                <a:gd name="connsiteX55" fmla="*/ 7559 w 9844"/>
                <a:gd name="connsiteY55" fmla="*/ 7484 h 9680"/>
                <a:gd name="connsiteX56" fmla="*/ 7514 w 9844"/>
                <a:gd name="connsiteY56" fmla="*/ 7319 h 9680"/>
                <a:gd name="connsiteX57" fmla="*/ 7300 w 9844"/>
                <a:gd name="connsiteY57" fmla="*/ 7279 h 9680"/>
                <a:gd name="connsiteX58" fmla="*/ 7228 w 9844"/>
                <a:gd name="connsiteY58" fmla="*/ 7025 h 9680"/>
                <a:gd name="connsiteX59" fmla="*/ 6873 w 9844"/>
                <a:gd name="connsiteY59" fmla="*/ 6781 h 9680"/>
                <a:gd name="connsiteX60" fmla="*/ 6485 w 9844"/>
                <a:gd name="connsiteY60" fmla="*/ 6744 h 9680"/>
                <a:gd name="connsiteX61" fmla="*/ 6588 w 9844"/>
                <a:gd name="connsiteY61" fmla="*/ 6461 h 9680"/>
                <a:gd name="connsiteX62" fmla="*/ 6560 w 9844"/>
                <a:gd name="connsiteY62" fmla="*/ 6258 h 9680"/>
                <a:gd name="connsiteX63" fmla="*/ 6887 w 9844"/>
                <a:gd name="connsiteY63" fmla="*/ 6273 h 9680"/>
                <a:gd name="connsiteX64" fmla="*/ 6957 w 9844"/>
                <a:gd name="connsiteY64" fmla="*/ 6334 h 9680"/>
                <a:gd name="connsiteX65" fmla="*/ 7158 w 9844"/>
                <a:gd name="connsiteY65" fmla="*/ 6206 h 9680"/>
                <a:gd name="connsiteX66" fmla="*/ 7214 w 9844"/>
                <a:gd name="connsiteY66" fmla="*/ 5748 h 9680"/>
                <a:gd name="connsiteX67" fmla="*/ 7131 w 9844"/>
                <a:gd name="connsiteY67" fmla="*/ 5404 h 9680"/>
                <a:gd name="connsiteX68" fmla="*/ 7372 w 9844"/>
                <a:gd name="connsiteY68" fmla="*/ 5123 h 9680"/>
                <a:gd name="connsiteX69" fmla="*/ 7300 w 9844"/>
                <a:gd name="connsiteY69" fmla="*/ 4853 h 9680"/>
                <a:gd name="connsiteX70" fmla="*/ 7459 w 9844"/>
                <a:gd name="connsiteY70" fmla="*/ 4597 h 9680"/>
                <a:gd name="connsiteX71" fmla="*/ 7559 w 9844"/>
                <a:gd name="connsiteY71" fmla="*/ 4740 h 9680"/>
                <a:gd name="connsiteX72" fmla="*/ 7728 w 9844"/>
                <a:gd name="connsiteY72" fmla="*/ 4677 h 9680"/>
                <a:gd name="connsiteX73" fmla="*/ 7715 w 9844"/>
                <a:gd name="connsiteY73" fmla="*/ 4281 h 9680"/>
                <a:gd name="connsiteX74" fmla="*/ 7815 w 9844"/>
                <a:gd name="connsiteY74" fmla="*/ 4139 h 9680"/>
                <a:gd name="connsiteX75" fmla="*/ 7787 w 9844"/>
                <a:gd name="connsiteY75" fmla="*/ 3948 h 9680"/>
                <a:gd name="connsiteX76" fmla="*/ 8015 w 9844"/>
                <a:gd name="connsiteY76" fmla="*/ 3833 h 9680"/>
                <a:gd name="connsiteX77" fmla="*/ 8029 w 9844"/>
                <a:gd name="connsiteY77" fmla="*/ 3575 h 9680"/>
                <a:gd name="connsiteX78" fmla="*/ 8201 w 9844"/>
                <a:gd name="connsiteY78" fmla="*/ 3334 h 9680"/>
                <a:gd name="connsiteX79" fmla="*/ 8512 w 9844"/>
                <a:gd name="connsiteY79" fmla="*/ 3311 h 9680"/>
                <a:gd name="connsiteX80" fmla="*/ 8486 w 9844"/>
                <a:gd name="connsiteY80" fmla="*/ 2975 h 9680"/>
                <a:gd name="connsiteX81" fmla="*/ 8716 w 9844"/>
                <a:gd name="connsiteY81" fmla="*/ 2620 h 9680"/>
                <a:gd name="connsiteX82" fmla="*/ 8716 w 9844"/>
                <a:gd name="connsiteY82" fmla="*/ 2236 h 9680"/>
                <a:gd name="connsiteX83" fmla="*/ 8686 w 9844"/>
                <a:gd name="connsiteY83" fmla="*/ 1815 h 9680"/>
                <a:gd name="connsiteX84" fmla="*/ 8617 w 9844"/>
                <a:gd name="connsiteY84" fmla="*/ 1687 h 9680"/>
                <a:gd name="connsiteX85" fmla="*/ 8785 w 9844"/>
                <a:gd name="connsiteY85" fmla="*/ 1508 h 9680"/>
                <a:gd name="connsiteX86" fmla="*/ 8799 w 9844"/>
                <a:gd name="connsiteY86" fmla="*/ 1293 h 9680"/>
                <a:gd name="connsiteX87" fmla="*/ 8973 w 9844"/>
                <a:gd name="connsiteY87" fmla="*/ 1035 h 9680"/>
                <a:gd name="connsiteX88" fmla="*/ 8885 w 9844"/>
                <a:gd name="connsiteY88" fmla="*/ 640 h 9680"/>
                <a:gd name="connsiteX89" fmla="*/ 9044 w 9844"/>
                <a:gd name="connsiteY89" fmla="*/ 537 h 9680"/>
                <a:gd name="connsiteX90" fmla="*/ 9044 w 9844"/>
                <a:gd name="connsiteY90" fmla="*/ 411 h 9680"/>
                <a:gd name="connsiteX91" fmla="*/ 9312 w 9844"/>
                <a:gd name="connsiteY91" fmla="*/ 321 h 9680"/>
                <a:gd name="connsiteX92" fmla="*/ 9327 w 9844"/>
                <a:gd name="connsiteY92" fmla="*/ 129 h 9680"/>
                <a:gd name="connsiteX93" fmla="*/ 9844 w 9844"/>
                <a:gd name="connsiteY93" fmla="*/ 0 h 9680"/>
                <a:gd name="connsiteX0" fmla="*/ 9475 w 9814"/>
                <a:gd name="connsiteY0" fmla="*/ 257 h 10124"/>
                <a:gd name="connsiteX1" fmla="*/ 4872 w 9814"/>
                <a:gd name="connsiteY1" fmla="*/ 4300 h 10124"/>
                <a:gd name="connsiteX2" fmla="*/ 1782 w 9814"/>
                <a:gd name="connsiteY2" fmla="*/ 4283 h 10124"/>
                <a:gd name="connsiteX3" fmla="*/ 781 w 9814"/>
                <a:gd name="connsiteY3" fmla="*/ 5380 h 10124"/>
                <a:gd name="connsiteX4" fmla="*/ 178 w 9814"/>
                <a:gd name="connsiteY4" fmla="*/ 5637 h 10124"/>
                <a:gd name="connsiteX5" fmla="*/ 2 w 9814"/>
                <a:gd name="connsiteY5" fmla="*/ 6155 h 10124"/>
                <a:gd name="connsiteX6" fmla="*/ 119 w 9814"/>
                <a:gd name="connsiteY6" fmla="*/ 6245 h 10124"/>
                <a:gd name="connsiteX7" fmla="*/ 33 w 9814"/>
                <a:gd name="connsiteY7" fmla="*/ 6389 h 10124"/>
                <a:gd name="connsiteX8" fmla="*/ 526 w 9814"/>
                <a:gd name="connsiteY8" fmla="*/ 6430 h 10124"/>
                <a:gd name="connsiteX9" fmla="*/ 526 w 9814"/>
                <a:gd name="connsiteY9" fmla="*/ 6523 h 10124"/>
                <a:gd name="connsiteX10" fmla="*/ 510 w 9814"/>
                <a:gd name="connsiteY10" fmla="*/ 6736 h 10124"/>
                <a:gd name="connsiteX11" fmla="*/ 1032 w 9814"/>
                <a:gd name="connsiteY11" fmla="*/ 6811 h 10124"/>
                <a:gd name="connsiteX12" fmla="*/ 1032 w 9814"/>
                <a:gd name="connsiteY12" fmla="*/ 6987 h 10124"/>
                <a:gd name="connsiteX13" fmla="*/ 1308 w 9814"/>
                <a:gd name="connsiteY13" fmla="*/ 7117 h 10124"/>
                <a:gd name="connsiteX14" fmla="*/ 1222 w 9814"/>
                <a:gd name="connsiteY14" fmla="*/ 7313 h 10124"/>
                <a:gd name="connsiteX15" fmla="*/ 1611 w 9814"/>
                <a:gd name="connsiteY15" fmla="*/ 7487 h 10124"/>
                <a:gd name="connsiteX16" fmla="*/ 1846 w 9814"/>
                <a:gd name="connsiteY16" fmla="*/ 7802 h 10124"/>
                <a:gd name="connsiteX17" fmla="*/ 2062 w 9814"/>
                <a:gd name="connsiteY17" fmla="*/ 7922 h 10124"/>
                <a:gd name="connsiteX18" fmla="*/ 1976 w 9814"/>
                <a:gd name="connsiteY18" fmla="*/ 8029 h 10124"/>
                <a:gd name="connsiteX19" fmla="*/ 2092 w 9814"/>
                <a:gd name="connsiteY19" fmla="*/ 8145 h 10124"/>
                <a:gd name="connsiteX20" fmla="*/ 2075 w 9814"/>
                <a:gd name="connsiteY20" fmla="*/ 8314 h 10124"/>
                <a:gd name="connsiteX21" fmla="*/ 2297 w 9814"/>
                <a:gd name="connsiteY21" fmla="*/ 8331 h 10124"/>
                <a:gd name="connsiteX22" fmla="*/ 2542 w 9814"/>
                <a:gd name="connsiteY22" fmla="*/ 8517 h 10124"/>
                <a:gd name="connsiteX23" fmla="*/ 2602 w 9814"/>
                <a:gd name="connsiteY23" fmla="*/ 8805 h 10124"/>
                <a:gd name="connsiteX24" fmla="*/ 2656 w 9814"/>
                <a:gd name="connsiteY24" fmla="*/ 8911 h 10124"/>
                <a:gd name="connsiteX25" fmla="*/ 2963 w 9814"/>
                <a:gd name="connsiteY25" fmla="*/ 9161 h 10124"/>
                <a:gd name="connsiteX26" fmla="*/ 2963 w 9814"/>
                <a:gd name="connsiteY26" fmla="*/ 9344 h 10124"/>
                <a:gd name="connsiteX27" fmla="*/ 3413 w 9814"/>
                <a:gd name="connsiteY27" fmla="*/ 9547 h 10124"/>
                <a:gd name="connsiteX28" fmla="*/ 3659 w 9814"/>
                <a:gd name="connsiteY28" fmla="*/ 9332 h 10124"/>
                <a:gd name="connsiteX29" fmla="*/ 3965 w 9814"/>
                <a:gd name="connsiteY29" fmla="*/ 9493 h 10124"/>
                <a:gd name="connsiteX30" fmla="*/ 4208 w 9814"/>
                <a:gd name="connsiteY30" fmla="*/ 9253 h 10124"/>
                <a:gd name="connsiteX31" fmla="*/ 4485 w 9814"/>
                <a:gd name="connsiteY31" fmla="*/ 9637 h 10124"/>
                <a:gd name="connsiteX32" fmla="*/ 4877 w 9814"/>
                <a:gd name="connsiteY32" fmla="*/ 9848 h 10124"/>
                <a:gd name="connsiteX33" fmla="*/ 4920 w 9814"/>
                <a:gd name="connsiteY33" fmla="*/ 10034 h 10124"/>
                <a:gd name="connsiteX34" fmla="*/ 5081 w 9814"/>
                <a:gd name="connsiteY34" fmla="*/ 10060 h 10124"/>
                <a:gd name="connsiteX35" fmla="*/ 5311 w 9814"/>
                <a:gd name="connsiteY35" fmla="*/ 9885 h 10124"/>
                <a:gd name="connsiteX36" fmla="*/ 5604 w 9814"/>
                <a:gd name="connsiteY36" fmla="*/ 9993 h 10124"/>
                <a:gd name="connsiteX37" fmla="*/ 5704 w 9814"/>
                <a:gd name="connsiteY37" fmla="*/ 9899 h 10124"/>
                <a:gd name="connsiteX38" fmla="*/ 5807 w 9814"/>
                <a:gd name="connsiteY38" fmla="*/ 9885 h 10124"/>
                <a:gd name="connsiteX39" fmla="*/ 6008 w 9814"/>
                <a:gd name="connsiteY39" fmla="*/ 10124 h 10124"/>
                <a:gd name="connsiteX40" fmla="*/ 6198 w 9814"/>
                <a:gd name="connsiteY40" fmla="*/ 9927 h 10124"/>
                <a:gd name="connsiteX41" fmla="*/ 6429 w 9814"/>
                <a:gd name="connsiteY41" fmla="*/ 9940 h 10124"/>
                <a:gd name="connsiteX42" fmla="*/ 6603 w 9814"/>
                <a:gd name="connsiteY42" fmla="*/ 9833 h 10124"/>
                <a:gd name="connsiteX43" fmla="*/ 6851 w 9814"/>
                <a:gd name="connsiteY43" fmla="*/ 9940 h 10124"/>
                <a:gd name="connsiteX44" fmla="*/ 7170 w 9814"/>
                <a:gd name="connsiteY44" fmla="*/ 9611 h 10124"/>
                <a:gd name="connsiteX45" fmla="*/ 7285 w 9814"/>
                <a:gd name="connsiteY45" fmla="*/ 9611 h 10124"/>
                <a:gd name="connsiteX46" fmla="*/ 7489 w 9814"/>
                <a:gd name="connsiteY46" fmla="*/ 9344 h 10124"/>
                <a:gd name="connsiteX47" fmla="*/ 8358 w 9814"/>
                <a:gd name="connsiteY47" fmla="*/ 9332 h 10124"/>
                <a:gd name="connsiteX48" fmla="*/ 8548 w 9814"/>
                <a:gd name="connsiteY48" fmla="*/ 9228 h 10124"/>
                <a:gd name="connsiteX49" fmla="*/ 8534 w 9814"/>
                <a:gd name="connsiteY49" fmla="*/ 9095 h 10124"/>
                <a:gd name="connsiteX50" fmla="*/ 8475 w 9814"/>
                <a:gd name="connsiteY50" fmla="*/ 8805 h 10124"/>
                <a:gd name="connsiteX51" fmla="*/ 8113 w 9814"/>
                <a:gd name="connsiteY51" fmla="*/ 8712 h 10124"/>
                <a:gd name="connsiteX52" fmla="*/ 7939 w 9814"/>
                <a:gd name="connsiteY52" fmla="*/ 8250 h 10124"/>
                <a:gd name="connsiteX53" fmla="*/ 7837 w 9814"/>
                <a:gd name="connsiteY53" fmla="*/ 8198 h 10124"/>
                <a:gd name="connsiteX54" fmla="*/ 7810 w 9814"/>
                <a:gd name="connsiteY54" fmla="*/ 7868 h 10124"/>
                <a:gd name="connsiteX55" fmla="*/ 7679 w 9814"/>
                <a:gd name="connsiteY55" fmla="*/ 7855 h 10124"/>
                <a:gd name="connsiteX56" fmla="*/ 7633 w 9814"/>
                <a:gd name="connsiteY56" fmla="*/ 7685 h 10124"/>
                <a:gd name="connsiteX57" fmla="*/ 7416 w 9814"/>
                <a:gd name="connsiteY57" fmla="*/ 7644 h 10124"/>
                <a:gd name="connsiteX58" fmla="*/ 7343 w 9814"/>
                <a:gd name="connsiteY58" fmla="*/ 7381 h 10124"/>
                <a:gd name="connsiteX59" fmla="*/ 6982 w 9814"/>
                <a:gd name="connsiteY59" fmla="*/ 7129 h 10124"/>
                <a:gd name="connsiteX60" fmla="*/ 6588 w 9814"/>
                <a:gd name="connsiteY60" fmla="*/ 7091 h 10124"/>
                <a:gd name="connsiteX61" fmla="*/ 6692 w 9814"/>
                <a:gd name="connsiteY61" fmla="*/ 6799 h 10124"/>
                <a:gd name="connsiteX62" fmla="*/ 6664 w 9814"/>
                <a:gd name="connsiteY62" fmla="*/ 6589 h 10124"/>
                <a:gd name="connsiteX63" fmla="*/ 6996 w 9814"/>
                <a:gd name="connsiteY63" fmla="*/ 6604 h 10124"/>
                <a:gd name="connsiteX64" fmla="*/ 7067 w 9814"/>
                <a:gd name="connsiteY64" fmla="*/ 6667 h 10124"/>
                <a:gd name="connsiteX65" fmla="*/ 7271 w 9814"/>
                <a:gd name="connsiteY65" fmla="*/ 6535 h 10124"/>
                <a:gd name="connsiteX66" fmla="*/ 7328 w 9814"/>
                <a:gd name="connsiteY66" fmla="*/ 6062 h 10124"/>
                <a:gd name="connsiteX67" fmla="*/ 7244 w 9814"/>
                <a:gd name="connsiteY67" fmla="*/ 5707 h 10124"/>
                <a:gd name="connsiteX68" fmla="*/ 7489 w 9814"/>
                <a:gd name="connsiteY68" fmla="*/ 5416 h 10124"/>
                <a:gd name="connsiteX69" fmla="*/ 7416 w 9814"/>
                <a:gd name="connsiteY69" fmla="*/ 5137 h 10124"/>
                <a:gd name="connsiteX70" fmla="*/ 7577 w 9814"/>
                <a:gd name="connsiteY70" fmla="*/ 4873 h 10124"/>
                <a:gd name="connsiteX71" fmla="*/ 7679 w 9814"/>
                <a:gd name="connsiteY71" fmla="*/ 5021 h 10124"/>
                <a:gd name="connsiteX72" fmla="*/ 7850 w 9814"/>
                <a:gd name="connsiteY72" fmla="*/ 4956 h 10124"/>
                <a:gd name="connsiteX73" fmla="*/ 7837 w 9814"/>
                <a:gd name="connsiteY73" fmla="*/ 4547 h 10124"/>
                <a:gd name="connsiteX74" fmla="*/ 7939 w 9814"/>
                <a:gd name="connsiteY74" fmla="*/ 4400 h 10124"/>
                <a:gd name="connsiteX75" fmla="*/ 7910 w 9814"/>
                <a:gd name="connsiteY75" fmla="*/ 4203 h 10124"/>
                <a:gd name="connsiteX76" fmla="*/ 8142 w 9814"/>
                <a:gd name="connsiteY76" fmla="*/ 4084 h 10124"/>
                <a:gd name="connsiteX77" fmla="*/ 8156 w 9814"/>
                <a:gd name="connsiteY77" fmla="*/ 3817 h 10124"/>
                <a:gd name="connsiteX78" fmla="*/ 8331 w 9814"/>
                <a:gd name="connsiteY78" fmla="*/ 3568 h 10124"/>
                <a:gd name="connsiteX79" fmla="*/ 8647 w 9814"/>
                <a:gd name="connsiteY79" fmla="*/ 3544 h 10124"/>
                <a:gd name="connsiteX80" fmla="*/ 8620 w 9814"/>
                <a:gd name="connsiteY80" fmla="*/ 3197 h 10124"/>
                <a:gd name="connsiteX81" fmla="*/ 8854 w 9814"/>
                <a:gd name="connsiteY81" fmla="*/ 2831 h 10124"/>
                <a:gd name="connsiteX82" fmla="*/ 8854 w 9814"/>
                <a:gd name="connsiteY82" fmla="*/ 2434 h 10124"/>
                <a:gd name="connsiteX83" fmla="*/ 8824 w 9814"/>
                <a:gd name="connsiteY83" fmla="*/ 1999 h 10124"/>
                <a:gd name="connsiteX84" fmla="*/ 8754 w 9814"/>
                <a:gd name="connsiteY84" fmla="*/ 1867 h 10124"/>
                <a:gd name="connsiteX85" fmla="*/ 8924 w 9814"/>
                <a:gd name="connsiteY85" fmla="*/ 1682 h 10124"/>
                <a:gd name="connsiteX86" fmla="*/ 8938 w 9814"/>
                <a:gd name="connsiteY86" fmla="*/ 1460 h 10124"/>
                <a:gd name="connsiteX87" fmla="*/ 9115 w 9814"/>
                <a:gd name="connsiteY87" fmla="*/ 1193 h 10124"/>
                <a:gd name="connsiteX88" fmla="*/ 9026 w 9814"/>
                <a:gd name="connsiteY88" fmla="*/ 785 h 10124"/>
                <a:gd name="connsiteX89" fmla="*/ 9187 w 9814"/>
                <a:gd name="connsiteY89" fmla="*/ 679 h 10124"/>
                <a:gd name="connsiteX90" fmla="*/ 9187 w 9814"/>
                <a:gd name="connsiteY90" fmla="*/ 549 h 10124"/>
                <a:gd name="connsiteX91" fmla="*/ 9460 w 9814"/>
                <a:gd name="connsiteY91" fmla="*/ 456 h 10124"/>
                <a:gd name="connsiteX92" fmla="*/ 9475 w 9814"/>
                <a:gd name="connsiteY92" fmla="*/ 257 h 10124"/>
                <a:gd name="connsiteX0" fmla="*/ 9639 w 9639"/>
                <a:gd name="connsiteY0" fmla="*/ 0 h 9550"/>
                <a:gd name="connsiteX1" fmla="*/ 4964 w 9639"/>
                <a:gd name="connsiteY1" fmla="*/ 3797 h 9550"/>
                <a:gd name="connsiteX2" fmla="*/ 1816 w 9639"/>
                <a:gd name="connsiteY2" fmla="*/ 3781 h 9550"/>
                <a:gd name="connsiteX3" fmla="*/ 796 w 9639"/>
                <a:gd name="connsiteY3" fmla="*/ 4864 h 9550"/>
                <a:gd name="connsiteX4" fmla="*/ 181 w 9639"/>
                <a:gd name="connsiteY4" fmla="*/ 5118 h 9550"/>
                <a:gd name="connsiteX5" fmla="*/ 2 w 9639"/>
                <a:gd name="connsiteY5" fmla="*/ 5630 h 9550"/>
                <a:gd name="connsiteX6" fmla="*/ 121 w 9639"/>
                <a:gd name="connsiteY6" fmla="*/ 5719 h 9550"/>
                <a:gd name="connsiteX7" fmla="*/ 34 w 9639"/>
                <a:gd name="connsiteY7" fmla="*/ 5861 h 9550"/>
                <a:gd name="connsiteX8" fmla="*/ 536 w 9639"/>
                <a:gd name="connsiteY8" fmla="*/ 5901 h 9550"/>
                <a:gd name="connsiteX9" fmla="*/ 536 w 9639"/>
                <a:gd name="connsiteY9" fmla="*/ 5993 h 9550"/>
                <a:gd name="connsiteX10" fmla="*/ 520 w 9639"/>
                <a:gd name="connsiteY10" fmla="*/ 6203 h 9550"/>
                <a:gd name="connsiteX11" fmla="*/ 1052 w 9639"/>
                <a:gd name="connsiteY11" fmla="*/ 6278 h 9550"/>
                <a:gd name="connsiteX12" fmla="*/ 1052 w 9639"/>
                <a:gd name="connsiteY12" fmla="*/ 6451 h 9550"/>
                <a:gd name="connsiteX13" fmla="*/ 1333 w 9639"/>
                <a:gd name="connsiteY13" fmla="*/ 6580 h 9550"/>
                <a:gd name="connsiteX14" fmla="*/ 1245 w 9639"/>
                <a:gd name="connsiteY14" fmla="*/ 6773 h 9550"/>
                <a:gd name="connsiteX15" fmla="*/ 1642 w 9639"/>
                <a:gd name="connsiteY15" fmla="*/ 6945 h 9550"/>
                <a:gd name="connsiteX16" fmla="*/ 1881 w 9639"/>
                <a:gd name="connsiteY16" fmla="*/ 7256 h 9550"/>
                <a:gd name="connsiteX17" fmla="*/ 2101 w 9639"/>
                <a:gd name="connsiteY17" fmla="*/ 7375 h 9550"/>
                <a:gd name="connsiteX18" fmla="*/ 2013 w 9639"/>
                <a:gd name="connsiteY18" fmla="*/ 7481 h 9550"/>
                <a:gd name="connsiteX19" fmla="*/ 2132 w 9639"/>
                <a:gd name="connsiteY19" fmla="*/ 7595 h 9550"/>
                <a:gd name="connsiteX20" fmla="*/ 2114 w 9639"/>
                <a:gd name="connsiteY20" fmla="*/ 7762 h 9550"/>
                <a:gd name="connsiteX21" fmla="*/ 2341 w 9639"/>
                <a:gd name="connsiteY21" fmla="*/ 7779 h 9550"/>
                <a:gd name="connsiteX22" fmla="*/ 2590 w 9639"/>
                <a:gd name="connsiteY22" fmla="*/ 7963 h 9550"/>
                <a:gd name="connsiteX23" fmla="*/ 2651 w 9639"/>
                <a:gd name="connsiteY23" fmla="*/ 8247 h 9550"/>
                <a:gd name="connsiteX24" fmla="*/ 2706 w 9639"/>
                <a:gd name="connsiteY24" fmla="*/ 8352 h 9550"/>
                <a:gd name="connsiteX25" fmla="*/ 3019 w 9639"/>
                <a:gd name="connsiteY25" fmla="*/ 8599 h 9550"/>
                <a:gd name="connsiteX26" fmla="*/ 3019 w 9639"/>
                <a:gd name="connsiteY26" fmla="*/ 8780 h 9550"/>
                <a:gd name="connsiteX27" fmla="*/ 3478 w 9639"/>
                <a:gd name="connsiteY27" fmla="*/ 8980 h 9550"/>
                <a:gd name="connsiteX28" fmla="*/ 3728 w 9639"/>
                <a:gd name="connsiteY28" fmla="*/ 8768 h 9550"/>
                <a:gd name="connsiteX29" fmla="*/ 4040 w 9639"/>
                <a:gd name="connsiteY29" fmla="*/ 8927 h 9550"/>
                <a:gd name="connsiteX30" fmla="*/ 4288 w 9639"/>
                <a:gd name="connsiteY30" fmla="*/ 8690 h 9550"/>
                <a:gd name="connsiteX31" fmla="*/ 4570 w 9639"/>
                <a:gd name="connsiteY31" fmla="*/ 9069 h 9550"/>
                <a:gd name="connsiteX32" fmla="*/ 4969 w 9639"/>
                <a:gd name="connsiteY32" fmla="*/ 9277 h 9550"/>
                <a:gd name="connsiteX33" fmla="*/ 5013 w 9639"/>
                <a:gd name="connsiteY33" fmla="*/ 9461 h 9550"/>
                <a:gd name="connsiteX34" fmla="*/ 5177 w 9639"/>
                <a:gd name="connsiteY34" fmla="*/ 9487 h 9550"/>
                <a:gd name="connsiteX35" fmla="*/ 5412 w 9639"/>
                <a:gd name="connsiteY35" fmla="*/ 9314 h 9550"/>
                <a:gd name="connsiteX36" fmla="*/ 5710 w 9639"/>
                <a:gd name="connsiteY36" fmla="*/ 9421 h 9550"/>
                <a:gd name="connsiteX37" fmla="*/ 5812 w 9639"/>
                <a:gd name="connsiteY37" fmla="*/ 9328 h 9550"/>
                <a:gd name="connsiteX38" fmla="*/ 5917 w 9639"/>
                <a:gd name="connsiteY38" fmla="*/ 9314 h 9550"/>
                <a:gd name="connsiteX39" fmla="*/ 6122 w 9639"/>
                <a:gd name="connsiteY39" fmla="*/ 9550 h 9550"/>
                <a:gd name="connsiteX40" fmla="*/ 6315 w 9639"/>
                <a:gd name="connsiteY40" fmla="*/ 9355 h 9550"/>
                <a:gd name="connsiteX41" fmla="*/ 6551 w 9639"/>
                <a:gd name="connsiteY41" fmla="*/ 9368 h 9550"/>
                <a:gd name="connsiteX42" fmla="*/ 6728 w 9639"/>
                <a:gd name="connsiteY42" fmla="*/ 9263 h 9550"/>
                <a:gd name="connsiteX43" fmla="*/ 6981 w 9639"/>
                <a:gd name="connsiteY43" fmla="*/ 9368 h 9550"/>
                <a:gd name="connsiteX44" fmla="*/ 7306 w 9639"/>
                <a:gd name="connsiteY44" fmla="*/ 9043 h 9550"/>
                <a:gd name="connsiteX45" fmla="*/ 7423 w 9639"/>
                <a:gd name="connsiteY45" fmla="*/ 9043 h 9550"/>
                <a:gd name="connsiteX46" fmla="*/ 7631 w 9639"/>
                <a:gd name="connsiteY46" fmla="*/ 8780 h 9550"/>
                <a:gd name="connsiteX47" fmla="*/ 8516 w 9639"/>
                <a:gd name="connsiteY47" fmla="*/ 8768 h 9550"/>
                <a:gd name="connsiteX48" fmla="*/ 8710 w 9639"/>
                <a:gd name="connsiteY48" fmla="*/ 8665 h 9550"/>
                <a:gd name="connsiteX49" fmla="*/ 8696 w 9639"/>
                <a:gd name="connsiteY49" fmla="*/ 8534 h 9550"/>
                <a:gd name="connsiteX50" fmla="*/ 8636 w 9639"/>
                <a:gd name="connsiteY50" fmla="*/ 8247 h 9550"/>
                <a:gd name="connsiteX51" fmla="*/ 8267 w 9639"/>
                <a:gd name="connsiteY51" fmla="*/ 8155 h 9550"/>
                <a:gd name="connsiteX52" fmla="*/ 8089 w 9639"/>
                <a:gd name="connsiteY52" fmla="*/ 7699 h 9550"/>
                <a:gd name="connsiteX53" fmla="*/ 7986 w 9639"/>
                <a:gd name="connsiteY53" fmla="*/ 7648 h 9550"/>
                <a:gd name="connsiteX54" fmla="*/ 7958 w 9639"/>
                <a:gd name="connsiteY54" fmla="*/ 7322 h 9550"/>
                <a:gd name="connsiteX55" fmla="*/ 7825 w 9639"/>
                <a:gd name="connsiteY55" fmla="*/ 7309 h 9550"/>
                <a:gd name="connsiteX56" fmla="*/ 7778 w 9639"/>
                <a:gd name="connsiteY56" fmla="*/ 7141 h 9550"/>
                <a:gd name="connsiteX57" fmla="*/ 7557 w 9639"/>
                <a:gd name="connsiteY57" fmla="*/ 7100 h 9550"/>
                <a:gd name="connsiteX58" fmla="*/ 7482 w 9639"/>
                <a:gd name="connsiteY58" fmla="*/ 6841 h 9550"/>
                <a:gd name="connsiteX59" fmla="*/ 7114 w 9639"/>
                <a:gd name="connsiteY59" fmla="*/ 6592 h 9550"/>
                <a:gd name="connsiteX60" fmla="*/ 6713 w 9639"/>
                <a:gd name="connsiteY60" fmla="*/ 6554 h 9550"/>
                <a:gd name="connsiteX61" fmla="*/ 6819 w 9639"/>
                <a:gd name="connsiteY61" fmla="*/ 6266 h 9550"/>
                <a:gd name="connsiteX62" fmla="*/ 6790 w 9639"/>
                <a:gd name="connsiteY62" fmla="*/ 6058 h 9550"/>
                <a:gd name="connsiteX63" fmla="*/ 7129 w 9639"/>
                <a:gd name="connsiteY63" fmla="*/ 6073 h 9550"/>
                <a:gd name="connsiteX64" fmla="*/ 7201 w 9639"/>
                <a:gd name="connsiteY64" fmla="*/ 6135 h 9550"/>
                <a:gd name="connsiteX65" fmla="*/ 7409 w 9639"/>
                <a:gd name="connsiteY65" fmla="*/ 6005 h 9550"/>
                <a:gd name="connsiteX66" fmla="*/ 7467 w 9639"/>
                <a:gd name="connsiteY66" fmla="*/ 5538 h 9550"/>
                <a:gd name="connsiteX67" fmla="*/ 7381 w 9639"/>
                <a:gd name="connsiteY67" fmla="*/ 5187 h 9550"/>
                <a:gd name="connsiteX68" fmla="*/ 7631 w 9639"/>
                <a:gd name="connsiteY68" fmla="*/ 4900 h 9550"/>
                <a:gd name="connsiteX69" fmla="*/ 7557 w 9639"/>
                <a:gd name="connsiteY69" fmla="*/ 4624 h 9550"/>
                <a:gd name="connsiteX70" fmla="*/ 7721 w 9639"/>
                <a:gd name="connsiteY70" fmla="*/ 4363 h 9550"/>
                <a:gd name="connsiteX71" fmla="*/ 7825 w 9639"/>
                <a:gd name="connsiteY71" fmla="*/ 4510 h 9550"/>
                <a:gd name="connsiteX72" fmla="*/ 7999 w 9639"/>
                <a:gd name="connsiteY72" fmla="*/ 4445 h 9550"/>
                <a:gd name="connsiteX73" fmla="*/ 7986 w 9639"/>
                <a:gd name="connsiteY73" fmla="*/ 4041 h 9550"/>
                <a:gd name="connsiteX74" fmla="*/ 8089 w 9639"/>
                <a:gd name="connsiteY74" fmla="*/ 3896 h 9550"/>
                <a:gd name="connsiteX75" fmla="*/ 8060 w 9639"/>
                <a:gd name="connsiteY75" fmla="*/ 3702 h 9550"/>
                <a:gd name="connsiteX76" fmla="*/ 8296 w 9639"/>
                <a:gd name="connsiteY76" fmla="*/ 3584 h 9550"/>
                <a:gd name="connsiteX77" fmla="*/ 8311 w 9639"/>
                <a:gd name="connsiteY77" fmla="*/ 3320 h 9550"/>
                <a:gd name="connsiteX78" fmla="*/ 8489 w 9639"/>
                <a:gd name="connsiteY78" fmla="*/ 3074 h 9550"/>
                <a:gd name="connsiteX79" fmla="*/ 8811 w 9639"/>
                <a:gd name="connsiteY79" fmla="*/ 3051 h 9550"/>
                <a:gd name="connsiteX80" fmla="*/ 8783 w 9639"/>
                <a:gd name="connsiteY80" fmla="*/ 2708 h 9550"/>
                <a:gd name="connsiteX81" fmla="*/ 9022 w 9639"/>
                <a:gd name="connsiteY81" fmla="*/ 2346 h 9550"/>
                <a:gd name="connsiteX82" fmla="*/ 9022 w 9639"/>
                <a:gd name="connsiteY82" fmla="*/ 1954 h 9550"/>
                <a:gd name="connsiteX83" fmla="*/ 8991 w 9639"/>
                <a:gd name="connsiteY83" fmla="*/ 1525 h 9550"/>
                <a:gd name="connsiteX84" fmla="*/ 8920 w 9639"/>
                <a:gd name="connsiteY84" fmla="*/ 1394 h 9550"/>
                <a:gd name="connsiteX85" fmla="*/ 9093 w 9639"/>
                <a:gd name="connsiteY85" fmla="*/ 1211 h 9550"/>
                <a:gd name="connsiteX86" fmla="*/ 9107 w 9639"/>
                <a:gd name="connsiteY86" fmla="*/ 992 h 9550"/>
                <a:gd name="connsiteX87" fmla="*/ 9288 w 9639"/>
                <a:gd name="connsiteY87" fmla="*/ 728 h 9550"/>
                <a:gd name="connsiteX88" fmla="*/ 9197 w 9639"/>
                <a:gd name="connsiteY88" fmla="*/ 325 h 9550"/>
                <a:gd name="connsiteX89" fmla="*/ 9361 w 9639"/>
                <a:gd name="connsiteY89" fmla="*/ 221 h 9550"/>
                <a:gd name="connsiteX90" fmla="*/ 9361 w 9639"/>
                <a:gd name="connsiteY90" fmla="*/ 92 h 9550"/>
                <a:gd name="connsiteX91" fmla="*/ 9639 w 9639"/>
                <a:gd name="connsiteY91" fmla="*/ 0 h 9550"/>
                <a:gd name="connsiteX0" fmla="*/ 9711 w 9711"/>
                <a:gd name="connsiteY0" fmla="*/ 0 h 9904"/>
                <a:gd name="connsiteX1" fmla="*/ 5149 w 9711"/>
                <a:gd name="connsiteY1" fmla="*/ 3880 h 9904"/>
                <a:gd name="connsiteX2" fmla="*/ 1883 w 9711"/>
                <a:gd name="connsiteY2" fmla="*/ 3863 h 9904"/>
                <a:gd name="connsiteX3" fmla="*/ 825 w 9711"/>
                <a:gd name="connsiteY3" fmla="*/ 4997 h 9904"/>
                <a:gd name="connsiteX4" fmla="*/ 187 w 9711"/>
                <a:gd name="connsiteY4" fmla="*/ 5263 h 9904"/>
                <a:gd name="connsiteX5" fmla="*/ 1 w 9711"/>
                <a:gd name="connsiteY5" fmla="*/ 5799 h 9904"/>
                <a:gd name="connsiteX6" fmla="*/ 125 w 9711"/>
                <a:gd name="connsiteY6" fmla="*/ 5892 h 9904"/>
                <a:gd name="connsiteX7" fmla="*/ 34 w 9711"/>
                <a:gd name="connsiteY7" fmla="*/ 6041 h 9904"/>
                <a:gd name="connsiteX8" fmla="*/ 555 w 9711"/>
                <a:gd name="connsiteY8" fmla="*/ 6083 h 9904"/>
                <a:gd name="connsiteX9" fmla="*/ 555 w 9711"/>
                <a:gd name="connsiteY9" fmla="*/ 6179 h 9904"/>
                <a:gd name="connsiteX10" fmla="*/ 538 w 9711"/>
                <a:gd name="connsiteY10" fmla="*/ 6399 h 9904"/>
                <a:gd name="connsiteX11" fmla="*/ 1090 w 9711"/>
                <a:gd name="connsiteY11" fmla="*/ 6478 h 9904"/>
                <a:gd name="connsiteX12" fmla="*/ 1090 w 9711"/>
                <a:gd name="connsiteY12" fmla="*/ 6659 h 9904"/>
                <a:gd name="connsiteX13" fmla="*/ 1382 w 9711"/>
                <a:gd name="connsiteY13" fmla="*/ 6794 h 9904"/>
                <a:gd name="connsiteX14" fmla="*/ 1291 w 9711"/>
                <a:gd name="connsiteY14" fmla="*/ 6996 h 9904"/>
                <a:gd name="connsiteX15" fmla="*/ 1702 w 9711"/>
                <a:gd name="connsiteY15" fmla="*/ 7176 h 9904"/>
                <a:gd name="connsiteX16" fmla="*/ 1950 w 9711"/>
                <a:gd name="connsiteY16" fmla="*/ 7502 h 9904"/>
                <a:gd name="connsiteX17" fmla="*/ 2179 w 9711"/>
                <a:gd name="connsiteY17" fmla="*/ 7627 h 9904"/>
                <a:gd name="connsiteX18" fmla="*/ 2087 w 9711"/>
                <a:gd name="connsiteY18" fmla="*/ 7738 h 9904"/>
                <a:gd name="connsiteX19" fmla="*/ 2211 w 9711"/>
                <a:gd name="connsiteY19" fmla="*/ 7857 h 9904"/>
                <a:gd name="connsiteX20" fmla="*/ 2192 w 9711"/>
                <a:gd name="connsiteY20" fmla="*/ 8032 h 9904"/>
                <a:gd name="connsiteX21" fmla="*/ 2428 w 9711"/>
                <a:gd name="connsiteY21" fmla="*/ 8050 h 9904"/>
                <a:gd name="connsiteX22" fmla="*/ 2686 w 9711"/>
                <a:gd name="connsiteY22" fmla="*/ 8242 h 9904"/>
                <a:gd name="connsiteX23" fmla="*/ 2749 w 9711"/>
                <a:gd name="connsiteY23" fmla="*/ 8540 h 9904"/>
                <a:gd name="connsiteX24" fmla="*/ 2806 w 9711"/>
                <a:gd name="connsiteY24" fmla="*/ 8650 h 9904"/>
                <a:gd name="connsiteX25" fmla="*/ 3131 w 9711"/>
                <a:gd name="connsiteY25" fmla="*/ 8908 h 9904"/>
                <a:gd name="connsiteX26" fmla="*/ 3131 w 9711"/>
                <a:gd name="connsiteY26" fmla="*/ 9098 h 9904"/>
                <a:gd name="connsiteX27" fmla="*/ 3607 w 9711"/>
                <a:gd name="connsiteY27" fmla="*/ 9307 h 9904"/>
                <a:gd name="connsiteX28" fmla="*/ 3867 w 9711"/>
                <a:gd name="connsiteY28" fmla="*/ 9085 h 9904"/>
                <a:gd name="connsiteX29" fmla="*/ 4190 w 9711"/>
                <a:gd name="connsiteY29" fmla="*/ 9252 h 9904"/>
                <a:gd name="connsiteX30" fmla="*/ 4448 w 9711"/>
                <a:gd name="connsiteY30" fmla="*/ 9003 h 9904"/>
                <a:gd name="connsiteX31" fmla="*/ 4740 w 9711"/>
                <a:gd name="connsiteY31" fmla="*/ 9400 h 9904"/>
                <a:gd name="connsiteX32" fmla="*/ 5154 w 9711"/>
                <a:gd name="connsiteY32" fmla="*/ 9618 h 9904"/>
                <a:gd name="connsiteX33" fmla="*/ 5200 w 9711"/>
                <a:gd name="connsiteY33" fmla="*/ 9811 h 9904"/>
                <a:gd name="connsiteX34" fmla="*/ 5370 w 9711"/>
                <a:gd name="connsiteY34" fmla="*/ 9838 h 9904"/>
                <a:gd name="connsiteX35" fmla="*/ 5614 w 9711"/>
                <a:gd name="connsiteY35" fmla="*/ 9657 h 9904"/>
                <a:gd name="connsiteX36" fmla="*/ 5923 w 9711"/>
                <a:gd name="connsiteY36" fmla="*/ 9769 h 9904"/>
                <a:gd name="connsiteX37" fmla="*/ 6029 w 9711"/>
                <a:gd name="connsiteY37" fmla="*/ 9672 h 9904"/>
                <a:gd name="connsiteX38" fmla="*/ 6138 w 9711"/>
                <a:gd name="connsiteY38" fmla="*/ 9657 h 9904"/>
                <a:gd name="connsiteX39" fmla="*/ 6350 w 9711"/>
                <a:gd name="connsiteY39" fmla="*/ 9904 h 9904"/>
                <a:gd name="connsiteX40" fmla="*/ 6551 w 9711"/>
                <a:gd name="connsiteY40" fmla="*/ 9700 h 9904"/>
                <a:gd name="connsiteX41" fmla="*/ 6795 w 9711"/>
                <a:gd name="connsiteY41" fmla="*/ 9713 h 9904"/>
                <a:gd name="connsiteX42" fmla="*/ 6979 w 9711"/>
                <a:gd name="connsiteY42" fmla="*/ 9603 h 9904"/>
                <a:gd name="connsiteX43" fmla="*/ 7241 w 9711"/>
                <a:gd name="connsiteY43" fmla="*/ 9713 h 9904"/>
                <a:gd name="connsiteX44" fmla="*/ 7579 w 9711"/>
                <a:gd name="connsiteY44" fmla="*/ 9373 h 9904"/>
                <a:gd name="connsiteX45" fmla="*/ 7700 w 9711"/>
                <a:gd name="connsiteY45" fmla="*/ 9373 h 9904"/>
                <a:gd name="connsiteX46" fmla="*/ 7916 w 9711"/>
                <a:gd name="connsiteY46" fmla="*/ 9098 h 9904"/>
                <a:gd name="connsiteX47" fmla="*/ 8834 w 9711"/>
                <a:gd name="connsiteY47" fmla="*/ 9085 h 9904"/>
                <a:gd name="connsiteX48" fmla="*/ 9035 w 9711"/>
                <a:gd name="connsiteY48" fmla="*/ 8977 h 9904"/>
                <a:gd name="connsiteX49" fmla="*/ 9021 w 9711"/>
                <a:gd name="connsiteY49" fmla="*/ 8840 h 9904"/>
                <a:gd name="connsiteX50" fmla="*/ 8958 w 9711"/>
                <a:gd name="connsiteY50" fmla="*/ 8540 h 9904"/>
                <a:gd name="connsiteX51" fmla="*/ 8576 w 9711"/>
                <a:gd name="connsiteY51" fmla="*/ 8443 h 9904"/>
                <a:gd name="connsiteX52" fmla="*/ 8391 w 9711"/>
                <a:gd name="connsiteY52" fmla="*/ 7966 h 9904"/>
                <a:gd name="connsiteX53" fmla="*/ 8284 w 9711"/>
                <a:gd name="connsiteY53" fmla="*/ 7912 h 9904"/>
                <a:gd name="connsiteX54" fmla="*/ 8255 w 9711"/>
                <a:gd name="connsiteY54" fmla="*/ 7571 h 9904"/>
                <a:gd name="connsiteX55" fmla="*/ 8117 w 9711"/>
                <a:gd name="connsiteY55" fmla="*/ 7557 h 9904"/>
                <a:gd name="connsiteX56" fmla="*/ 8068 w 9711"/>
                <a:gd name="connsiteY56" fmla="*/ 7381 h 9904"/>
                <a:gd name="connsiteX57" fmla="*/ 7839 w 9711"/>
                <a:gd name="connsiteY57" fmla="*/ 7339 h 9904"/>
                <a:gd name="connsiteX58" fmla="*/ 7761 w 9711"/>
                <a:gd name="connsiteY58" fmla="*/ 7067 h 9904"/>
                <a:gd name="connsiteX59" fmla="*/ 7379 w 9711"/>
                <a:gd name="connsiteY59" fmla="*/ 6807 h 9904"/>
                <a:gd name="connsiteX60" fmla="*/ 6963 w 9711"/>
                <a:gd name="connsiteY60" fmla="*/ 6767 h 9904"/>
                <a:gd name="connsiteX61" fmla="*/ 7073 w 9711"/>
                <a:gd name="connsiteY61" fmla="*/ 6465 h 9904"/>
                <a:gd name="connsiteX62" fmla="*/ 7043 w 9711"/>
                <a:gd name="connsiteY62" fmla="*/ 6247 h 9904"/>
                <a:gd name="connsiteX63" fmla="*/ 7395 w 9711"/>
                <a:gd name="connsiteY63" fmla="*/ 6263 h 9904"/>
                <a:gd name="connsiteX64" fmla="*/ 7470 w 9711"/>
                <a:gd name="connsiteY64" fmla="*/ 6328 h 9904"/>
                <a:gd name="connsiteX65" fmla="*/ 7685 w 9711"/>
                <a:gd name="connsiteY65" fmla="*/ 6192 h 9904"/>
                <a:gd name="connsiteX66" fmla="*/ 7746 w 9711"/>
                <a:gd name="connsiteY66" fmla="*/ 5703 h 9904"/>
                <a:gd name="connsiteX67" fmla="*/ 7656 w 9711"/>
                <a:gd name="connsiteY67" fmla="*/ 5335 h 9904"/>
                <a:gd name="connsiteX68" fmla="*/ 7916 w 9711"/>
                <a:gd name="connsiteY68" fmla="*/ 5035 h 9904"/>
                <a:gd name="connsiteX69" fmla="*/ 7839 w 9711"/>
                <a:gd name="connsiteY69" fmla="*/ 4746 h 9904"/>
                <a:gd name="connsiteX70" fmla="*/ 8009 w 9711"/>
                <a:gd name="connsiteY70" fmla="*/ 4473 h 9904"/>
                <a:gd name="connsiteX71" fmla="*/ 8117 w 9711"/>
                <a:gd name="connsiteY71" fmla="*/ 4627 h 9904"/>
                <a:gd name="connsiteX72" fmla="*/ 8298 w 9711"/>
                <a:gd name="connsiteY72" fmla="*/ 4558 h 9904"/>
                <a:gd name="connsiteX73" fmla="*/ 8284 w 9711"/>
                <a:gd name="connsiteY73" fmla="*/ 4135 h 9904"/>
                <a:gd name="connsiteX74" fmla="*/ 8391 w 9711"/>
                <a:gd name="connsiteY74" fmla="*/ 3984 h 9904"/>
                <a:gd name="connsiteX75" fmla="*/ 8361 w 9711"/>
                <a:gd name="connsiteY75" fmla="*/ 3780 h 9904"/>
                <a:gd name="connsiteX76" fmla="*/ 8606 w 9711"/>
                <a:gd name="connsiteY76" fmla="*/ 3657 h 9904"/>
                <a:gd name="connsiteX77" fmla="*/ 8621 w 9711"/>
                <a:gd name="connsiteY77" fmla="*/ 3380 h 9904"/>
                <a:gd name="connsiteX78" fmla="*/ 8806 w 9711"/>
                <a:gd name="connsiteY78" fmla="*/ 3123 h 9904"/>
                <a:gd name="connsiteX79" fmla="*/ 9140 w 9711"/>
                <a:gd name="connsiteY79" fmla="*/ 3099 h 9904"/>
                <a:gd name="connsiteX80" fmla="*/ 9111 w 9711"/>
                <a:gd name="connsiteY80" fmla="*/ 2740 h 9904"/>
                <a:gd name="connsiteX81" fmla="*/ 9359 w 9711"/>
                <a:gd name="connsiteY81" fmla="*/ 2361 h 9904"/>
                <a:gd name="connsiteX82" fmla="*/ 9359 w 9711"/>
                <a:gd name="connsiteY82" fmla="*/ 1950 h 9904"/>
                <a:gd name="connsiteX83" fmla="*/ 9327 w 9711"/>
                <a:gd name="connsiteY83" fmla="*/ 1501 h 9904"/>
                <a:gd name="connsiteX84" fmla="*/ 9253 w 9711"/>
                <a:gd name="connsiteY84" fmla="*/ 1364 h 9904"/>
                <a:gd name="connsiteX85" fmla="*/ 9433 w 9711"/>
                <a:gd name="connsiteY85" fmla="*/ 1172 h 9904"/>
                <a:gd name="connsiteX86" fmla="*/ 9447 w 9711"/>
                <a:gd name="connsiteY86" fmla="*/ 943 h 9904"/>
                <a:gd name="connsiteX87" fmla="*/ 9635 w 9711"/>
                <a:gd name="connsiteY87" fmla="*/ 666 h 9904"/>
                <a:gd name="connsiteX88" fmla="*/ 9540 w 9711"/>
                <a:gd name="connsiteY88" fmla="*/ 244 h 9904"/>
                <a:gd name="connsiteX89" fmla="*/ 9711 w 9711"/>
                <a:gd name="connsiteY89" fmla="*/ 135 h 9904"/>
                <a:gd name="connsiteX90" fmla="*/ 9711 w 9711"/>
                <a:gd name="connsiteY90" fmla="*/ 0 h 9904"/>
                <a:gd name="connsiteX0" fmla="*/ 10000 w 10000"/>
                <a:gd name="connsiteY0" fmla="*/ 0 h 9864"/>
                <a:gd name="connsiteX1" fmla="*/ 5302 w 10000"/>
                <a:gd name="connsiteY1" fmla="*/ 3782 h 9864"/>
                <a:gd name="connsiteX2" fmla="*/ 1939 w 10000"/>
                <a:gd name="connsiteY2" fmla="*/ 3764 h 9864"/>
                <a:gd name="connsiteX3" fmla="*/ 850 w 10000"/>
                <a:gd name="connsiteY3" fmla="*/ 4909 h 9864"/>
                <a:gd name="connsiteX4" fmla="*/ 193 w 10000"/>
                <a:gd name="connsiteY4" fmla="*/ 5178 h 9864"/>
                <a:gd name="connsiteX5" fmla="*/ 1 w 10000"/>
                <a:gd name="connsiteY5" fmla="*/ 5719 h 9864"/>
                <a:gd name="connsiteX6" fmla="*/ 129 w 10000"/>
                <a:gd name="connsiteY6" fmla="*/ 5813 h 9864"/>
                <a:gd name="connsiteX7" fmla="*/ 35 w 10000"/>
                <a:gd name="connsiteY7" fmla="*/ 5964 h 9864"/>
                <a:gd name="connsiteX8" fmla="*/ 572 w 10000"/>
                <a:gd name="connsiteY8" fmla="*/ 6006 h 9864"/>
                <a:gd name="connsiteX9" fmla="*/ 572 w 10000"/>
                <a:gd name="connsiteY9" fmla="*/ 6103 h 9864"/>
                <a:gd name="connsiteX10" fmla="*/ 554 w 10000"/>
                <a:gd name="connsiteY10" fmla="*/ 6325 h 9864"/>
                <a:gd name="connsiteX11" fmla="*/ 1122 w 10000"/>
                <a:gd name="connsiteY11" fmla="*/ 6405 h 9864"/>
                <a:gd name="connsiteX12" fmla="*/ 1122 w 10000"/>
                <a:gd name="connsiteY12" fmla="*/ 6588 h 9864"/>
                <a:gd name="connsiteX13" fmla="*/ 1423 w 10000"/>
                <a:gd name="connsiteY13" fmla="*/ 6724 h 9864"/>
                <a:gd name="connsiteX14" fmla="*/ 1329 w 10000"/>
                <a:gd name="connsiteY14" fmla="*/ 6928 h 9864"/>
                <a:gd name="connsiteX15" fmla="*/ 1753 w 10000"/>
                <a:gd name="connsiteY15" fmla="*/ 7110 h 9864"/>
                <a:gd name="connsiteX16" fmla="*/ 2008 w 10000"/>
                <a:gd name="connsiteY16" fmla="*/ 7439 h 9864"/>
                <a:gd name="connsiteX17" fmla="*/ 2244 w 10000"/>
                <a:gd name="connsiteY17" fmla="*/ 7565 h 9864"/>
                <a:gd name="connsiteX18" fmla="*/ 2149 w 10000"/>
                <a:gd name="connsiteY18" fmla="*/ 7677 h 9864"/>
                <a:gd name="connsiteX19" fmla="*/ 2277 w 10000"/>
                <a:gd name="connsiteY19" fmla="*/ 7797 h 9864"/>
                <a:gd name="connsiteX20" fmla="*/ 2257 w 10000"/>
                <a:gd name="connsiteY20" fmla="*/ 7974 h 9864"/>
                <a:gd name="connsiteX21" fmla="*/ 2500 w 10000"/>
                <a:gd name="connsiteY21" fmla="*/ 7992 h 9864"/>
                <a:gd name="connsiteX22" fmla="*/ 2766 w 10000"/>
                <a:gd name="connsiteY22" fmla="*/ 8186 h 9864"/>
                <a:gd name="connsiteX23" fmla="*/ 2831 w 10000"/>
                <a:gd name="connsiteY23" fmla="*/ 8487 h 9864"/>
                <a:gd name="connsiteX24" fmla="*/ 2890 w 10000"/>
                <a:gd name="connsiteY24" fmla="*/ 8598 h 9864"/>
                <a:gd name="connsiteX25" fmla="*/ 3224 w 10000"/>
                <a:gd name="connsiteY25" fmla="*/ 8858 h 9864"/>
                <a:gd name="connsiteX26" fmla="*/ 3224 w 10000"/>
                <a:gd name="connsiteY26" fmla="*/ 9050 h 9864"/>
                <a:gd name="connsiteX27" fmla="*/ 3714 w 10000"/>
                <a:gd name="connsiteY27" fmla="*/ 9261 h 9864"/>
                <a:gd name="connsiteX28" fmla="*/ 3982 w 10000"/>
                <a:gd name="connsiteY28" fmla="*/ 9037 h 9864"/>
                <a:gd name="connsiteX29" fmla="*/ 4315 w 10000"/>
                <a:gd name="connsiteY29" fmla="*/ 9206 h 9864"/>
                <a:gd name="connsiteX30" fmla="*/ 4580 w 10000"/>
                <a:gd name="connsiteY30" fmla="*/ 8954 h 9864"/>
                <a:gd name="connsiteX31" fmla="*/ 4881 w 10000"/>
                <a:gd name="connsiteY31" fmla="*/ 9355 h 9864"/>
                <a:gd name="connsiteX32" fmla="*/ 5307 w 10000"/>
                <a:gd name="connsiteY32" fmla="*/ 9575 h 9864"/>
                <a:gd name="connsiteX33" fmla="*/ 5355 w 10000"/>
                <a:gd name="connsiteY33" fmla="*/ 9770 h 9864"/>
                <a:gd name="connsiteX34" fmla="*/ 5530 w 10000"/>
                <a:gd name="connsiteY34" fmla="*/ 9797 h 9864"/>
                <a:gd name="connsiteX35" fmla="*/ 5781 w 10000"/>
                <a:gd name="connsiteY35" fmla="*/ 9615 h 9864"/>
                <a:gd name="connsiteX36" fmla="*/ 6099 w 10000"/>
                <a:gd name="connsiteY36" fmla="*/ 9728 h 9864"/>
                <a:gd name="connsiteX37" fmla="*/ 6208 w 10000"/>
                <a:gd name="connsiteY37" fmla="*/ 9630 h 9864"/>
                <a:gd name="connsiteX38" fmla="*/ 6321 w 10000"/>
                <a:gd name="connsiteY38" fmla="*/ 9615 h 9864"/>
                <a:gd name="connsiteX39" fmla="*/ 6539 w 10000"/>
                <a:gd name="connsiteY39" fmla="*/ 9864 h 9864"/>
                <a:gd name="connsiteX40" fmla="*/ 6746 w 10000"/>
                <a:gd name="connsiteY40" fmla="*/ 9658 h 9864"/>
                <a:gd name="connsiteX41" fmla="*/ 6997 w 10000"/>
                <a:gd name="connsiteY41" fmla="*/ 9671 h 9864"/>
                <a:gd name="connsiteX42" fmla="*/ 7187 w 10000"/>
                <a:gd name="connsiteY42" fmla="*/ 9560 h 9864"/>
                <a:gd name="connsiteX43" fmla="*/ 7456 w 10000"/>
                <a:gd name="connsiteY43" fmla="*/ 9671 h 9864"/>
                <a:gd name="connsiteX44" fmla="*/ 7805 w 10000"/>
                <a:gd name="connsiteY44" fmla="*/ 9328 h 9864"/>
                <a:gd name="connsiteX45" fmla="*/ 7929 w 10000"/>
                <a:gd name="connsiteY45" fmla="*/ 9328 h 9864"/>
                <a:gd name="connsiteX46" fmla="*/ 8152 w 10000"/>
                <a:gd name="connsiteY46" fmla="*/ 9050 h 9864"/>
                <a:gd name="connsiteX47" fmla="*/ 9097 w 10000"/>
                <a:gd name="connsiteY47" fmla="*/ 9037 h 9864"/>
                <a:gd name="connsiteX48" fmla="*/ 9304 w 10000"/>
                <a:gd name="connsiteY48" fmla="*/ 8928 h 9864"/>
                <a:gd name="connsiteX49" fmla="*/ 9289 w 10000"/>
                <a:gd name="connsiteY49" fmla="*/ 8790 h 9864"/>
                <a:gd name="connsiteX50" fmla="*/ 9225 w 10000"/>
                <a:gd name="connsiteY50" fmla="*/ 8487 h 9864"/>
                <a:gd name="connsiteX51" fmla="*/ 8831 w 10000"/>
                <a:gd name="connsiteY51" fmla="*/ 8389 h 9864"/>
                <a:gd name="connsiteX52" fmla="*/ 8641 w 10000"/>
                <a:gd name="connsiteY52" fmla="*/ 7907 h 9864"/>
                <a:gd name="connsiteX53" fmla="*/ 8531 w 10000"/>
                <a:gd name="connsiteY53" fmla="*/ 7853 h 9864"/>
                <a:gd name="connsiteX54" fmla="*/ 8501 w 10000"/>
                <a:gd name="connsiteY54" fmla="*/ 7508 h 9864"/>
                <a:gd name="connsiteX55" fmla="*/ 8359 w 10000"/>
                <a:gd name="connsiteY55" fmla="*/ 7494 h 9864"/>
                <a:gd name="connsiteX56" fmla="*/ 8308 w 10000"/>
                <a:gd name="connsiteY56" fmla="*/ 7317 h 9864"/>
                <a:gd name="connsiteX57" fmla="*/ 8072 w 10000"/>
                <a:gd name="connsiteY57" fmla="*/ 7274 h 9864"/>
                <a:gd name="connsiteX58" fmla="*/ 7992 w 10000"/>
                <a:gd name="connsiteY58" fmla="*/ 7000 h 9864"/>
                <a:gd name="connsiteX59" fmla="*/ 7599 w 10000"/>
                <a:gd name="connsiteY59" fmla="*/ 6737 h 9864"/>
                <a:gd name="connsiteX60" fmla="*/ 7170 w 10000"/>
                <a:gd name="connsiteY60" fmla="*/ 6697 h 9864"/>
                <a:gd name="connsiteX61" fmla="*/ 7283 w 10000"/>
                <a:gd name="connsiteY61" fmla="*/ 6392 h 9864"/>
                <a:gd name="connsiteX62" fmla="*/ 7253 w 10000"/>
                <a:gd name="connsiteY62" fmla="*/ 6172 h 9864"/>
                <a:gd name="connsiteX63" fmla="*/ 7615 w 10000"/>
                <a:gd name="connsiteY63" fmla="*/ 6188 h 9864"/>
                <a:gd name="connsiteX64" fmla="*/ 7692 w 10000"/>
                <a:gd name="connsiteY64" fmla="*/ 6253 h 9864"/>
                <a:gd name="connsiteX65" fmla="*/ 7914 w 10000"/>
                <a:gd name="connsiteY65" fmla="*/ 6116 h 9864"/>
                <a:gd name="connsiteX66" fmla="*/ 7977 w 10000"/>
                <a:gd name="connsiteY66" fmla="*/ 5622 h 9864"/>
                <a:gd name="connsiteX67" fmla="*/ 7884 w 10000"/>
                <a:gd name="connsiteY67" fmla="*/ 5251 h 9864"/>
                <a:gd name="connsiteX68" fmla="*/ 8152 w 10000"/>
                <a:gd name="connsiteY68" fmla="*/ 4948 h 9864"/>
                <a:gd name="connsiteX69" fmla="*/ 8072 w 10000"/>
                <a:gd name="connsiteY69" fmla="*/ 4656 h 9864"/>
                <a:gd name="connsiteX70" fmla="*/ 8247 w 10000"/>
                <a:gd name="connsiteY70" fmla="*/ 4380 h 9864"/>
                <a:gd name="connsiteX71" fmla="*/ 8359 w 10000"/>
                <a:gd name="connsiteY71" fmla="*/ 4536 h 9864"/>
                <a:gd name="connsiteX72" fmla="*/ 8545 w 10000"/>
                <a:gd name="connsiteY72" fmla="*/ 4466 h 9864"/>
                <a:gd name="connsiteX73" fmla="*/ 8531 w 10000"/>
                <a:gd name="connsiteY73" fmla="*/ 4039 h 9864"/>
                <a:gd name="connsiteX74" fmla="*/ 8641 w 10000"/>
                <a:gd name="connsiteY74" fmla="*/ 3887 h 9864"/>
                <a:gd name="connsiteX75" fmla="*/ 8610 w 10000"/>
                <a:gd name="connsiteY75" fmla="*/ 3681 h 9864"/>
                <a:gd name="connsiteX76" fmla="*/ 8862 w 10000"/>
                <a:gd name="connsiteY76" fmla="*/ 3556 h 9864"/>
                <a:gd name="connsiteX77" fmla="*/ 8878 w 10000"/>
                <a:gd name="connsiteY77" fmla="*/ 3277 h 9864"/>
                <a:gd name="connsiteX78" fmla="*/ 9068 w 10000"/>
                <a:gd name="connsiteY78" fmla="*/ 3017 h 9864"/>
                <a:gd name="connsiteX79" fmla="*/ 9412 w 10000"/>
                <a:gd name="connsiteY79" fmla="*/ 2993 h 9864"/>
                <a:gd name="connsiteX80" fmla="*/ 9382 w 10000"/>
                <a:gd name="connsiteY80" fmla="*/ 2631 h 9864"/>
                <a:gd name="connsiteX81" fmla="*/ 9638 w 10000"/>
                <a:gd name="connsiteY81" fmla="*/ 2248 h 9864"/>
                <a:gd name="connsiteX82" fmla="*/ 9638 w 10000"/>
                <a:gd name="connsiteY82" fmla="*/ 1833 h 9864"/>
                <a:gd name="connsiteX83" fmla="*/ 9605 w 10000"/>
                <a:gd name="connsiteY83" fmla="*/ 1380 h 9864"/>
                <a:gd name="connsiteX84" fmla="*/ 9528 w 10000"/>
                <a:gd name="connsiteY84" fmla="*/ 1241 h 9864"/>
                <a:gd name="connsiteX85" fmla="*/ 9714 w 10000"/>
                <a:gd name="connsiteY85" fmla="*/ 1047 h 9864"/>
                <a:gd name="connsiteX86" fmla="*/ 9728 w 10000"/>
                <a:gd name="connsiteY86" fmla="*/ 816 h 9864"/>
                <a:gd name="connsiteX87" fmla="*/ 9922 w 10000"/>
                <a:gd name="connsiteY87" fmla="*/ 536 h 9864"/>
                <a:gd name="connsiteX88" fmla="*/ 9824 w 10000"/>
                <a:gd name="connsiteY88" fmla="*/ 110 h 9864"/>
                <a:gd name="connsiteX89" fmla="*/ 10000 w 10000"/>
                <a:gd name="connsiteY89" fmla="*/ 0 h 9864"/>
                <a:gd name="connsiteX0" fmla="*/ 9824 w 9922"/>
                <a:gd name="connsiteY0" fmla="*/ 0 h 9888"/>
                <a:gd name="connsiteX1" fmla="*/ 5302 w 9922"/>
                <a:gd name="connsiteY1" fmla="*/ 3722 h 9888"/>
                <a:gd name="connsiteX2" fmla="*/ 1939 w 9922"/>
                <a:gd name="connsiteY2" fmla="*/ 3704 h 9888"/>
                <a:gd name="connsiteX3" fmla="*/ 850 w 9922"/>
                <a:gd name="connsiteY3" fmla="*/ 4865 h 9888"/>
                <a:gd name="connsiteX4" fmla="*/ 193 w 9922"/>
                <a:gd name="connsiteY4" fmla="*/ 5137 h 9888"/>
                <a:gd name="connsiteX5" fmla="*/ 1 w 9922"/>
                <a:gd name="connsiteY5" fmla="*/ 5686 h 9888"/>
                <a:gd name="connsiteX6" fmla="*/ 129 w 9922"/>
                <a:gd name="connsiteY6" fmla="*/ 5781 h 9888"/>
                <a:gd name="connsiteX7" fmla="*/ 35 w 9922"/>
                <a:gd name="connsiteY7" fmla="*/ 5934 h 9888"/>
                <a:gd name="connsiteX8" fmla="*/ 572 w 9922"/>
                <a:gd name="connsiteY8" fmla="*/ 5977 h 9888"/>
                <a:gd name="connsiteX9" fmla="*/ 572 w 9922"/>
                <a:gd name="connsiteY9" fmla="*/ 6075 h 9888"/>
                <a:gd name="connsiteX10" fmla="*/ 554 w 9922"/>
                <a:gd name="connsiteY10" fmla="*/ 6300 h 9888"/>
                <a:gd name="connsiteX11" fmla="*/ 1122 w 9922"/>
                <a:gd name="connsiteY11" fmla="*/ 6381 h 9888"/>
                <a:gd name="connsiteX12" fmla="*/ 1122 w 9922"/>
                <a:gd name="connsiteY12" fmla="*/ 6567 h 9888"/>
                <a:gd name="connsiteX13" fmla="*/ 1423 w 9922"/>
                <a:gd name="connsiteY13" fmla="*/ 6705 h 9888"/>
                <a:gd name="connsiteX14" fmla="*/ 1329 w 9922"/>
                <a:gd name="connsiteY14" fmla="*/ 6912 h 9888"/>
                <a:gd name="connsiteX15" fmla="*/ 1753 w 9922"/>
                <a:gd name="connsiteY15" fmla="*/ 7096 h 9888"/>
                <a:gd name="connsiteX16" fmla="*/ 2008 w 9922"/>
                <a:gd name="connsiteY16" fmla="*/ 7430 h 9888"/>
                <a:gd name="connsiteX17" fmla="*/ 2244 w 9922"/>
                <a:gd name="connsiteY17" fmla="*/ 7557 h 9888"/>
                <a:gd name="connsiteX18" fmla="*/ 2149 w 9922"/>
                <a:gd name="connsiteY18" fmla="*/ 7671 h 9888"/>
                <a:gd name="connsiteX19" fmla="*/ 2277 w 9922"/>
                <a:gd name="connsiteY19" fmla="*/ 7793 h 9888"/>
                <a:gd name="connsiteX20" fmla="*/ 2257 w 9922"/>
                <a:gd name="connsiteY20" fmla="*/ 7972 h 9888"/>
                <a:gd name="connsiteX21" fmla="*/ 2500 w 9922"/>
                <a:gd name="connsiteY21" fmla="*/ 7990 h 9888"/>
                <a:gd name="connsiteX22" fmla="*/ 2766 w 9922"/>
                <a:gd name="connsiteY22" fmla="*/ 8187 h 9888"/>
                <a:gd name="connsiteX23" fmla="*/ 2831 w 9922"/>
                <a:gd name="connsiteY23" fmla="*/ 8492 h 9888"/>
                <a:gd name="connsiteX24" fmla="*/ 2890 w 9922"/>
                <a:gd name="connsiteY24" fmla="*/ 8605 h 9888"/>
                <a:gd name="connsiteX25" fmla="*/ 3224 w 9922"/>
                <a:gd name="connsiteY25" fmla="*/ 8868 h 9888"/>
                <a:gd name="connsiteX26" fmla="*/ 3224 w 9922"/>
                <a:gd name="connsiteY26" fmla="*/ 9063 h 9888"/>
                <a:gd name="connsiteX27" fmla="*/ 3714 w 9922"/>
                <a:gd name="connsiteY27" fmla="*/ 9277 h 9888"/>
                <a:gd name="connsiteX28" fmla="*/ 3982 w 9922"/>
                <a:gd name="connsiteY28" fmla="*/ 9050 h 9888"/>
                <a:gd name="connsiteX29" fmla="*/ 4315 w 9922"/>
                <a:gd name="connsiteY29" fmla="*/ 9221 h 9888"/>
                <a:gd name="connsiteX30" fmla="*/ 4580 w 9922"/>
                <a:gd name="connsiteY30" fmla="*/ 8965 h 9888"/>
                <a:gd name="connsiteX31" fmla="*/ 4881 w 9922"/>
                <a:gd name="connsiteY31" fmla="*/ 9372 h 9888"/>
                <a:gd name="connsiteX32" fmla="*/ 5307 w 9922"/>
                <a:gd name="connsiteY32" fmla="*/ 9595 h 9888"/>
                <a:gd name="connsiteX33" fmla="*/ 5355 w 9922"/>
                <a:gd name="connsiteY33" fmla="*/ 9793 h 9888"/>
                <a:gd name="connsiteX34" fmla="*/ 5530 w 9922"/>
                <a:gd name="connsiteY34" fmla="*/ 9820 h 9888"/>
                <a:gd name="connsiteX35" fmla="*/ 5781 w 9922"/>
                <a:gd name="connsiteY35" fmla="*/ 9636 h 9888"/>
                <a:gd name="connsiteX36" fmla="*/ 6099 w 9922"/>
                <a:gd name="connsiteY36" fmla="*/ 9750 h 9888"/>
                <a:gd name="connsiteX37" fmla="*/ 6208 w 9922"/>
                <a:gd name="connsiteY37" fmla="*/ 9651 h 9888"/>
                <a:gd name="connsiteX38" fmla="*/ 6321 w 9922"/>
                <a:gd name="connsiteY38" fmla="*/ 9636 h 9888"/>
                <a:gd name="connsiteX39" fmla="*/ 6539 w 9922"/>
                <a:gd name="connsiteY39" fmla="*/ 9888 h 9888"/>
                <a:gd name="connsiteX40" fmla="*/ 6746 w 9922"/>
                <a:gd name="connsiteY40" fmla="*/ 9679 h 9888"/>
                <a:gd name="connsiteX41" fmla="*/ 6997 w 9922"/>
                <a:gd name="connsiteY41" fmla="*/ 9692 h 9888"/>
                <a:gd name="connsiteX42" fmla="*/ 7187 w 9922"/>
                <a:gd name="connsiteY42" fmla="*/ 9580 h 9888"/>
                <a:gd name="connsiteX43" fmla="*/ 7456 w 9922"/>
                <a:gd name="connsiteY43" fmla="*/ 9692 h 9888"/>
                <a:gd name="connsiteX44" fmla="*/ 7805 w 9922"/>
                <a:gd name="connsiteY44" fmla="*/ 9345 h 9888"/>
                <a:gd name="connsiteX45" fmla="*/ 7929 w 9922"/>
                <a:gd name="connsiteY45" fmla="*/ 9345 h 9888"/>
                <a:gd name="connsiteX46" fmla="*/ 8152 w 9922"/>
                <a:gd name="connsiteY46" fmla="*/ 9063 h 9888"/>
                <a:gd name="connsiteX47" fmla="*/ 9097 w 9922"/>
                <a:gd name="connsiteY47" fmla="*/ 9050 h 9888"/>
                <a:gd name="connsiteX48" fmla="*/ 9304 w 9922"/>
                <a:gd name="connsiteY48" fmla="*/ 8939 h 9888"/>
                <a:gd name="connsiteX49" fmla="*/ 9289 w 9922"/>
                <a:gd name="connsiteY49" fmla="*/ 8799 h 9888"/>
                <a:gd name="connsiteX50" fmla="*/ 9225 w 9922"/>
                <a:gd name="connsiteY50" fmla="*/ 8492 h 9888"/>
                <a:gd name="connsiteX51" fmla="*/ 8831 w 9922"/>
                <a:gd name="connsiteY51" fmla="*/ 8393 h 9888"/>
                <a:gd name="connsiteX52" fmla="*/ 8641 w 9922"/>
                <a:gd name="connsiteY52" fmla="*/ 7904 h 9888"/>
                <a:gd name="connsiteX53" fmla="*/ 8531 w 9922"/>
                <a:gd name="connsiteY53" fmla="*/ 7849 h 9888"/>
                <a:gd name="connsiteX54" fmla="*/ 8501 w 9922"/>
                <a:gd name="connsiteY54" fmla="*/ 7500 h 9888"/>
                <a:gd name="connsiteX55" fmla="*/ 8359 w 9922"/>
                <a:gd name="connsiteY55" fmla="*/ 7485 h 9888"/>
                <a:gd name="connsiteX56" fmla="*/ 8308 w 9922"/>
                <a:gd name="connsiteY56" fmla="*/ 7306 h 9888"/>
                <a:gd name="connsiteX57" fmla="*/ 8072 w 9922"/>
                <a:gd name="connsiteY57" fmla="*/ 7262 h 9888"/>
                <a:gd name="connsiteX58" fmla="*/ 7992 w 9922"/>
                <a:gd name="connsiteY58" fmla="*/ 6985 h 9888"/>
                <a:gd name="connsiteX59" fmla="*/ 7599 w 9922"/>
                <a:gd name="connsiteY59" fmla="*/ 6718 h 9888"/>
                <a:gd name="connsiteX60" fmla="*/ 7170 w 9922"/>
                <a:gd name="connsiteY60" fmla="*/ 6677 h 9888"/>
                <a:gd name="connsiteX61" fmla="*/ 7283 w 9922"/>
                <a:gd name="connsiteY61" fmla="*/ 6368 h 9888"/>
                <a:gd name="connsiteX62" fmla="*/ 7253 w 9922"/>
                <a:gd name="connsiteY62" fmla="*/ 6145 h 9888"/>
                <a:gd name="connsiteX63" fmla="*/ 7615 w 9922"/>
                <a:gd name="connsiteY63" fmla="*/ 6161 h 9888"/>
                <a:gd name="connsiteX64" fmla="*/ 7692 w 9922"/>
                <a:gd name="connsiteY64" fmla="*/ 6227 h 9888"/>
                <a:gd name="connsiteX65" fmla="*/ 7914 w 9922"/>
                <a:gd name="connsiteY65" fmla="*/ 6088 h 9888"/>
                <a:gd name="connsiteX66" fmla="*/ 7977 w 9922"/>
                <a:gd name="connsiteY66" fmla="*/ 5588 h 9888"/>
                <a:gd name="connsiteX67" fmla="*/ 7884 w 9922"/>
                <a:gd name="connsiteY67" fmla="*/ 5211 h 9888"/>
                <a:gd name="connsiteX68" fmla="*/ 8152 w 9922"/>
                <a:gd name="connsiteY68" fmla="*/ 4904 h 9888"/>
                <a:gd name="connsiteX69" fmla="*/ 8072 w 9922"/>
                <a:gd name="connsiteY69" fmla="*/ 4608 h 9888"/>
                <a:gd name="connsiteX70" fmla="*/ 8247 w 9922"/>
                <a:gd name="connsiteY70" fmla="*/ 4328 h 9888"/>
                <a:gd name="connsiteX71" fmla="*/ 8359 w 9922"/>
                <a:gd name="connsiteY71" fmla="*/ 4487 h 9888"/>
                <a:gd name="connsiteX72" fmla="*/ 8545 w 9922"/>
                <a:gd name="connsiteY72" fmla="*/ 4416 h 9888"/>
                <a:gd name="connsiteX73" fmla="*/ 8531 w 9922"/>
                <a:gd name="connsiteY73" fmla="*/ 3983 h 9888"/>
                <a:gd name="connsiteX74" fmla="*/ 8641 w 9922"/>
                <a:gd name="connsiteY74" fmla="*/ 3829 h 9888"/>
                <a:gd name="connsiteX75" fmla="*/ 8610 w 9922"/>
                <a:gd name="connsiteY75" fmla="*/ 3620 h 9888"/>
                <a:gd name="connsiteX76" fmla="*/ 8862 w 9922"/>
                <a:gd name="connsiteY76" fmla="*/ 3493 h 9888"/>
                <a:gd name="connsiteX77" fmla="*/ 8878 w 9922"/>
                <a:gd name="connsiteY77" fmla="*/ 3210 h 9888"/>
                <a:gd name="connsiteX78" fmla="*/ 9068 w 9922"/>
                <a:gd name="connsiteY78" fmla="*/ 2947 h 9888"/>
                <a:gd name="connsiteX79" fmla="*/ 9412 w 9922"/>
                <a:gd name="connsiteY79" fmla="*/ 2922 h 9888"/>
                <a:gd name="connsiteX80" fmla="*/ 9382 w 9922"/>
                <a:gd name="connsiteY80" fmla="*/ 2555 h 9888"/>
                <a:gd name="connsiteX81" fmla="*/ 9638 w 9922"/>
                <a:gd name="connsiteY81" fmla="*/ 2167 h 9888"/>
                <a:gd name="connsiteX82" fmla="*/ 9638 w 9922"/>
                <a:gd name="connsiteY82" fmla="*/ 1746 h 9888"/>
                <a:gd name="connsiteX83" fmla="*/ 9605 w 9922"/>
                <a:gd name="connsiteY83" fmla="*/ 1287 h 9888"/>
                <a:gd name="connsiteX84" fmla="*/ 9528 w 9922"/>
                <a:gd name="connsiteY84" fmla="*/ 1146 h 9888"/>
                <a:gd name="connsiteX85" fmla="*/ 9714 w 9922"/>
                <a:gd name="connsiteY85" fmla="*/ 949 h 9888"/>
                <a:gd name="connsiteX86" fmla="*/ 9728 w 9922"/>
                <a:gd name="connsiteY86" fmla="*/ 715 h 9888"/>
                <a:gd name="connsiteX87" fmla="*/ 9922 w 9922"/>
                <a:gd name="connsiteY87" fmla="*/ 431 h 9888"/>
                <a:gd name="connsiteX88" fmla="*/ 9824 w 9922"/>
                <a:gd name="connsiteY88" fmla="*/ 0 h 9888"/>
                <a:gd name="connsiteX0" fmla="*/ 10000 w 10000"/>
                <a:gd name="connsiteY0" fmla="*/ 0 h 9564"/>
                <a:gd name="connsiteX1" fmla="*/ 5344 w 10000"/>
                <a:gd name="connsiteY1" fmla="*/ 3328 h 9564"/>
                <a:gd name="connsiteX2" fmla="*/ 1954 w 10000"/>
                <a:gd name="connsiteY2" fmla="*/ 3310 h 9564"/>
                <a:gd name="connsiteX3" fmla="*/ 857 w 10000"/>
                <a:gd name="connsiteY3" fmla="*/ 4484 h 9564"/>
                <a:gd name="connsiteX4" fmla="*/ 195 w 10000"/>
                <a:gd name="connsiteY4" fmla="*/ 4759 h 9564"/>
                <a:gd name="connsiteX5" fmla="*/ 1 w 10000"/>
                <a:gd name="connsiteY5" fmla="*/ 5314 h 9564"/>
                <a:gd name="connsiteX6" fmla="*/ 130 w 10000"/>
                <a:gd name="connsiteY6" fmla="*/ 5410 h 9564"/>
                <a:gd name="connsiteX7" fmla="*/ 35 w 10000"/>
                <a:gd name="connsiteY7" fmla="*/ 5565 h 9564"/>
                <a:gd name="connsiteX8" fmla="*/ 576 w 10000"/>
                <a:gd name="connsiteY8" fmla="*/ 5609 h 9564"/>
                <a:gd name="connsiteX9" fmla="*/ 576 w 10000"/>
                <a:gd name="connsiteY9" fmla="*/ 5708 h 9564"/>
                <a:gd name="connsiteX10" fmla="*/ 558 w 10000"/>
                <a:gd name="connsiteY10" fmla="*/ 5935 h 9564"/>
                <a:gd name="connsiteX11" fmla="*/ 1131 w 10000"/>
                <a:gd name="connsiteY11" fmla="*/ 6017 h 9564"/>
                <a:gd name="connsiteX12" fmla="*/ 1131 w 10000"/>
                <a:gd name="connsiteY12" fmla="*/ 6205 h 9564"/>
                <a:gd name="connsiteX13" fmla="*/ 1434 w 10000"/>
                <a:gd name="connsiteY13" fmla="*/ 6345 h 9564"/>
                <a:gd name="connsiteX14" fmla="*/ 1339 w 10000"/>
                <a:gd name="connsiteY14" fmla="*/ 6554 h 9564"/>
                <a:gd name="connsiteX15" fmla="*/ 1767 w 10000"/>
                <a:gd name="connsiteY15" fmla="*/ 6740 h 9564"/>
                <a:gd name="connsiteX16" fmla="*/ 2024 w 10000"/>
                <a:gd name="connsiteY16" fmla="*/ 7078 h 9564"/>
                <a:gd name="connsiteX17" fmla="*/ 2262 w 10000"/>
                <a:gd name="connsiteY17" fmla="*/ 7207 h 9564"/>
                <a:gd name="connsiteX18" fmla="*/ 2166 w 10000"/>
                <a:gd name="connsiteY18" fmla="*/ 7322 h 9564"/>
                <a:gd name="connsiteX19" fmla="*/ 2295 w 10000"/>
                <a:gd name="connsiteY19" fmla="*/ 7445 h 9564"/>
                <a:gd name="connsiteX20" fmla="*/ 2275 w 10000"/>
                <a:gd name="connsiteY20" fmla="*/ 7626 h 9564"/>
                <a:gd name="connsiteX21" fmla="*/ 2520 w 10000"/>
                <a:gd name="connsiteY21" fmla="*/ 7645 h 9564"/>
                <a:gd name="connsiteX22" fmla="*/ 2788 w 10000"/>
                <a:gd name="connsiteY22" fmla="*/ 7844 h 9564"/>
                <a:gd name="connsiteX23" fmla="*/ 2853 w 10000"/>
                <a:gd name="connsiteY23" fmla="*/ 8152 h 9564"/>
                <a:gd name="connsiteX24" fmla="*/ 2913 w 10000"/>
                <a:gd name="connsiteY24" fmla="*/ 8266 h 9564"/>
                <a:gd name="connsiteX25" fmla="*/ 3249 w 10000"/>
                <a:gd name="connsiteY25" fmla="*/ 8532 h 9564"/>
                <a:gd name="connsiteX26" fmla="*/ 3249 w 10000"/>
                <a:gd name="connsiteY26" fmla="*/ 8730 h 9564"/>
                <a:gd name="connsiteX27" fmla="*/ 3743 w 10000"/>
                <a:gd name="connsiteY27" fmla="*/ 8946 h 9564"/>
                <a:gd name="connsiteX28" fmla="*/ 4013 w 10000"/>
                <a:gd name="connsiteY28" fmla="*/ 8717 h 9564"/>
                <a:gd name="connsiteX29" fmla="*/ 4349 w 10000"/>
                <a:gd name="connsiteY29" fmla="*/ 8889 h 9564"/>
                <a:gd name="connsiteX30" fmla="*/ 4616 w 10000"/>
                <a:gd name="connsiteY30" fmla="*/ 8631 h 9564"/>
                <a:gd name="connsiteX31" fmla="*/ 4919 w 10000"/>
                <a:gd name="connsiteY31" fmla="*/ 9042 h 9564"/>
                <a:gd name="connsiteX32" fmla="*/ 5349 w 10000"/>
                <a:gd name="connsiteY32" fmla="*/ 9268 h 9564"/>
                <a:gd name="connsiteX33" fmla="*/ 5397 w 10000"/>
                <a:gd name="connsiteY33" fmla="*/ 9468 h 9564"/>
                <a:gd name="connsiteX34" fmla="*/ 5573 w 10000"/>
                <a:gd name="connsiteY34" fmla="*/ 9495 h 9564"/>
                <a:gd name="connsiteX35" fmla="*/ 5826 w 10000"/>
                <a:gd name="connsiteY35" fmla="*/ 9309 h 9564"/>
                <a:gd name="connsiteX36" fmla="*/ 6147 w 10000"/>
                <a:gd name="connsiteY36" fmla="*/ 9424 h 9564"/>
                <a:gd name="connsiteX37" fmla="*/ 6257 w 10000"/>
                <a:gd name="connsiteY37" fmla="*/ 9324 h 9564"/>
                <a:gd name="connsiteX38" fmla="*/ 6371 w 10000"/>
                <a:gd name="connsiteY38" fmla="*/ 9309 h 9564"/>
                <a:gd name="connsiteX39" fmla="*/ 6590 w 10000"/>
                <a:gd name="connsiteY39" fmla="*/ 9564 h 9564"/>
                <a:gd name="connsiteX40" fmla="*/ 6799 w 10000"/>
                <a:gd name="connsiteY40" fmla="*/ 9353 h 9564"/>
                <a:gd name="connsiteX41" fmla="*/ 7052 w 10000"/>
                <a:gd name="connsiteY41" fmla="*/ 9366 h 9564"/>
                <a:gd name="connsiteX42" fmla="*/ 7243 w 10000"/>
                <a:gd name="connsiteY42" fmla="*/ 9253 h 9564"/>
                <a:gd name="connsiteX43" fmla="*/ 7515 w 10000"/>
                <a:gd name="connsiteY43" fmla="*/ 9366 h 9564"/>
                <a:gd name="connsiteX44" fmla="*/ 7866 w 10000"/>
                <a:gd name="connsiteY44" fmla="*/ 9015 h 9564"/>
                <a:gd name="connsiteX45" fmla="*/ 7991 w 10000"/>
                <a:gd name="connsiteY45" fmla="*/ 9015 h 9564"/>
                <a:gd name="connsiteX46" fmla="*/ 8216 w 10000"/>
                <a:gd name="connsiteY46" fmla="*/ 8730 h 9564"/>
                <a:gd name="connsiteX47" fmla="*/ 9169 w 10000"/>
                <a:gd name="connsiteY47" fmla="*/ 8717 h 9564"/>
                <a:gd name="connsiteX48" fmla="*/ 9377 w 10000"/>
                <a:gd name="connsiteY48" fmla="*/ 8604 h 9564"/>
                <a:gd name="connsiteX49" fmla="*/ 9362 w 10000"/>
                <a:gd name="connsiteY49" fmla="*/ 8463 h 9564"/>
                <a:gd name="connsiteX50" fmla="*/ 9298 w 10000"/>
                <a:gd name="connsiteY50" fmla="*/ 8152 h 9564"/>
                <a:gd name="connsiteX51" fmla="*/ 8900 w 10000"/>
                <a:gd name="connsiteY51" fmla="*/ 8052 h 9564"/>
                <a:gd name="connsiteX52" fmla="*/ 8709 w 10000"/>
                <a:gd name="connsiteY52" fmla="*/ 7558 h 9564"/>
                <a:gd name="connsiteX53" fmla="*/ 8598 w 10000"/>
                <a:gd name="connsiteY53" fmla="*/ 7502 h 9564"/>
                <a:gd name="connsiteX54" fmla="*/ 8568 w 10000"/>
                <a:gd name="connsiteY54" fmla="*/ 7149 h 9564"/>
                <a:gd name="connsiteX55" fmla="*/ 8425 w 10000"/>
                <a:gd name="connsiteY55" fmla="*/ 7134 h 9564"/>
                <a:gd name="connsiteX56" fmla="*/ 8373 w 10000"/>
                <a:gd name="connsiteY56" fmla="*/ 6953 h 9564"/>
                <a:gd name="connsiteX57" fmla="*/ 8135 w 10000"/>
                <a:gd name="connsiteY57" fmla="*/ 6908 h 9564"/>
                <a:gd name="connsiteX58" fmla="*/ 8055 w 10000"/>
                <a:gd name="connsiteY58" fmla="*/ 6628 h 9564"/>
                <a:gd name="connsiteX59" fmla="*/ 7659 w 10000"/>
                <a:gd name="connsiteY59" fmla="*/ 6358 h 9564"/>
                <a:gd name="connsiteX60" fmla="*/ 7226 w 10000"/>
                <a:gd name="connsiteY60" fmla="*/ 6317 h 9564"/>
                <a:gd name="connsiteX61" fmla="*/ 7340 w 10000"/>
                <a:gd name="connsiteY61" fmla="*/ 6004 h 9564"/>
                <a:gd name="connsiteX62" fmla="*/ 7310 w 10000"/>
                <a:gd name="connsiteY62" fmla="*/ 5779 h 9564"/>
                <a:gd name="connsiteX63" fmla="*/ 7675 w 10000"/>
                <a:gd name="connsiteY63" fmla="*/ 5795 h 9564"/>
                <a:gd name="connsiteX64" fmla="*/ 7752 w 10000"/>
                <a:gd name="connsiteY64" fmla="*/ 5862 h 9564"/>
                <a:gd name="connsiteX65" fmla="*/ 7976 w 10000"/>
                <a:gd name="connsiteY65" fmla="*/ 5721 h 9564"/>
                <a:gd name="connsiteX66" fmla="*/ 8040 w 10000"/>
                <a:gd name="connsiteY66" fmla="*/ 5215 h 9564"/>
                <a:gd name="connsiteX67" fmla="*/ 7946 w 10000"/>
                <a:gd name="connsiteY67" fmla="*/ 4834 h 9564"/>
                <a:gd name="connsiteX68" fmla="*/ 8216 w 10000"/>
                <a:gd name="connsiteY68" fmla="*/ 4524 h 9564"/>
                <a:gd name="connsiteX69" fmla="*/ 8135 w 10000"/>
                <a:gd name="connsiteY69" fmla="*/ 4224 h 9564"/>
                <a:gd name="connsiteX70" fmla="*/ 8312 w 10000"/>
                <a:gd name="connsiteY70" fmla="*/ 3941 h 9564"/>
                <a:gd name="connsiteX71" fmla="*/ 8425 w 10000"/>
                <a:gd name="connsiteY71" fmla="*/ 4102 h 9564"/>
                <a:gd name="connsiteX72" fmla="*/ 8612 w 10000"/>
                <a:gd name="connsiteY72" fmla="*/ 4030 h 9564"/>
                <a:gd name="connsiteX73" fmla="*/ 8598 w 10000"/>
                <a:gd name="connsiteY73" fmla="*/ 3592 h 9564"/>
                <a:gd name="connsiteX74" fmla="*/ 8709 w 10000"/>
                <a:gd name="connsiteY74" fmla="*/ 3436 h 9564"/>
                <a:gd name="connsiteX75" fmla="*/ 8678 w 10000"/>
                <a:gd name="connsiteY75" fmla="*/ 3225 h 9564"/>
                <a:gd name="connsiteX76" fmla="*/ 8932 w 10000"/>
                <a:gd name="connsiteY76" fmla="*/ 3097 h 9564"/>
                <a:gd name="connsiteX77" fmla="*/ 8948 w 10000"/>
                <a:gd name="connsiteY77" fmla="*/ 2810 h 9564"/>
                <a:gd name="connsiteX78" fmla="*/ 9139 w 10000"/>
                <a:gd name="connsiteY78" fmla="*/ 2544 h 9564"/>
                <a:gd name="connsiteX79" fmla="*/ 9486 w 10000"/>
                <a:gd name="connsiteY79" fmla="*/ 2519 h 9564"/>
                <a:gd name="connsiteX80" fmla="*/ 9456 w 10000"/>
                <a:gd name="connsiteY80" fmla="*/ 2148 h 9564"/>
                <a:gd name="connsiteX81" fmla="*/ 9714 w 10000"/>
                <a:gd name="connsiteY81" fmla="*/ 1756 h 9564"/>
                <a:gd name="connsiteX82" fmla="*/ 9714 w 10000"/>
                <a:gd name="connsiteY82" fmla="*/ 1330 h 9564"/>
                <a:gd name="connsiteX83" fmla="*/ 9681 w 10000"/>
                <a:gd name="connsiteY83" fmla="*/ 866 h 9564"/>
                <a:gd name="connsiteX84" fmla="*/ 9603 w 10000"/>
                <a:gd name="connsiteY84" fmla="*/ 723 h 9564"/>
                <a:gd name="connsiteX85" fmla="*/ 9790 w 10000"/>
                <a:gd name="connsiteY85" fmla="*/ 524 h 9564"/>
                <a:gd name="connsiteX86" fmla="*/ 9804 w 10000"/>
                <a:gd name="connsiteY86" fmla="*/ 287 h 9564"/>
                <a:gd name="connsiteX87" fmla="*/ 10000 w 10000"/>
                <a:gd name="connsiteY87" fmla="*/ 0 h 9564"/>
                <a:gd name="connsiteX0" fmla="*/ 9804 w 10129"/>
                <a:gd name="connsiteY0" fmla="*/ 184 h 9884"/>
                <a:gd name="connsiteX1" fmla="*/ 5344 w 10129"/>
                <a:gd name="connsiteY1" fmla="*/ 3364 h 9884"/>
                <a:gd name="connsiteX2" fmla="*/ 1954 w 10129"/>
                <a:gd name="connsiteY2" fmla="*/ 3345 h 9884"/>
                <a:gd name="connsiteX3" fmla="*/ 857 w 10129"/>
                <a:gd name="connsiteY3" fmla="*/ 4572 h 9884"/>
                <a:gd name="connsiteX4" fmla="*/ 195 w 10129"/>
                <a:gd name="connsiteY4" fmla="*/ 4860 h 9884"/>
                <a:gd name="connsiteX5" fmla="*/ 1 w 10129"/>
                <a:gd name="connsiteY5" fmla="*/ 5440 h 9884"/>
                <a:gd name="connsiteX6" fmla="*/ 130 w 10129"/>
                <a:gd name="connsiteY6" fmla="*/ 5541 h 9884"/>
                <a:gd name="connsiteX7" fmla="*/ 35 w 10129"/>
                <a:gd name="connsiteY7" fmla="*/ 5703 h 9884"/>
                <a:gd name="connsiteX8" fmla="*/ 576 w 10129"/>
                <a:gd name="connsiteY8" fmla="*/ 5749 h 9884"/>
                <a:gd name="connsiteX9" fmla="*/ 576 w 10129"/>
                <a:gd name="connsiteY9" fmla="*/ 5852 h 9884"/>
                <a:gd name="connsiteX10" fmla="*/ 558 w 10129"/>
                <a:gd name="connsiteY10" fmla="*/ 6090 h 9884"/>
                <a:gd name="connsiteX11" fmla="*/ 1131 w 10129"/>
                <a:gd name="connsiteY11" fmla="*/ 6175 h 9884"/>
                <a:gd name="connsiteX12" fmla="*/ 1131 w 10129"/>
                <a:gd name="connsiteY12" fmla="*/ 6372 h 9884"/>
                <a:gd name="connsiteX13" fmla="*/ 1434 w 10129"/>
                <a:gd name="connsiteY13" fmla="*/ 6518 h 9884"/>
                <a:gd name="connsiteX14" fmla="*/ 1339 w 10129"/>
                <a:gd name="connsiteY14" fmla="*/ 6737 h 9884"/>
                <a:gd name="connsiteX15" fmla="*/ 1767 w 10129"/>
                <a:gd name="connsiteY15" fmla="*/ 6931 h 9884"/>
                <a:gd name="connsiteX16" fmla="*/ 2024 w 10129"/>
                <a:gd name="connsiteY16" fmla="*/ 7285 h 9884"/>
                <a:gd name="connsiteX17" fmla="*/ 2262 w 10129"/>
                <a:gd name="connsiteY17" fmla="*/ 7420 h 9884"/>
                <a:gd name="connsiteX18" fmla="*/ 2166 w 10129"/>
                <a:gd name="connsiteY18" fmla="*/ 7540 h 9884"/>
                <a:gd name="connsiteX19" fmla="*/ 2295 w 10129"/>
                <a:gd name="connsiteY19" fmla="*/ 7668 h 9884"/>
                <a:gd name="connsiteX20" fmla="*/ 2275 w 10129"/>
                <a:gd name="connsiteY20" fmla="*/ 7858 h 9884"/>
                <a:gd name="connsiteX21" fmla="*/ 2520 w 10129"/>
                <a:gd name="connsiteY21" fmla="*/ 7878 h 9884"/>
                <a:gd name="connsiteX22" fmla="*/ 2788 w 10129"/>
                <a:gd name="connsiteY22" fmla="*/ 8086 h 9884"/>
                <a:gd name="connsiteX23" fmla="*/ 2853 w 10129"/>
                <a:gd name="connsiteY23" fmla="*/ 8408 h 9884"/>
                <a:gd name="connsiteX24" fmla="*/ 2913 w 10129"/>
                <a:gd name="connsiteY24" fmla="*/ 8527 h 9884"/>
                <a:gd name="connsiteX25" fmla="*/ 3249 w 10129"/>
                <a:gd name="connsiteY25" fmla="*/ 8805 h 9884"/>
                <a:gd name="connsiteX26" fmla="*/ 3249 w 10129"/>
                <a:gd name="connsiteY26" fmla="*/ 9012 h 9884"/>
                <a:gd name="connsiteX27" fmla="*/ 3743 w 10129"/>
                <a:gd name="connsiteY27" fmla="*/ 9238 h 9884"/>
                <a:gd name="connsiteX28" fmla="*/ 4013 w 10129"/>
                <a:gd name="connsiteY28" fmla="*/ 8998 h 9884"/>
                <a:gd name="connsiteX29" fmla="*/ 4349 w 10129"/>
                <a:gd name="connsiteY29" fmla="*/ 9178 h 9884"/>
                <a:gd name="connsiteX30" fmla="*/ 4616 w 10129"/>
                <a:gd name="connsiteY30" fmla="*/ 8908 h 9884"/>
                <a:gd name="connsiteX31" fmla="*/ 4919 w 10129"/>
                <a:gd name="connsiteY31" fmla="*/ 9338 h 9884"/>
                <a:gd name="connsiteX32" fmla="*/ 5349 w 10129"/>
                <a:gd name="connsiteY32" fmla="*/ 9575 h 9884"/>
                <a:gd name="connsiteX33" fmla="*/ 5397 w 10129"/>
                <a:gd name="connsiteY33" fmla="*/ 9784 h 9884"/>
                <a:gd name="connsiteX34" fmla="*/ 5573 w 10129"/>
                <a:gd name="connsiteY34" fmla="*/ 9812 h 9884"/>
                <a:gd name="connsiteX35" fmla="*/ 5826 w 10129"/>
                <a:gd name="connsiteY35" fmla="*/ 9617 h 9884"/>
                <a:gd name="connsiteX36" fmla="*/ 6147 w 10129"/>
                <a:gd name="connsiteY36" fmla="*/ 9738 h 9884"/>
                <a:gd name="connsiteX37" fmla="*/ 6257 w 10129"/>
                <a:gd name="connsiteY37" fmla="*/ 9633 h 9884"/>
                <a:gd name="connsiteX38" fmla="*/ 6371 w 10129"/>
                <a:gd name="connsiteY38" fmla="*/ 9617 h 9884"/>
                <a:gd name="connsiteX39" fmla="*/ 6590 w 10129"/>
                <a:gd name="connsiteY39" fmla="*/ 9884 h 9884"/>
                <a:gd name="connsiteX40" fmla="*/ 6799 w 10129"/>
                <a:gd name="connsiteY40" fmla="*/ 9663 h 9884"/>
                <a:gd name="connsiteX41" fmla="*/ 7052 w 10129"/>
                <a:gd name="connsiteY41" fmla="*/ 9677 h 9884"/>
                <a:gd name="connsiteX42" fmla="*/ 7243 w 10129"/>
                <a:gd name="connsiteY42" fmla="*/ 9559 h 9884"/>
                <a:gd name="connsiteX43" fmla="*/ 7515 w 10129"/>
                <a:gd name="connsiteY43" fmla="*/ 9677 h 9884"/>
                <a:gd name="connsiteX44" fmla="*/ 7866 w 10129"/>
                <a:gd name="connsiteY44" fmla="*/ 9310 h 9884"/>
                <a:gd name="connsiteX45" fmla="*/ 7991 w 10129"/>
                <a:gd name="connsiteY45" fmla="*/ 9310 h 9884"/>
                <a:gd name="connsiteX46" fmla="*/ 8216 w 10129"/>
                <a:gd name="connsiteY46" fmla="*/ 9012 h 9884"/>
                <a:gd name="connsiteX47" fmla="*/ 9169 w 10129"/>
                <a:gd name="connsiteY47" fmla="*/ 8998 h 9884"/>
                <a:gd name="connsiteX48" fmla="*/ 9377 w 10129"/>
                <a:gd name="connsiteY48" fmla="*/ 8880 h 9884"/>
                <a:gd name="connsiteX49" fmla="*/ 9362 w 10129"/>
                <a:gd name="connsiteY49" fmla="*/ 8733 h 9884"/>
                <a:gd name="connsiteX50" fmla="*/ 9298 w 10129"/>
                <a:gd name="connsiteY50" fmla="*/ 8408 h 9884"/>
                <a:gd name="connsiteX51" fmla="*/ 8900 w 10129"/>
                <a:gd name="connsiteY51" fmla="*/ 8303 h 9884"/>
                <a:gd name="connsiteX52" fmla="*/ 8709 w 10129"/>
                <a:gd name="connsiteY52" fmla="*/ 7787 h 9884"/>
                <a:gd name="connsiteX53" fmla="*/ 8598 w 10129"/>
                <a:gd name="connsiteY53" fmla="*/ 7728 h 9884"/>
                <a:gd name="connsiteX54" fmla="*/ 8568 w 10129"/>
                <a:gd name="connsiteY54" fmla="*/ 7359 h 9884"/>
                <a:gd name="connsiteX55" fmla="*/ 8425 w 10129"/>
                <a:gd name="connsiteY55" fmla="*/ 7343 h 9884"/>
                <a:gd name="connsiteX56" fmla="*/ 8373 w 10129"/>
                <a:gd name="connsiteY56" fmla="*/ 7154 h 9884"/>
                <a:gd name="connsiteX57" fmla="*/ 8135 w 10129"/>
                <a:gd name="connsiteY57" fmla="*/ 7107 h 9884"/>
                <a:gd name="connsiteX58" fmla="*/ 8055 w 10129"/>
                <a:gd name="connsiteY58" fmla="*/ 6814 h 9884"/>
                <a:gd name="connsiteX59" fmla="*/ 7659 w 10129"/>
                <a:gd name="connsiteY59" fmla="*/ 6532 h 9884"/>
                <a:gd name="connsiteX60" fmla="*/ 7226 w 10129"/>
                <a:gd name="connsiteY60" fmla="*/ 6489 h 9884"/>
                <a:gd name="connsiteX61" fmla="*/ 7340 w 10129"/>
                <a:gd name="connsiteY61" fmla="*/ 6162 h 9884"/>
                <a:gd name="connsiteX62" fmla="*/ 7310 w 10129"/>
                <a:gd name="connsiteY62" fmla="*/ 5926 h 9884"/>
                <a:gd name="connsiteX63" fmla="*/ 7675 w 10129"/>
                <a:gd name="connsiteY63" fmla="*/ 5943 h 9884"/>
                <a:gd name="connsiteX64" fmla="*/ 7752 w 10129"/>
                <a:gd name="connsiteY64" fmla="*/ 6013 h 9884"/>
                <a:gd name="connsiteX65" fmla="*/ 7976 w 10129"/>
                <a:gd name="connsiteY65" fmla="*/ 5866 h 9884"/>
                <a:gd name="connsiteX66" fmla="*/ 8040 w 10129"/>
                <a:gd name="connsiteY66" fmla="*/ 5337 h 9884"/>
                <a:gd name="connsiteX67" fmla="*/ 7946 w 10129"/>
                <a:gd name="connsiteY67" fmla="*/ 4938 h 9884"/>
                <a:gd name="connsiteX68" fmla="*/ 8216 w 10129"/>
                <a:gd name="connsiteY68" fmla="*/ 4614 h 9884"/>
                <a:gd name="connsiteX69" fmla="*/ 8135 w 10129"/>
                <a:gd name="connsiteY69" fmla="*/ 4301 h 9884"/>
                <a:gd name="connsiteX70" fmla="*/ 8312 w 10129"/>
                <a:gd name="connsiteY70" fmla="*/ 4005 h 9884"/>
                <a:gd name="connsiteX71" fmla="*/ 8425 w 10129"/>
                <a:gd name="connsiteY71" fmla="*/ 4173 h 9884"/>
                <a:gd name="connsiteX72" fmla="*/ 8612 w 10129"/>
                <a:gd name="connsiteY72" fmla="*/ 4098 h 9884"/>
                <a:gd name="connsiteX73" fmla="*/ 8598 w 10129"/>
                <a:gd name="connsiteY73" fmla="*/ 3640 h 9884"/>
                <a:gd name="connsiteX74" fmla="*/ 8709 w 10129"/>
                <a:gd name="connsiteY74" fmla="*/ 3477 h 9884"/>
                <a:gd name="connsiteX75" fmla="*/ 8678 w 10129"/>
                <a:gd name="connsiteY75" fmla="*/ 3256 h 9884"/>
                <a:gd name="connsiteX76" fmla="*/ 8932 w 10129"/>
                <a:gd name="connsiteY76" fmla="*/ 3122 h 9884"/>
                <a:gd name="connsiteX77" fmla="*/ 8948 w 10129"/>
                <a:gd name="connsiteY77" fmla="*/ 2822 h 9884"/>
                <a:gd name="connsiteX78" fmla="*/ 9139 w 10129"/>
                <a:gd name="connsiteY78" fmla="*/ 2544 h 9884"/>
                <a:gd name="connsiteX79" fmla="*/ 9486 w 10129"/>
                <a:gd name="connsiteY79" fmla="*/ 2518 h 9884"/>
                <a:gd name="connsiteX80" fmla="*/ 9456 w 10129"/>
                <a:gd name="connsiteY80" fmla="*/ 2130 h 9884"/>
                <a:gd name="connsiteX81" fmla="*/ 9714 w 10129"/>
                <a:gd name="connsiteY81" fmla="*/ 1720 h 9884"/>
                <a:gd name="connsiteX82" fmla="*/ 9714 w 10129"/>
                <a:gd name="connsiteY82" fmla="*/ 1275 h 9884"/>
                <a:gd name="connsiteX83" fmla="*/ 9681 w 10129"/>
                <a:gd name="connsiteY83" fmla="*/ 789 h 9884"/>
                <a:gd name="connsiteX84" fmla="*/ 9603 w 10129"/>
                <a:gd name="connsiteY84" fmla="*/ 640 h 9884"/>
                <a:gd name="connsiteX85" fmla="*/ 9790 w 10129"/>
                <a:gd name="connsiteY85" fmla="*/ 432 h 9884"/>
                <a:gd name="connsiteX86" fmla="*/ 9804 w 10129"/>
                <a:gd name="connsiteY86" fmla="*/ 184 h 9884"/>
                <a:gd name="connsiteX0" fmla="*/ 9665 w 9937"/>
                <a:gd name="connsiteY0" fmla="*/ 180 h 9743"/>
                <a:gd name="connsiteX1" fmla="*/ 5276 w 9937"/>
                <a:gd name="connsiteY1" fmla="*/ 3146 h 9743"/>
                <a:gd name="connsiteX2" fmla="*/ 1929 w 9937"/>
                <a:gd name="connsiteY2" fmla="*/ 3127 h 9743"/>
                <a:gd name="connsiteX3" fmla="*/ 846 w 9937"/>
                <a:gd name="connsiteY3" fmla="*/ 4369 h 9743"/>
                <a:gd name="connsiteX4" fmla="*/ 193 w 9937"/>
                <a:gd name="connsiteY4" fmla="*/ 4660 h 9743"/>
                <a:gd name="connsiteX5" fmla="*/ 1 w 9937"/>
                <a:gd name="connsiteY5" fmla="*/ 5247 h 9743"/>
                <a:gd name="connsiteX6" fmla="*/ 128 w 9937"/>
                <a:gd name="connsiteY6" fmla="*/ 5349 h 9743"/>
                <a:gd name="connsiteX7" fmla="*/ 35 w 9937"/>
                <a:gd name="connsiteY7" fmla="*/ 5513 h 9743"/>
                <a:gd name="connsiteX8" fmla="*/ 569 w 9937"/>
                <a:gd name="connsiteY8" fmla="*/ 5559 h 9743"/>
                <a:gd name="connsiteX9" fmla="*/ 569 w 9937"/>
                <a:gd name="connsiteY9" fmla="*/ 5664 h 9743"/>
                <a:gd name="connsiteX10" fmla="*/ 551 w 9937"/>
                <a:gd name="connsiteY10" fmla="*/ 5904 h 9743"/>
                <a:gd name="connsiteX11" fmla="*/ 1117 w 9937"/>
                <a:gd name="connsiteY11" fmla="*/ 5990 h 9743"/>
                <a:gd name="connsiteX12" fmla="*/ 1117 w 9937"/>
                <a:gd name="connsiteY12" fmla="*/ 6190 h 9743"/>
                <a:gd name="connsiteX13" fmla="*/ 1416 w 9937"/>
                <a:gd name="connsiteY13" fmla="*/ 6337 h 9743"/>
                <a:gd name="connsiteX14" fmla="*/ 1322 w 9937"/>
                <a:gd name="connsiteY14" fmla="*/ 6559 h 9743"/>
                <a:gd name="connsiteX15" fmla="*/ 1744 w 9937"/>
                <a:gd name="connsiteY15" fmla="*/ 6755 h 9743"/>
                <a:gd name="connsiteX16" fmla="*/ 1998 w 9937"/>
                <a:gd name="connsiteY16" fmla="*/ 7113 h 9743"/>
                <a:gd name="connsiteX17" fmla="*/ 2233 w 9937"/>
                <a:gd name="connsiteY17" fmla="*/ 7250 h 9743"/>
                <a:gd name="connsiteX18" fmla="*/ 2138 w 9937"/>
                <a:gd name="connsiteY18" fmla="*/ 7371 h 9743"/>
                <a:gd name="connsiteX19" fmla="*/ 2266 w 9937"/>
                <a:gd name="connsiteY19" fmla="*/ 7501 h 9743"/>
                <a:gd name="connsiteX20" fmla="*/ 2246 w 9937"/>
                <a:gd name="connsiteY20" fmla="*/ 7693 h 9743"/>
                <a:gd name="connsiteX21" fmla="*/ 2488 w 9937"/>
                <a:gd name="connsiteY21" fmla="*/ 7713 h 9743"/>
                <a:gd name="connsiteX22" fmla="*/ 2752 w 9937"/>
                <a:gd name="connsiteY22" fmla="*/ 7924 h 9743"/>
                <a:gd name="connsiteX23" fmla="*/ 2817 w 9937"/>
                <a:gd name="connsiteY23" fmla="*/ 8250 h 9743"/>
                <a:gd name="connsiteX24" fmla="*/ 2876 w 9937"/>
                <a:gd name="connsiteY24" fmla="*/ 8370 h 9743"/>
                <a:gd name="connsiteX25" fmla="*/ 3208 w 9937"/>
                <a:gd name="connsiteY25" fmla="*/ 8651 h 9743"/>
                <a:gd name="connsiteX26" fmla="*/ 3208 w 9937"/>
                <a:gd name="connsiteY26" fmla="*/ 8861 h 9743"/>
                <a:gd name="connsiteX27" fmla="*/ 3695 w 9937"/>
                <a:gd name="connsiteY27" fmla="*/ 9089 h 9743"/>
                <a:gd name="connsiteX28" fmla="*/ 3962 w 9937"/>
                <a:gd name="connsiteY28" fmla="*/ 8847 h 9743"/>
                <a:gd name="connsiteX29" fmla="*/ 4294 w 9937"/>
                <a:gd name="connsiteY29" fmla="*/ 9029 h 9743"/>
                <a:gd name="connsiteX30" fmla="*/ 4557 w 9937"/>
                <a:gd name="connsiteY30" fmla="*/ 8756 h 9743"/>
                <a:gd name="connsiteX31" fmla="*/ 4856 w 9937"/>
                <a:gd name="connsiteY31" fmla="*/ 9191 h 9743"/>
                <a:gd name="connsiteX32" fmla="*/ 5281 w 9937"/>
                <a:gd name="connsiteY32" fmla="*/ 9430 h 9743"/>
                <a:gd name="connsiteX33" fmla="*/ 5328 w 9937"/>
                <a:gd name="connsiteY33" fmla="*/ 9642 h 9743"/>
                <a:gd name="connsiteX34" fmla="*/ 5502 w 9937"/>
                <a:gd name="connsiteY34" fmla="*/ 9670 h 9743"/>
                <a:gd name="connsiteX35" fmla="*/ 5752 w 9937"/>
                <a:gd name="connsiteY35" fmla="*/ 9473 h 9743"/>
                <a:gd name="connsiteX36" fmla="*/ 6069 w 9937"/>
                <a:gd name="connsiteY36" fmla="*/ 9595 h 9743"/>
                <a:gd name="connsiteX37" fmla="*/ 6177 w 9937"/>
                <a:gd name="connsiteY37" fmla="*/ 9489 h 9743"/>
                <a:gd name="connsiteX38" fmla="*/ 6290 w 9937"/>
                <a:gd name="connsiteY38" fmla="*/ 9473 h 9743"/>
                <a:gd name="connsiteX39" fmla="*/ 6506 w 9937"/>
                <a:gd name="connsiteY39" fmla="*/ 9743 h 9743"/>
                <a:gd name="connsiteX40" fmla="*/ 6712 w 9937"/>
                <a:gd name="connsiteY40" fmla="*/ 9519 h 9743"/>
                <a:gd name="connsiteX41" fmla="*/ 6962 w 9937"/>
                <a:gd name="connsiteY41" fmla="*/ 9534 h 9743"/>
                <a:gd name="connsiteX42" fmla="*/ 7151 w 9937"/>
                <a:gd name="connsiteY42" fmla="*/ 9414 h 9743"/>
                <a:gd name="connsiteX43" fmla="*/ 7419 w 9937"/>
                <a:gd name="connsiteY43" fmla="*/ 9534 h 9743"/>
                <a:gd name="connsiteX44" fmla="*/ 7766 w 9937"/>
                <a:gd name="connsiteY44" fmla="*/ 9162 h 9743"/>
                <a:gd name="connsiteX45" fmla="*/ 7889 w 9937"/>
                <a:gd name="connsiteY45" fmla="*/ 9162 h 9743"/>
                <a:gd name="connsiteX46" fmla="*/ 8111 w 9937"/>
                <a:gd name="connsiteY46" fmla="*/ 8861 h 9743"/>
                <a:gd name="connsiteX47" fmla="*/ 9052 w 9937"/>
                <a:gd name="connsiteY47" fmla="*/ 8847 h 9743"/>
                <a:gd name="connsiteX48" fmla="*/ 9258 w 9937"/>
                <a:gd name="connsiteY48" fmla="*/ 8727 h 9743"/>
                <a:gd name="connsiteX49" fmla="*/ 9243 w 9937"/>
                <a:gd name="connsiteY49" fmla="*/ 8578 h 9743"/>
                <a:gd name="connsiteX50" fmla="*/ 9180 w 9937"/>
                <a:gd name="connsiteY50" fmla="*/ 8250 h 9743"/>
                <a:gd name="connsiteX51" fmla="*/ 8787 w 9937"/>
                <a:gd name="connsiteY51" fmla="*/ 8143 h 9743"/>
                <a:gd name="connsiteX52" fmla="*/ 8598 w 9937"/>
                <a:gd name="connsiteY52" fmla="*/ 7621 h 9743"/>
                <a:gd name="connsiteX53" fmla="*/ 8488 w 9937"/>
                <a:gd name="connsiteY53" fmla="*/ 7562 h 9743"/>
                <a:gd name="connsiteX54" fmla="*/ 8459 w 9937"/>
                <a:gd name="connsiteY54" fmla="*/ 7188 h 9743"/>
                <a:gd name="connsiteX55" fmla="*/ 8318 w 9937"/>
                <a:gd name="connsiteY55" fmla="*/ 7172 h 9743"/>
                <a:gd name="connsiteX56" fmla="*/ 8266 w 9937"/>
                <a:gd name="connsiteY56" fmla="*/ 6981 h 9743"/>
                <a:gd name="connsiteX57" fmla="*/ 8031 w 9937"/>
                <a:gd name="connsiteY57" fmla="*/ 6933 h 9743"/>
                <a:gd name="connsiteX58" fmla="*/ 7952 w 9937"/>
                <a:gd name="connsiteY58" fmla="*/ 6637 h 9743"/>
                <a:gd name="connsiteX59" fmla="*/ 7561 w 9937"/>
                <a:gd name="connsiteY59" fmla="*/ 6352 h 9743"/>
                <a:gd name="connsiteX60" fmla="*/ 7134 w 9937"/>
                <a:gd name="connsiteY60" fmla="*/ 6308 h 9743"/>
                <a:gd name="connsiteX61" fmla="*/ 7247 w 9937"/>
                <a:gd name="connsiteY61" fmla="*/ 5977 h 9743"/>
                <a:gd name="connsiteX62" fmla="*/ 7217 w 9937"/>
                <a:gd name="connsiteY62" fmla="*/ 5739 h 9743"/>
                <a:gd name="connsiteX63" fmla="*/ 7577 w 9937"/>
                <a:gd name="connsiteY63" fmla="*/ 5756 h 9743"/>
                <a:gd name="connsiteX64" fmla="*/ 7653 w 9937"/>
                <a:gd name="connsiteY64" fmla="*/ 5827 h 9743"/>
                <a:gd name="connsiteX65" fmla="*/ 7874 w 9937"/>
                <a:gd name="connsiteY65" fmla="*/ 5678 h 9743"/>
                <a:gd name="connsiteX66" fmla="*/ 7938 w 9937"/>
                <a:gd name="connsiteY66" fmla="*/ 5143 h 9743"/>
                <a:gd name="connsiteX67" fmla="*/ 7845 w 9937"/>
                <a:gd name="connsiteY67" fmla="*/ 4739 h 9743"/>
                <a:gd name="connsiteX68" fmla="*/ 8111 w 9937"/>
                <a:gd name="connsiteY68" fmla="*/ 4411 h 9743"/>
                <a:gd name="connsiteX69" fmla="*/ 8031 w 9937"/>
                <a:gd name="connsiteY69" fmla="*/ 4094 h 9743"/>
                <a:gd name="connsiteX70" fmla="*/ 8206 w 9937"/>
                <a:gd name="connsiteY70" fmla="*/ 3795 h 9743"/>
                <a:gd name="connsiteX71" fmla="*/ 8318 w 9937"/>
                <a:gd name="connsiteY71" fmla="*/ 3965 h 9743"/>
                <a:gd name="connsiteX72" fmla="*/ 8502 w 9937"/>
                <a:gd name="connsiteY72" fmla="*/ 3889 h 9743"/>
                <a:gd name="connsiteX73" fmla="*/ 8488 w 9937"/>
                <a:gd name="connsiteY73" fmla="*/ 3426 h 9743"/>
                <a:gd name="connsiteX74" fmla="*/ 8598 w 9937"/>
                <a:gd name="connsiteY74" fmla="*/ 3261 h 9743"/>
                <a:gd name="connsiteX75" fmla="*/ 8567 w 9937"/>
                <a:gd name="connsiteY75" fmla="*/ 3037 h 9743"/>
                <a:gd name="connsiteX76" fmla="*/ 8818 w 9937"/>
                <a:gd name="connsiteY76" fmla="*/ 2902 h 9743"/>
                <a:gd name="connsiteX77" fmla="*/ 8834 w 9937"/>
                <a:gd name="connsiteY77" fmla="*/ 2598 h 9743"/>
                <a:gd name="connsiteX78" fmla="*/ 9023 w 9937"/>
                <a:gd name="connsiteY78" fmla="*/ 2317 h 9743"/>
                <a:gd name="connsiteX79" fmla="*/ 9365 w 9937"/>
                <a:gd name="connsiteY79" fmla="*/ 2291 h 9743"/>
                <a:gd name="connsiteX80" fmla="*/ 9336 w 9937"/>
                <a:gd name="connsiteY80" fmla="*/ 1898 h 9743"/>
                <a:gd name="connsiteX81" fmla="*/ 9590 w 9937"/>
                <a:gd name="connsiteY81" fmla="*/ 1483 h 9743"/>
                <a:gd name="connsiteX82" fmla="*/ 9590 w 9937"/>
                <a:gd name="connsiteY82" fmla="*/ 1033 h 9743"/>
                <a:gd name="connsiteX83" fmla="*/ 9558 w 9937"/>
                <a:gd name="connsiteY83" fmla="*/ 541 h 9743"/>
                <a:gd name="connsiteX84" fmla="*/ 9481 w 9937"/>
                <a:gd name="connsiteY84" fmla="*/ 391 h 9743"/>
                <a:gd name="connsiteX85" fmla="*/ 9665 w 9937"/>
                <a:gd name="connsiteY85" fmla="*/ 180 h 9743"/>
                <a:gd name="connsiteX0" fmla="*/ 9541 w 9651"/>
                <a:gd name="connsiteY0" fmla="*/ 0 h 9599"/>
                <a:gd name="connsiteX1" fmla="*/ 5309 w 9651"/>
                <a:gd name="connsiteY1" fmla="*/ 2828 h 9599"/>
                <a:gd name="connsiteX2" fmla="*/ 1941 w 9651"/>
                <a:gd name="connsiteY2" fmla="*/ 2808 h 9599"/>
                <a:gd name="connsiteX3" fmla="*/ 851 w 9651"/>
                <a:gd name="connsiteY3" fmla="*/ 4083 h 9599"/>
                <a:gd name="connsiteX4" fmla="*/ 194 w 9651"/>
                <a:gd name="connsiteY4" fmla="*/ 4382 h 9599"/>
                <a:gd name="connsiteX5" fmla="*/ 1 w 9651"/>
                <a:gd name="connsiteY5" fmla="*/ 4984 h 9599"/>
                <a:gd name="connsiteX6" fmla="*/ 129 w 9651"/>
                <a:gd name="connsiteY6" fmla="*/ 5089 h 9599"/>
                <a:gd name="connsiteX7" fmla="*/ 35 w 9651"/>
                <a:gd name="connsiteY7" fmla="*/ 5257 h 9599"/>
                <a:gd name="connsiteX8" fmla="*/ 573 w 9651"/>
                <a:gd name="connsiteY8" fmla="*/ 5305 h 9599"/>
                <a:gd name="connsiteX9" fmla="*/ 573 w 9651"/>
                <a:gd name="connsiteY9" fmla="*/ 5412 h 9599"/>
                <a:gd name="connsiteX10" fmla="*/ 554 w 9651"/>
                <a:gd name="connsiteY10" fmla="*/ 5659 h 9599"/>
                <a:gd name="connsiteX11" fmla="*/ 1124 w 9651"/>
                <a:gd name="connsiteY11" fmla="*/ 5747 h 9599"/>
                <a:gd name="connsiteX12" fmla="*/ 1124 w 9651"/>
                <a:gd name="connsiteY12" fmla="*/ 5952 h 9599"/>
                <a:gd name="connsiteX13" fmla="*/ 1425 w 9651"/>
                <a:gd name="connsiteY13" fmla="*/ 6103 h 9599"/>
                <a:gd name="connsiteX14" fmla="*/ 1330 w 9651"/>
                <a:gd name="connsiteY14" fmla="*/ 6331 h 9599"/>
                <a:gd name="connsiteX15" fmla="*/ 1755 w 9651"/>
                <a:gd name="connsiteY15" fmla="*/ 6532 h 9599"/>
                <a:gd name="connsiteX16" fmla="*/ 2011 w 9651"/>
                <a:gd name="connsiteY16" fmla="*/ 6900 h 9599"/>
                <a:gd name="connsiteX17" fmla="*/ 2247 w 9651"/>
                <a:gd name="connsiteY17" fmla="*/ 7040 h 9599"/>
                <a:gd name="connsiteX18" fmla="*/ 2152 w 9651"/>
                <a:gd name="connsiteY18" fmla="*/ 7164 h 9599"/>
                <a:gd name="connsiteX19" fmla="*/ 2280 w 9651"/>
                <a:gd name="connsiteY19" fmla="*/ 7298 h 9599"/>
                <a:gd name="connsiteX20" fmla="*/ 2260 w 9651"/>
                <a:gd name="connsiteY20" fmla="*/ 7495 h 9599"/>
                <a:gd name="connsiteX21" fmla="*/ 2504 w 9651"/>
                <a:gd name="connsiteY21" fmla="*/ 7515 h 9599"/>
                <a:gd name="connsiteX22" fmla="*/ 2769 w 9651"/>
                <a:gd name="connsiteY22" fmla="*/ 7732 h 9599"/>
                <a:gd name="connsiteX23" fmla="*/ 2835 w 9651"/>
                <a:gd name="connsiteY23" fmla="*/ 8067 h 9599"/>
                <a:gd name="connsiteX24" fmla="*/ 2894 w 9651"/>
                <a:gd name="connsiteY24" fmla="*/ 8190 h 9599"/>
                <a:gd name="connsiteX25" fmla="*/ 3228 w 9651"/>
                <a:gd name="connsiteY25" fmla="*/ 8478 h 9599"/>
                <a:gd name="connsiteX26" fmla="*/ 3228 w 9651"/>
                <a:gd name="connsiteY26" fmla="*/ 8694 h 9599"/>
                <a:gd name="connsiteX27" fmla="*/ 3718 w 9651"/>
                <a:gd name="connsiteY27" fmla="*/ 8928 h 9599"/>
                <a:gd name="connsiteX28" fmla="*/ 3987 w 9651"/>
                <a:gd name="connsiteY28" fmla="*/ 8679 h 9599"/>
                <a:gd name="connsiteX29" fmla="*/ 4321 w 9651"/>
                <a:gd name="connsiteY29" fmla="*/ 8866 h 9599"/>
                <a:gd name="connsiteX30" fmla="*/ 4586 w 9651"/>
                <a:gd name="connsiteY30" fmla="*/ 8586 h 9599"/>
                <a:gd name="connsiteX31" fmla="*/ 4887 w 9651"/>
                <a:gd name="connsiteY31" fmla="*/ 9032 h 9599"/>
                <a:gd name="connsiteX32" fmla="*/ 5314 w 9651"/>
                <a:gd name="connsiteY32" fmla="*/ 9278 h 9599"/>
                <a:gd name="connsiteX33" fmla="*/ 5362 w 9651"/>
                <a:gd name="connsiteY33" fmla="*/ 9495 h 9599"/>
                <a:gd name="connsiteX34" fmla="*/ 5537 w 9651"/>
                <a:gd name="connsiteY34" fmla="*/ 9524 h 9599"/>
                <a:gd name="connsiteX35" fmla="*/ 5788 w 9651"/>
                <a:gd name="connsiteY35" fmla="*/ 9322 h 9599"/>
                <a:gd name="connsiteX36" fmla="*/ 6107 w 9651"/>
                <a:gd name="connsiteY36" fmla="*/ 9447 h 9599"/>
                <a:gd name="connsiteX37" fmla="*/ 6216 w 9651"/>
                <a:gd name="connsiteY37" fmla="*/ 9338 h 9599"/>
                <a:gd name="connsiteX38" fmla="*/ 6330 w 9651"/>
                <a:gd name="connsiteY38" fmla="*/ 9322 h 9599"/>
                <a:gd name="connsiteX39" fmla="*/ 6547 w 9651"/>
                <a:gd name="connsiteY39" fmla="*/ 9599 h 9599"/>
                <a:gd name="connsiteX40" fmla="*/ 6755 w 9651"/>
                <a:gd name="connsiteY40" fmla="*/ 9369 h 9599"/>
                <a:gd name="connsiteX41" fmla="*/ 7006 w 9651"/>
                <a:gd name="connsiteY41" fmla="*/ 9384 h 9599"/>
                <a:gd name="connsiteX42" fmla="*/ 7196 w 9651"/>
                <a:gd name="connsiteY42" fmla="*/ 9261 h 9599"/>
                <a:gd name="connsiteX43" fmla="*/ 7466 w 9651"/>
                <a:gd name="connsiteY43" fmla="*/ 9384 h 9599"/>
                <a:gd name="connsiteX44" fmla="*/ 7815 w 9651"/>
                <a:gd name="connsiteY44" fmla="*/ 9003 h 9599"/>
                <a:gd name="connsiteX45" fmla="*/ 7939 w 9651"/>
                <a:gd name="connsiteY45" fmla="*/ 9003 h 9599"/>
                <a:gd name="connsiteX46" fmla="*/ 8162 w 9651"/>
                <a:gd name="connsiteY46" fmla="*/ 8694 h 9599"/>
                <a:gd name="connsiteX47" fmla="*/ 9109 w 9651"/>
                <a:gd name="connsiteY47" fmla="*/ 8679 h 9599"/>
                <a:gd name="connsiteX48" fmla="*/ 9317 w 9651"/>
                <a:gd name="connsiteY48" fmla="*/ 8556 h 9599"/>
                <a:gd name="connsiteX49" fmla="*/ 9302 w 9651"/>
                <a:gd name="connsiteY49" fmla="*/ 8403 h 9599"/>
                <a:gd name="connsiteX50" fmla="*/ 9238 w 9651"/>
                <a:gd name="connsiteY50" fmla="*/ 8067 h 9599"/>
                <a:gd name="connsiteX51" fmla="*/ 8843 w 9651"/>
                <a:gd name="connsiteY51" fmla="*/ 7957 h 9599"/>
                <a:gd name="connsiteX52" fmla="*/ 8653 w 9651"/>
                <a:gd name="connsiteY52" fmla="*/ 7421 h 9599"/>
                <a:gd name="connsiteX53" fmla="*/ 8542 w 9651"/>
                <a:gd name="connsiteY53" fmla="*/ 7360 h 9599"/>
                <a:gd name="connsiteX54" fmla="*/ 8513 w 9651"/>
                <a:gd name="connsiteY54" fmla="*/ 6977 h 9599"/>
                <a:gd name="connsiteX55" fmla="*/ 8371 w 9651"/>
                <a:gd name="connsiteY55" fmla="*/ 6960 h 9599"/>
                <a:gd name="connsiteX56" fmla="*/ 8318 w 9651"/>
                <a:gd name="connsiteY56" fmla="*/ 6764 h 9599"/>
                <a:gd name="connsiteX57" fmla="*/ 8082 w 9651"/>
                <a:gd name="connsiteY57" fmla="*/ 6715 h 9599"/>
                <a:gd name="connsiteX58" fmla="*/ 8002 w 9651"/>
                <a:gd name="connsiteY58" fmla="*/ 6411 h 9599"/>
                <a:gd name="connsiteX59" fmla="*/ 7609 w 9651"/>
                <a:gd name="connsiteY59" fmla="*/ 6119 h 9599"/>
                <a:gd name="connsiteX60" fmla="*/ 7179 w 9651"/>
                <a:gd name="connsiteY60" fmla="*/ 6073 h 9599"/>
                <a:gd name="connsiteX61" fmla="*/ 7293 w 9651"/>
                <a:gd name="connsiteY61" fmla="*/ 5734 h 9599"/>
                <a:gd name="connsiteX62" fmla="*/ 7263 w 9651"/>
                <a:gd name="connsiteY62" fmla="*/ 5489 h 9599"/>
                <a:gd name="connsiteX63" fmla="*/ 7625 w 9651"/>
                <a:gd name="connsiteY63" fmla="*/ 5507 h 9599"/>
                <a:gd name="connsiteX64" fmla="*/ 7702 w 9651"/>
                <a:gd name="connsiteY64" fmla="*/ 5580 h 9599"/>
                <a:gd name="connsiteX65" fmla="*/ 7924 w 9651"/>
                <a:gd name="connsiteY65" fmla="*/ 5427 h 9599"/>
                <a:gd name="connsiteX66" fmla="*/ 7988 w 9651"/>
                <a:gd name="connsiteY66" fmla="*/ 4878 h 9599"/>
                <a:gd name="connsiteX67" fmla="*/ 7895 w 9651"/>
                <a:gd name="connsiteY67" fmla="*/ 4463 h 9599"/>
                <a:gd name="connsiteX68" fmla="*/ 8162 w 9651"/>
                <a:gd name="connsiteY68" fmla="*/ 4126 h 9599"/>
                <a:gd name="connsiteX69" fmla="*/ 8082 w 9651"/>
                <a:gd name="connsiteY69" fmla="*/ 3801 h 9599"/>
                <a:gd name="connsiteX70" fmla="*/ 8258 w 9651"/>
                <a:gd name="connsiteY70" fmla="*/ 3494 h 9599"/>
                <a:gd name="connsiteX71" fmla="*/ 8371 w 9651"/>
                <a:gd name="connsiteY71" fmla="*/ 3669 h 9599"/>
                <a:gd name="connsiteX72" fmla="*/ 8556 w 9651"/>
                <a:gd name="connsiteY72" fmla="*/ 3591 h 9599"/>
                <a:gd name="connsiteX73" fmla="*/ 8542 w 9651"/>
                <a:gd name="connsiteY73" fmla="*/ 3115 h 9599"/>
                <a:gd name="connsiteX74" fmla="*/ 8653 w 9651"/>
                <a:gd name="connsiteY74" fmla="*/ 2946 h 9599"/>
                <a:gd name="connsiteX75" fmla="*/ 8621 w 9651"/>
                <a:gd name="connsiteY75" fmla="*/ 2716 h 9599"/>
                <a:gd name="connsiteX76" fmla="*/ 8874 w 9651"/>
                <a:gd name="connsiteY76" fmla="*/ 2578 h 9599"/>
                <a:gd name="connsiteX77" fmla="*/ 8890 w 9651"/>
                <a:gd name="connsiteY77" fmla="*/ 2266 h 9599"/>
                <a:gd name="connsiteX78" fmla="*/ 9080 w 9651"/>
                <a:gd name="connsiteY78" fmla="*/ 1977 h 9599"/>
                <a:gd name="connsiteX79" fmla="*/ 9424 w 9651"/>
                <a:gd name="connsiteY79" fmla="*/ 1950 h 9599"/>
                <a:gd name="connsiteX80" fmla="*/ 9395 w 9651"/>
                <a:gd name="connsiteY80" fmla="*/ 1547 h 9599"/>
                <a:gd name="connsiteX81" fmla="*/ 9651 w 9651"/>
                <a:gd name="connsiteY81" fmla="*/ 1121 h 9599"/>
                <a:gd name="connsiteX82" fmla="*/ 9651 w 9651"/>
                <a:gd name="connsiteY82" fmla="*/ 659 h 9599"/>
                <a:gd name="connsiteX83" fmla="*/ 9619 w 9651"/>
                <a:gd name="connsiteY83" fmla="*/ 154 h 9599"/>
                <a:gd name="connsiteX84" fmla="*/ 9541 w 9651"/>
                <a:gd name="connsiteY84" fmla="*/ 0 h 9599"/>
                <a:gd name="connsiteX0" fmla="*/ 9967 w 10000"/>
                <a:gd name="connsiteY0" fmla="*/ 0 h 9840"/>
                <a:gd name="connsiteX1" fmla="*/ 5501 w 10000"/>
                <a:gd name="connsiteY1" fmla="*/ 2786 h 9840"/>
                <a:gd name="connsiteX2" fmla="*/ 2011 w 10000"/>
                <a:gd name="connsiteY2" fmla="*/ 2765 h 9840"/>
                <a:gd name="connsiteX3" fmla="*/ 882 w 10000"/>
                <a:gd name="connsiteY3" fmla="*/ 4094 h 9840"/>
                <a:gd name="connsiteX4" fmla="*/ 201 w 10000"/>
                <a:gd name="connsiteY4" fmla="*/ 4405 h 9840"/>
                <a:gd name="connsiteX5" fmla="*/ 1 w 10000"/>
                <a:gd name="connsiteY5" fmla="*/ 5032 h 9840"/>
                <a:gd name="connsiteX6" fmla="*/ 134 w 10000"/>
                <a:gd name="connsiteY6" fmla="*/ 5142 h 9840"/>
                <a:gd name="connsiteX7" fmla="*/ 36 w 10000"/>
                <a:gd name="connsiteY7" fmla="*/ 5317 h 9840"/>
                <a:gd name="connsiteX8" fmla="*/ 594 w 10000"/>
                <a:gd name="connsiteY8" fmla="*/ 5367 h 9840"/>
                <a:gd name="connsiteX9" fmla="*/ 594 w 10000"/>
                <a:gd name="connsiteY9" fmla="*/ 5478 h 9840"/>
                <a:gd name="connsiteX10" fmla="*/ 574 w 10000"/>
                <a:gd name="connsiteY10" fmla="*/ 5735 h 9840"/>
                <a:gd name="connsiteX11" fmla="*/ 1165 w 10000"/>
                <a:gd name="connsiteY11" fmla="*/ 5827 h 9840"/>
                <a:gd name="connsiteX12" fmla="*/ 1165 w 10000"/>
                <a:gd name="connsiteY12" fmla="*/ 6041 h 9840"/>
                <a:gd name="connsiteX13" fmla="*/ 1477 w 10000"/>
                <a:gd name="connsiteY13" fmla="*/ 6198 h 9840"/>
                <a:gd name="connsiteX14" fmla="*/ 1378 w 10000"/>
                <a:gd name="connsiteY14" fmla="*/ 6435 h 9840"/>
                <a:gd name="connsiteX15" fmla="*/ 1818 w 10000"/>
                <a:gd name="connsiteY15" fmla="*/ 6645 h 9840"/>
                <a:gd name="connsiteX16" fmla="*/ 2084 w 10000"/>
                <a:gd name="connsiteY16" fmla="*/ 7028 h 9840"/>
                <a:gd name="connsiteX17" fmla="*/ 2328 w 10000"/>
                <a:gd name="connsiteY17" fmla="*/ 7174 h 9840"/>
                <a:gd name="connsiteX18" fmla="*/ 2230 w 10000"/>
                <a:gd name="connsiteY18" fmla="*/ 7303 h 9840"/>
                <a:gd name="connsiteX19" fmla="*/ 2362 w 10000"/>
                <a:gd name="connsiteY19" fmla="*/ 7443 h 9840"/>
                <a:gd name="connsiteX20" fmla="*/ 2342 w 10000"/>
                <a:gd name="connsiteY20" fmla="*/ 7648 h 9840"/>
                <a:gd name="connsiteX21" fmla="*/ 2595 w 10000"/>
                <a:gd name="connsiteY21" fmla="*/ 7669 h 9840"/>
                <a:gd name="connsiteX22" fmla="*/ 2869 w 10000"/>
                <a:gd name="connsiteY22" fmla="*/ 7895 h 9840"/>
                <a:gd name="connsiteX23" fmla="*/ 2938 w 10000"/>
                <a:gd name="connsiteY23" fmla="*/ 8244 h 9840"/>
                <a:gd name="connsiteX24" fmla="*/ 2999 w 10000"/>
                <a:gd name="connsiteY24" fmla="*/ 8372 h 9840"/>
                <a:gd name="connsiteX25" fmla="*/ 3345 w 10000"/>
                <a:gd name="connsiteY25" fmla="*/ 8672 h 9840"/>
                <a:gd name="connsiteX26" fmla="*/ 3345 w 10000"/>
                <a:gd name="connsiteY26" fmla="*/ 8897 h 9840"/>
                <a:gd name="connsiteX27" fmla="*/ 3852 w 10000"/>
                <a:gd name="connsiteY27" fmla="*/ 9141 h 9840"/>
                <a:gd name="connsiteX28" fmla="*/ 4131 w 10000"/>
                <a:gd name="connsiteY28" fmla="*/ 8882 h 9840"/>
                <a:gd name="connsiteX29" fmla="*/ 4477 w 10000"/>
                <a:gd name="connsiteY29" fmla="*/ 9076 h 9840"/>
                <a:gd name="connsiteX30" fmla="*/ 4752 w 10000"/>
                <a:gd name="connsiteY30" fmla="*/ 8785 h 9840"/>
                <a:gd name="connsiteX31" fmla="*/ 5064 w 10000"/>
                <a:gd name="connsiteY31" fmla="*/ 9249 h 9840"/>
                <a:gd name="connsiteX32" fmla="*/ 5506 w 10000"/>
                <a:gd name="connsiteY32" fmla="*/ 9506 h 9840"/>
                <a:gd name="connsiteX33" fmla="*/ 5556 w 10000"/>
                <a:gd name="connsiteY33" fmla="*/ 9732 h 9840"/>
                <a:gd name="connsiteX34" fmla="*/ 5737 w 10000"/>
                <a:gd name="connsiteY34" fmla="*/ 9762 h 9840"/>
                <a:gd name="connsiteX35" fmla="*/ 5997 w 10000"/>
                <a:gd name="connsiteY35" fmla="*/ 9551 h 9840"/>
                <a:gd name="connsiteX36" fmla="*/ 6328 w 10000"/>
                <a:gd name="connsiteY36" fmla="*/ 9682 h 9840"/>
                <a:gd name="connsiteX37" fmla="*/ 6441 w 10000"/>
                <a:gd name="connsiteY37" fmla="*/ 9568 h 9840"/>
                <a:gd name="connsiteX38" fmla="*/ 6559 w 10000"/>
                <a:gd name="connsiteY38" fmla="*/ 9551 h 9840"/>
                <a:gd name="connsiteX39" fmla="*/ 6784 w 10000"/>
                <a:gd name="connsiteY39" fmla="*/ 9840 h 9840"/>
                <a:gd name="connsiteX40" fmla="*/ 6999 w 10000"/>
                <a:gd name="connsiteY40" fmla="*/ 9600 h 9840"/>
                <a:gd name="connsiteX41" fmla="*/ 7259 w 10000"/>
                <a:gd name="connsiteY41" fmla="*/ 9616 h 9840"/>
                <a:gd name="connsiteX42" fmla="*/ 7456 w 10000"/>
                <a:gd name="connsiteY42" fmla="*/ 9488 h 9840"/>
                <a:gd name="connsiteX43" fmla="*/ 7736 w 10000"/>
                <a:gd name="connsiteY43" fmla="*/ 9616 h 9840"/>
                <a:gd name="connsiteX44" fmla="*/ 8098 w 10000"/>
                <a:gd name="connsiteY44" fmla="*/ 9219 h 9840"/>
                <a:gd name="connsiteX45" fmla="*/ 8226 w 10000"/>
                <a:gd name="connsiteY45" fmla="*/ 9219 h 9840"/>
                <a:gd name="connsiteX46" fmla="*/ 8457 w 10000"/>
                <a:gd name="connsiteY46" fmla="*/ 8897 h 9840"/>
                <a:gd name="connsiteX47" fmla="*/ 9438 w 10000"/>
                <a:gd name="connsiteY47" fmla="*/ 8882 h 9840"/>
                <a:gd name="connsiteX48" fmla="*/ 9654 w 10000"/>
                <a:gd name="connsiteY48" fmla="*/ 8753 h 9840"/>
                <a:gd name="connsiteX49" fmla="*/ 9638 w 10000"/>
                <a:gd name="connsiteY49" fmla="*/ 8594 h 9840"/>
                <a:gd name="connsiteX50" fmla="*/ 9572 w 10000"/>
                <a:gd name="connsiteY50" fmla="*/ 8244 h 9840"/>
                <a:gd name="connsiteX51" fmla="*/ 9163 w 10000"/>
                <a:gd name="connsiteY51" fmla="*/ 8129 h 9840"/>
                <a:gd name="connsiteX52" fmla="*/ 8966 w 10000"/>
                <a:gd name="connsiteY52" fmla="*/ 7571 h 9840"/>
                <a:gd name="connsiteX53" fmla="*/ 8851 w 10000"/>
                <a:gd name="connsiteY53" fmla="*/ 7507 h 9840"/>
                <a:gd name="connsiteX54" fmla="*/ 8821 w 10000"/>
                <a:gd name="connsiteY54" fmla="*/ 7108 h 9840"/>
                <a:gd name="connsiteX55" fmla="*/ 8674 w 10000"/>
                <a:gd name="connsiteY55" fmla="*/ 7091 h 9840"/>
                <a:gd name="connsiteX56" fmla="*/ 8619 w 10000"/>
                <a:gd name="connsiteY56" fmla="*/ 6887 h 9840"/>
                <a:gd name="connsiteX57" fmla="*/ 8374 w 10000"/>
                <a:gd name="connsiteY57" fmla="*/ 6836 h 9840"/>
                <a:gd name="connsiteX58" fmla="*/ 8291 w 10000"/>
                <a:gd name="connsiteY58" fmla="*/ 6519 h 9840"/>
                <a:gd name="connsiteX59" fmla="*/ 7884 w 10000"/>
                <a:gd name="connsiteY59" fmla="*/ 6215 h 9840"/>
                <a:gd name="connsiteX60" fmla="*/ 7439 w 10000"/>
                <a:gd name="connsiteY60" fmla="*/ 6167 h 9840"/>
                <a:gd name="connsiteX61" fmla="*/ 7557 w 10000"/>
                <a:gd name="connsiteY61" fmla="*/ 5814 h 9840"/>
                <a:gd name="connsiteX62" fmla="*/ 7526 w 10000"/>
                <a:gd name="connsiteY62" fmla="*/ 5558 h 9840"/>
                <a:gd name="connsiteX63" fmla="*/ 7901 w 10000"/>
                <a:gd name="connsiteY63" fmla="*/ 5577 h 9840"/>
                <a:gd name="connsiteX64" fmla="*/ 7981 w 10000"/>
                <a:gd name="connsiteY64" fmla="*/ 5653 h 9840"/>
                <a:gd name="connsiteX65" fmla="*/ 8211 w 10000"/>
                <a:gd name="connsiteY65" fmla="*/ 5494 h 9840"/>
                <a:gd name="connsiteX66" fmla="*/ 8277 w 10000"/>
                <a:gd name="connsiteY66" fmla="*/ 4922 h 9840"/>
                <a:gd name="connsiteX67" fmla="*/ 8180 w 10000"/>
                <a:gd name="connsiteY67" fmla="*/ 4489 h 9840"/>
                <a:gd name="connsiteX68" fmla="*/ 8457 w 10000"/>
                <a:gd name="connsiteY68" fmla="*/ 4138 h 9840"/>
                <a:gd name="connsiteX69" fmla="*/ 8374 w 10000"/>
                <a:gd name="connsiteY69" fmla="*/ 3800 h 9840"/>
                <a:gd name="connsiteX70" fmla="*/ 8557 w 10000"/>
                <a:gd name="connsiteY70" fmla="*/ 3480 h 9840"/>
                <a:gd name="connsiteX71" fmla="*/ 8674 w 10000"/>
                <a:gd name="connsiteY71" fmla="*/ 3662 h 9840"/>
                <a:gd name="connsiteX72" fmla="*/ 8865 w 10000"/>
                <a:gd name="connsiteY72" fmla="*/ 3581 h 9840"/>
                <a:gd name="connsiteX73" fmla="*/ 8851 w 10000"/>
                <a:gd name="connsiteY73" fmla="*/ 3085 h 9840"/>
                <a:gd name="connsiteX74" fmla="*/ 8966 w 10000"/>
                <a:gd name="connsiteY74" fmla="*/ 2909 h 9840"/>
                <a:gd name="connsiteX75" fmla="*/ 8933 w 10000"/>
                <a:gd name="connsiteY75" fmla="*/ 2669 h 9840"/>
                <a:gd name="connsiteX76" fmla="*/ 9195 w 10000"/>
                <a:gd name="connsiteY76" fmla="*/ 2526 h 9840"/>
                <a:gd name="connsiteX77" fmla="*/ 9211 w 10000"/>
                <a:gd name="connsiteY77" fmla="*/ 2201 h 9840"/>
                <a:gd name="connsiteX78" fmla="*/ 9408 w 10000"/>
                <a:gd name="connsiteY78" fmla="*/ 1900 h 9840"/>
                <a:gd name="connsiteX79" fmla="*/ 9765 w 10000"/>
                <a:gd name="connsiteY79" fmla="*/ 1871 h 9840"/>
                <a:gd name="connsiteX80" fmla="*/ 9735 w 10000"/>
                <a:gd name="connsiteY80" fmla="*/ 1452 h 9840"/>
                <a:gd name="connsiteX81" fmla="*/ 10000 w 10000"/>
                <a:gd name="connsiteY81" fmla="*/ 1008 h 9840"/>
                <a:gd name="connsiteX82" fmla="*/ 10000 w 10000"/>
                <a:gd name="connsiteY82" fmla="*/ 527 h 9840"/>
                <a:gd name="connsiteX83" fmla="*/ 9967 w 10000"/>
                <a:gd name="connsiteY83" fmla="*/ 0 h 9840"/>
                <a:gd name="connsiteX0" fmla="*/ 10000 w 10333"/>
                <a:gd name="connsiteY0" fmla="*/ 81 h 9545"/>
                <a:gd name="connsiteX1" fmla="*/ 5501 w 10333"/>
                <a:gd name="connsiteY1" fmla="*/ 2376 h 9545"/>
                <a:gd name="connsiteX2" fmla="*/ 2011 w 10333"/>
                <a:gd name="connsiteY2" fmla="*/ 2355 h 9545"/>
                <a:gd name="connsiteX3" fmla="*/ 882 w 10333"/>
                <a:gd name="connsiteY3" fmla="*/ 3706 h 9545"/>
                <a:gd name="connsiteX4" fmla="*/ 201 w 10333"/>
                <a:gd name="connsiteY4" fmla="*/ 4022 h 9545"/>
                <a:gd name="connsiteX5" fmla="*/ 1 w 10333"/>
                <a:gd name="connsiteY5" fmla="*/ 4659 h 9545"/>
                <a:gd name="connsiteX6" fmla="*/ 134 w 10333"/>
                <a:gd name="connsiteY6" fmla="*/ 4771 h 9545"/>
                <a:gd name="connsiteX7" fmla="*/ 36 w 10333"/>
                <a:gd name="connsiteY7" fmla="*/ 4948 h 9545"/>
                <a:gd name="connsiteX8" fmla="*/ 594 w 10333"/>
                <a:gd name="connsiteY8" fmla="*/ 4999 h 9545"/>
                <a:gd name="connsiteX9" fmla="*/ 594 w 10333"/>
                <a:gd name="connsiteY9" fmla="*/ 5112 h 9545"/>
                <a:gd name="connsiteX10" fmla="*/ 574 w 10333"/>
                <a:gd name="connsiteY10" fmla="*/ 5373 h 9545"/>
                <a:gd name="connsiteX11" fmla="*/ 1165 w 10333"/>
                <a:gd name="connsiteY11" fmla="*/ 5467 h 9545"/>
                <a:gd name="connsiteX12" fmla="*/ 1165 w 10333"/>
                <a:gd name="connsiteY12" fmla="*/ 5684 h 9545"/>
                <a:gd name="connsiteX13" fmla="*/ 1477 w 10333"/>
                <a:gd name="connsiteY13" fmla="*/ 5844 h 9545"/>
                <a:gd name="connsiteX14" fmla="*/ 1378 w 10333"/>
                <a:gd name="connsiteY14" fmla="*/ 6085 h 9545"/>
                <a:gd name="connsiteX15" fmla="*/ 1818 w 10333"/>
                <a:gd name="connsiteY15" fmla="*/ 6298 h 9545"/>
                <a:gd name="connsiteX16" fmla="*/ 2084 w 10333"/>
                <a:gd name="connsiteY16" fmla="*/ 6687 h 9545"/>
                <a:gd name="connsiteX17" fmla="*/ 2328 w 10333"/>
                <a:gd name="connsiteY17" fmla="*/ 6836 h 9545"/>
                <a:gd name="connsiteX18" fmla="*/ 2230 w 10333"/>
                <a:gd name="connsiteY18" fmla="*/ 6967 h 9545"/>
                <a:gd name="connsiteX19" fmla="*/ 2362 w 10333"/>
                <a:gd name="connsiteY19" fmla="*/ 7109 h 9545"/>
                <a:gd name="connsiteX20" fmla="*/ 2342 w 10333"/>
                <a:gd name="connsiteY20" fmla="*/ 7317 h 9545"/>
                <a:gd name="connsiteX21" fmla="*/ 2595 w 10333"/>
                <a:gd name="connsiteY21" fmla="*/ 7339 h 9545"/>
                <a:gd name="connsiteX22" fmla="*/ 2869 w 10333"/>
                <a:gd name="connsiteY22" fmla="*/ 7568 h 9545"/>
                <a:gd name="connsiteX23" fmla="*/ 2938 w 10333"/>
                <a:gd name="connsiteY23" fmla="*/ 7923 h 9545"/>
                <a:gd name="connsiteX24" fmla="*/ 2999 w 10333"/>
                <a:gd name="connsiteY24" fmla="*/ 8053 h 9545"/>
                <a:gd name="connsiteX25" fmla="*/ 3345 w 10333"/>
                <a:gd name="connsiteY25" fmla="*/ 8358 h 9545"/>
                <a:gd name="connsiteX26" fmla="*/ 3345 w 10333"/>
                <a:gd name="connsiteY26" fmla="*/ 8587 h 9545"/>
                <a:gd name="connsiteX27" fmla="*/ 3852 w 10333"/>
                <a:gd name="connsiteY27" fmla="*/ 8835 h 9545"/>
                <a:gd name="connsiteX28" fmla="*/ 4131 w 10333"/>
                <a:gd name="connsiteY28" fmla="*/ 8571 h 9545"/>
                <a:gd name="connsiteX29" fmla="*/ 4477 w 10333"/>
                <a:gd name="connsiteY29" fmla="*/ 8769 h 9545"/>
                <a:gd name="connsiteX30" fmla="*/ 4752 w 10333"/>
                <a:gd name="connsiteY30" fmla="*/ 8473 h 9545"/>
                <a:gd name="connsiteX31" fmla="*/ 5064 w 10333"/>
                <a:gd name="connsiteY31" fmla="*/ 8944 h 9545"/>
                <a:gd name="connsiteX32" fmla="*/ 5506 w 10333"/>
                <a:gd name="connsiteY32" fmla="*/ 9206 h 9545"/>
                <a:gd name="connsiteX33" fmla="*/ 5556 w 10333"/>
                <a:gd name="connsiteY33" fmla="*/ 9435 h 9545"/>
                <a:gd name="connsiteX34" fmla="*/ 5737 w 10333"/>
                <a:gd name="connsiteY34" fmla="*/ 9466 h 9545"/>
                <a:gd name="connsiteX35" fmla="*/ 5997 w 10333"/>
                <a:gd name="connsiteY35" fmla="*/ 9251 h 9545"/>
                <a:gd name="connsiteX36" fmla="*/ 6328 w 10333"/>
                <a:gd name="connsiteY36" fmla="*/ 9384 h 9545"/>
                <a:gd name="connsiteX37" fmla="*/ 6441 w 10333"/>
                <a:gd name="connsiteY37" fmla="*/ 9269 h 9545"/>
                <a:gd name="connsiteX38" fmla="*/ 6559 w 10333"/>
                <a:gd name="connsiteY38" fmla="*/ 9251 h 9545"/>
                <a:gd name="connsiteX39" fmla="*/ 6784 w 10333"/>
                <a:gd name="connsiteY39" fmla="*/ 9545 h 9545"/>
                <a:gd name="connsiteX40" fmla="*/ 6999 w 10333"/>
                <a:gd name="connsiteY40" fmla="*/ 9301 h 9545"/>
                <a:gd name="connsiteX41" fmla="*/ 7259 w 10333"/>
                <a:gd name="connsiteY41" fmla="*/ 9317 h 9545"/>
                <a:gd name="connsiteX42" fmla="*/ 7456 w 10333"/>
                <a:gd name="connsiteY42" fmla="*/ 9187 h 9545"/>
                <a:gd name="connsiteX43" fmla="*/ 7736 w 10333"/>
                <a:gd name="connsiteY43" fmla="*/ 9317 h 9545"/>
                <a:gd name="connsiteX44" fmla="*/ 8098 w 10333"/>
                <a:gd name="connsiteY44" fmla="*/ 8914 h 9545"/>
                <a:gd name="connsiteX45" fmla="*/ 8226 w 10333"/>
                <a:gd name="connsiteY45" fmla="*/ 8914 h 9545"/>
                <a:gd name="connsiteX46" fmla="*/ 8457 w 10333"/>
                <a:gd name="connsiteY46" fmla="*/ 8587 h 9545"/>
                <a:gd name="connsiteX47" fmla="*/ 9438 w 10333"/>
                <a:gd name="connsiteY47" fmla="*/ 8571 h 9545"/>
                <a:gd name="connsiteX48" fmla="*/ 9654 w 10333"/>
                <a:gd name="connsiteY48" fmla="*/ 8440 h 9545"/>
                <a:gd name="connsiteX49" fmla="*/ 9638 w 10333"/>
                <a:gd name="connsiteY49" fmla="*/ 8279 h 9545"/>
                <a:gd name="connsiteX50" fmla="*/ 9572 w 10333"/>
                <a:gd name="connsiteY50" fmla="*/ 7923 h 9545"/>
                <a:gd name="connsiteX51" fmla="*/ 9163 w 10333"/>
                <a:gd name="connsiteY51" fmla="*/ 7806 h 9545"/>
                <a:gd name="connsiteX52" fmla="*/ 8966 w 10333"/>
                <a:gd name="connsiteY52" fmla="*/ 7239 h 9545"/>
                <a:gd name="connsiteX53" fmla="*/ 8851 w 10333"/>
                <a:gd name="connsiteY53" fmla="*/ 7174 h 9545"/>
                <a:gd name="connsiteX54" fmla="*/ 8821 w 10333"/>
                <a:gd name="connsiteY54" fmla="*/ 6769 h 9545"/>
                <a:gd name="connsiteX55" fmla="*/ 8674 w 10333"/>
                <a:gd name="connsiteY55" fmla="*/ 6751 h 9545"/>
                <a:gd name="connsiteX56" fmla="*/ 8619 w 10333"/>
                <a:gd name="connsiteY56" fmla="*/ 6544 h 9545"/>
                <a:gd name="connsiteX57" fmla="*/ 8374 w 10333"/>
                <a:gd name="connsiteY57" fmla="*/ 6492 h 9545"/>
                <a:gd name="connsiteX58" fmla="*/ 8291 w 10333"/>
                <a:gd name="connsiteY58" fmla="*/ 6170 h 9545"/>
                <a:gd name="connsiteX59" fmla="*/ 7884 w 10333"/>
                <a:gd name="connsiteY59" fmla="*/ 5861 h 9545"/>
                <a:gd name="connsiteX60" fmla="*/ 7439 w 10333"/>
                <a:gd name="connsiteY60" fmla="*/ 5812 h 9545"/>
                <a:gd name="connsiteX61" fmla="*/ 7557 w 10333"/>
                <a:gd name="connsiteY61" fmla="*/ 5454 h 9545"/>
                <a:gd name="connsiteX62" fmla="*/ 7526 w 10333"/>
                <a:gd name="connsiteY62" fmla="*/ 5193 h 9545"/>
                <a:gd name="connsiteX63" fmla="*/ 7901 w 10333"/>
                <a:gd name="connsiteY63" fmla="*/ 5213 h 9545"/>
                <a:gd name="connsiteX64" fmla="*/ 7981 w 10333"/>
                <a:gd name="connsiteY64" fmla="*/ 5290 h 9545"/>
                <a:gd name="connsiteX65" fmla="*/ 8211 w 10333"/>
                <a:gd name="connsiteY65" fmla="*/ 5128 h 9545"/>
                <a:gd name="connsiteX66" fmla="*/ 8277 w 10333"/>
                <a:gd name="connsiteY66" fmla="*/ 4547 h 9545"/>
                <a:gd name="connsiteX67" fmla="*/ 8180 w 10333"/>
                <a:gd name="connsiteY67" fmla="*/ 4107 h 9545"/>
                <a:gd name="connsiteX68" fmla="*/ 8457 w 10333"/>
                <a:gd name="connsiteY68" fmla="*/ 3750 h 9545"/>
                <a:gd name="connsiteX69" fmla="*/ 8374 w 10333"/>
                <a:gd name="connsiteY69" fmla="*/ 3407 h 9545"/>
                <a:gd name="connsiteX70" fmla="*/ 8557 w 10333"/>
                <a:gd name="connsiteY70" fmla="*/ 3082 h 9545"/>
                <a:gd name="connsiteX71" fmla="*/ 8674 w 10333"/>
                <a:gd name="connsiteY71" fmla="*/ 3267 h 9545"/>
                <a:gd name="connsiteX72" fmla="*/ 8865 w 10333"/>
                <a:gd name="connsiteY72" fmla="*/ 3184 h 9545"/>
                <a:gd name="connsiteX73" fmla="*/ 8851 w 10333"/>
                <a:gd name="connsiteY73" fmla="*/ 2680 h 9545"/>
                <a:gd name="connsiteX74" fmla="*/ 8966 w 10333"/>
                <a:gd name="connsiteY74" fmla="*/ 2501 h 9545"/>
                <a:gd name="connsiteX75" fmla="*/ 8933 w 10333"/>
                <a:gd name="connsiteY75" fmla="*/ 2257 h 9545"/>
                <a:gd name="connsiteX76" fmla="*/ 9195 w 10333"/>
                <a:gd name="connsiteY76" fmla="*/ 2112 h 9545"/>
                <a:gd name="connsiteX77" fmla="*/ 9211 w 10333"/>
                <a:gd name="connsiteY77" fmla="*/ 1782 h 9545"/>
                <a:gd name="connsiteX78" fmla="*/ 9408 w 10333"/>
                <a:gd name="connsiteY78" fmla="*/ 1476 h 9545"/>
                <a:gd name="connsiteX79" fmla="*/ 9765 w 10333"/>
                <a:gd name="connsiteY79" fmla="*/ 1446 h 9545"/>
                <a:gd name="connsiteX80" fmla="*/ 9735 w 10333"/>
                <a:gd name="connsiteY80" fmla="*/ 1021 h 9545"/>
                <a:gd name="connsiteX81" fmla="*/ 10000 w 10333"/>
                <a:gd name="connsiteY81" fmla="*/ 569 h 9545"/>
                <a:gd name="connsiteX82" fmla="*/ 10000 w 10333"/>
                <a:gd name="connsiteY82" fmla="*/ 81 h 9545"/>
                <a:gd name="connsiteX0" fmla="*/ 9678 w 9926"/>
                <a:gd name="connsiteY0" fmla="*/ 57 h 9461"/>
                <a:gd name="connsiteX1" fmla="*/ 5324 w 9926"/>
                <a:gd name="connsiteY1" fmla="*/ 1950 h 9461"/>
                <a:gd name="connsiteX2" fmla="*/ 1946 w 9926"/>
                <a:gd name="connsiteY2" fmla="*/ 1928 h 9461"/>
                <a:gd name="connsiteX3" fmla="*/ 854 w 9926"/>
                <a:gd name="connsiteY3" fmla="*/ 3344 h 9461"/>
                <a:gd name="connsiteX4" fmla="*/ 195 w 9926"/>
                <a:gd name="connsiteY4" fmla="*/ 3675 h 9461"/>
                <a:gd name="connsiteX5" fmla="*/ 1 w 9926"/>
                <a:gd name="connsiteY5" fmla="*/ 4342 h 9461"/>
                <a:gd name="connsiteX6" fmla="*/ 130 w 9926"/>
                <a:gd name="connsiteY6" fmla="*/ 4459 h 9461"/>
                <a:gd name="connsiteX7" fmla="*/ 35 w 9926"/>
                <a:gd name="connsiteY7" fmla="*/ 4645 h 9461"/>
                <a:gd name="connsiteX8" fmla="*/ 575 w 9926"/>
                <a:gd name="connsiteY8" fmla="*/ 4698 h 9461"/>
                <a:gd name="connsiteX9" fmla="*/ 575 w 9926"/>
                <a:gd name="connsiteY9" fmla="*/ 4817 h 9461"/>
                <a:gd name="connsiteX10" fmla="*/ 556 w 9926"/>
                <a:gd name="connsiteY10" fmla="*/ 5090 h 9461"/>
                <a:gd name="connsiteX11" fmla="*/ 1127 w 9926"/>
                <a:gd name="connsiteY11" fmla="*/ 5189 h 9461"/>
                <a:gd name="connsiteX12" fmla="*/ 1127 w 9926"/>
                <a:gd name="connsiteY12" fmla="*/ 5416 h 9461"/>
                <a:gd name="connsiteX13" fmla="*/ 1429 w 9926"/>
                <a:gd name="connsiteY13" fmla="*/ 5584 h 9461"/>
                <a:gd name="connsiteX14" fmla="*/ 1334 w 9926"/>
                <a:gd name="connsiteY14" fmla="*/ 5836 h 9461"/>
                <a:gd name="connsiteX15" fmla="*/ 1759 w 9926"/>
                <a:gd name="connsiteY15" fmla="*/ 6059 h 9461"/>
                <a:gd name="connsiteX16" fmla="*/ 2017 w 9926"/>
                <a:gd name="connsiteY16" fmla="*/ 6467 h 9461"/>
                <a:gd name="connsiteX17" fmla="*/ 2253 w 9926"/>
                <a:gd name="connsiteY17" fmla="*/ 6623 h 9461"/>
                <a:gd name="connsiteX18" fmla="*/ 2158 w 9926"/>
                <a:gd name="connsiteY18" fmla="*/ 6760 h 9461"/>
                <a:gd name="connsiteX19" fmla="*/ 2286 w 9926"/>
                <a:gd name="connsiteY19" fmla="*/ 6909 h 9461"/>
                <a:gd name="connsiteX20" fmla="*/ 2267 w 9926"/>
                <a:gd name="connsiteY20" fmla="*/ 7127 h 9461"/>
                <a:gd name="connsiteX21" fmla="*/ 2511 w 9926"/>
                <a:gd name="connsiteY21" fmla="*/ 7150 h 9461"/>
                <a:gd name="connsiteX22" fmla="*/ 2777 w 9926"/>
                <a:gd name="connsiteY22" fmla="*/ 7390 h 9461"/>
                <a:gd name="connsiteX23" fmla="*/ 2843 w 9926"/>
                <a:gd name="connsiteY23" fmla="*/ 7762 h 9461"/>
                <a:gd name="connsiteX24" fmla="*/ 2902 w 9926"/>
                <a:gd name="connsiteY24" fmla="*/ 7898 h 9461"/>
                <a:gd name="connsiteX25" fmla="*/ 3237 w 9926"/>
                <a:gd name="connsiteY25" fmla="*/ 8217 h 9461"/>
                <a:gd name="connsiteX26" fmla="*/ 3237 w 9926"/>
                <a:gd name="connsiteY26" fmla="*/ 8457 h 9461"/>
                <a:gd name="connsiteX27" fmla="*/ 3728 w 9926"/>
                <a:gd name="connsiteY27" fmla="*/ 8717 h 9461"/>
                <a:gd name="connsiteX28" fmla="*/ 3998 w 9926"/>
                <a:gd name="connsiteY28" fmla="*/ 8441 h 9461"/>
                <a:gd name="connsiteX29" fmla="*/ 4333 w 9926"/>
                <a:gd name="connsiteY29" fmla="*/ 8648 h 9461"/>
                <a:gd name="connsiteX30" fmla="*/ 4599 w 9926"/>
                <a:gd name="connsiteY30" fmla="*/ 8338 h 9461"/>
                <a:gd name="connsiteX31" fmla="*/ 4901 w 9926"/>
                <a:gd name="connsiteY31" fmla="*/ 8831 h 9461"/>
                <a:gd name="connsiteX32" fmla="*/ 5329 w 9926"/>
                <a:gd name="connsiteY32" fmla="*/ 9106 h 9461"/>
                <a:gd name="connsiteX33" fmla="*/ 5377 w 9926"/>
                <a:gd name="connsiteY33" fmla="*/ 9346 h 9461"/>
                <a:gd name="connsiteX34" fmla="*/ 5552 w 9926"/>
                <a:gd name="connsiteY34" fmla="*/ 9378 h 9461"/>
                <a:gd name="connsiteX35" fmla="*/ 5804 w 9926"/>
                <a:gd name="connsiteY35" fmla="*/ 9153 h 9461"/>
                <a:gd name="connsiteX36" fmla="*/ 6124 w 9926"/>
                <a:gd name="connsiteY36" fmla="*/ 9292 h 9461"/>
                <a:gd name="connsiteX37" fmla="*/ 6233 w 9926"/>
                <a:gd name="connsiteY37" fmla="*/ 9172 h 9461"/>
                <a:gd name="connsiteX38" fmla="*/ 6348 w 9926"/>
                <a:gd name="connsiteY38" fmla="*/ 9153 h 9461"/>
                <a:gd name="connsiteX39" fmla="*/ 6565 w 9926"/>
                <a:gd name="connsiteY39" fmla="*/ 9461 h 9461"/>
                <a:gd name="connsiteX40" fmla="*/ 6773 w 9926"/>
                <a:gd name="connsiteY40" fmla="*/ 9205 h 9461"/>
                <a:gd name="connsiteX41" fmla="*/ 7025 w 9926"/>
                <a:gd name="connsiteY41" fmla="*/ 9222 h 9461"/>
                <a:gd name="connsiteX42" fmla="*/ 7216 w 9926"/>
                <a:gd name="connsiteY42" fmla="*/ 9086 h 9461"/>
                <a:gd name="connsiteX43" fmla="*/ 7487 w 9926"/>
                <a:gd name="connsiteY43" fmla="*/ 9222 h 9461"/>
                <a:gd name="connsiteX44" fmla="*/ 7837 w 9926"/>
                <a:gd name="connsiteY44" fmla="*/ 8800 h 9461"/>
                <a:gd name="connsiteX45" fmla="*/ 7961 w 9926"/>
                <a:gd name="connsiteY45" fmla="*/ 8800 h 9461"/>
                <a:gd name="connsiteX46" fmla="*/ 8184 w 9926"/>
                <a:gd name="connsiteY46" fmla="*/ 8457 h 9461"/>
                <a:gd name="connsiteX47" fmla="*/ 9134 w 9926"/>
                <a:gd name="connsiteY47" fmla="*/ 8441 h 9461"/>
                <a:gd name="connsiteX48" fmla="*/ 9343 w 9926"/>
                <a:gd name="connsiteY48" fmla="*/ 8303 h 9461"/>
                <a:gd name="connsiteX49" fmla="*/ 9327 w 9926"/>
                <a:gd name="connsiteY49" fmla="*/ 8135 h 9461"/>
                <a:gd name="connsiteX50" fmla="*/ 9264 w 9926"/>
                <a:gd name="connsiteY50" fmla="*/ 7762 h 9461"/>
                <a:gd name="connsiteX51" fmla="*/ 8868 w 9926"/>
                <a:gd name="connsiteY51" fmla="*/ 7639 h 9461"/>
                <a:gd name="connsiteX52" fmla="*/ 8677 w 9926"/>
                <a:gd name="connsiteY52" fmla="*/ 7045 h 9461"/>
                <a:gd name="connsiteX53" fmla="*/ 8566 w 9926"/>
                <a:gd name="connsiteY53" fmla="*/ 6977 h 9461"/>
                <a:gd name="connsiteX54" fmla="*/ 8537 w 9926"/>
                <a:gd name="connsiteY54" fmla="*/ 6553 h 9461"/>
                <a:gd name="connsiteX55" fmla="*/ 8394 w 9926"/>
                <a:gd name="connsiteY55" fmla="*/ 6534 h 9461"/>
                <a:gd name="connsiteX56" fmla="*/ 8341 w 9926"/>
                <a:gd name="connsiteY56" fmla="*/ 6317 h 9461"/>
                <a:gd name="connsiteX57" fmla="*/ 8104 w 9926"/>
                <a:gd name="connsiteY57" fmla="*/ 6262 h 9461"/>
                <a:gd name="connsiteX58" fmla="*/ 8024 w 9926"/>
                <a:gd name="connsiteY58" fmla="*/ 5925 h 9461"/>
                <a:gd name="connsiteX59" fmla="*/ 7630 w 9926"/>
                <a:gd name="connsiteY59" fmla="*/ 5601 h 9461"/>
                <a:gd name="connsiteX60" fmla="*/ 7199 w 9926"/>
                <a:gd name="connsiteY60" fmla="*/ 5550 h 9461"/>
                <a:gd name="connsiteX61" fmla="*/ 7313 w 9926"/>
                <a:gd name="connsiteY61" fmla="*/ 5175 h 9461"/>
                <a:gd name="connsiteX62" fmla="*/ 7283 w 9926"/>
                <a:gd name="connsiteY62" fmla="*/ 4902 h 9461"/>
                <a:gd name="connsiteX63" fmla="*/ 7646 w 9926"/>
                <a:gd name="connsiteY63" fmla="*/ 4922 h 9461"/>
                <a:gd name="connsiteX64" fmla="*/ 7724 w 9926"/>
                <a:gd name="connsiteY64" fmla="*/ 5003 h 9461"/>
                <a:gd name="connsiteX65" fmla="*/ 7946 w 9926"/>
                <a:gd name="connsiteY65" fmla="*/ 4833 h 9461"/>
                <a:gd name="connsiteX66" fmla="*/ 8010 w 9926"/>
                <a:gd name="connsiteY66" fmla="*/ 4225 h 9461"/>
                <a:gd name="connsiteX67" fmla="*/ 7916 w 9926"/>
                <a:gd name="connsiteY67" fmla="*/ 3764 h 9461"/>
                <a:gd name="connsiteX68" fmla="*/ 8184 w 9926"/>
                <a:gd name="connsiteY68" fmla="*/ 3390 h 9461"/>
                <a:gd name="connsiteX69" fmla="*/ 8104 w 9926"/>
                <a:gd name="connsiteY69" fmla="*/ 3030 h 9461"/>
                <a:gd name="connsiteX70" fmla="*/ 8281 w 9926"/>
                <a:gd name="connsiteY70" fmla="*/ 2690 h 9461"/>
                <a:gd name="connsiteX71" fmla="*/ 8394 w 9926"/>
                <a:gd name="connsiteY71" fmla="*/ 2884 h 9461"/>
                <a:gd name="connsiteX72" fmla="*/ 8579 w 9926"/>
                <a:gd name="connsiteY72" fmla="*/ 2797 h 9461"/>
                <a:gd name="connsiteX73" fmla="*/ 8566 w 9926"/>
                <a:gd name="connsiteY73" fmla="*/ 2269 h 9461"/>
                <a:gd name="connsiteX74" fmla="*/ 8677 w 9926"/>
                <a:gd name="connsiteY74" fmla="*/ 2081 h 9461"/>
                <a:gd name="connsiteX75" fmla="*/ 8645 w 9926"/>
                <a:gd name="connsiteY75" fmla="*/ 1826 h 9461"/>
                <a:gd name="connsiteX76" fmla="*/ 8899 w 9926"/>
                <a:gd name="connsiteY76" fmla="*/ 1674 h 9461"/>
                <a:gd name="connsiteX77" fmla="*/ 8914 w 9926"/>
                <a:gd name="connsiteY77" fmla="*/ 1328 h 9461"/>
                <a:gd name="connsiteX78" fmla="*/ 9105 w 9926"/>
                <a:gd name="connsiteY78" fmla="*/ 1007 h 9461"/>
                <a:gd name="connsiteX79" fmla="*/ 9450 w 9926"/>
                <a:gd name="connsiteY79" fmla="*/ 976 h 9461"/>
                <a:gd name="connsiteX80" fmla="*/ 9421 w 9926"/>
                <a:gd name="connsiteY80" fmla="*/ 531 h 9461"/>
                <a:gd name="connsiteX81" fmla="*/ 9678 w 9926"/>
                <a:gd name="connsiteY81" fmla="*/ 57 h 9461"/>
                <a:gd name="connsiteX0" fmla="*/ 9491 w 9520"/>
                <a:gd name="connsiteY0" fmla="*/ 0 h 9439"/>
                <a:gd name="connsiteX1" fmla="*/ 5364 w 9520"/>
                <a:gd name="connsiteY1" fmla="*/ 1500 h 9439"/>
                <a:gd name="connsiteX2" fmla="*/ 1961 w 9520"/>
                <a:gd name="connsiteY2" fmla="*/ 1477 h 9439"/>
                <a:gd name="connsiteX3" fmla="*/ 860 w 9520"/>
                <a:gd name="connsiteY3" fmla="*/ 2974 h 9439"/>
                <a:gd name="connsiteX4" fmla="*/ 196 w 9520"/>
                <a:gd name="connsiteY4" fmla="*/ 3323 h 9439"/>
                <a:gd name="connsiteX5" fmla="*/ 1 w 9520"/>
                <a:gd name="connsiteY5" fmla="*/ 4028 h 9439"/>
                <a:gd name="connsiteX6" fmla="*/ 131 w 9520"/>
                <a:gd name="connsiteY6" fmla="*/ 4152 h 9439"/>
                <a:gd name="connsiteX7" fmla="*/ 35 w 9520"/>
                <a:gd name="connsiteY7" fmla="*/ 4349 h 9439"/>
                <a:gd name="connsiteX8" fmla="*/ 579 w 9520"/>
                <a:gd name="connsiteY8" fmla="*/ 4405 h 9439"/>
                <a:gd name="connsiteX9" fmla="*/ 579 w 9520"/>
                <a:gd name="connsiteY9" fmla="*/ 4530 h 9439"/>
                <a:gd name="connsiteX10" fmla="*/ 560 w 9520"/>
                <a:gd name="connsiteY10" fmla="*/ 4819 h 9439"/>
                <a:gd name="connsiteX11" fmla="*/ 1135 w 9520"/>
                <a:gd name="connsiteY11" fmla="*/ 4924 h 9439"/>
                <a:gd name="connsiteX12" fmla="*/ 1135 w 9520"/>
                <a:gd name="connsiteY12" fmla="*/ 5164 h 9439"/>
                <a:gd name="connsiteX13" fmla="*/ 1440 w 9520"/>
                <a:gd name="connsiteY13" fmla="*/ 5341 h 9439"/>
                <a:gd name="connsiteX14" fmla="*/ 1344 w 9520"/>
                <a:gd name="connsiteY14" fmla="*/ 5607 h 9439"/>
                <a:gd name="connsiteX15" fmla="*/ 1772 w 9520"/>
                <a:gd name="connsiteY15" fmla="*/ 5843 h 9439"/>
                <a:gd name="connsiteX16" fmla="*/ 2032 w 9520"/>
                <a:gd name="connsiteY16" fmla="*/ 6274 h 9439"/>
                <a:gd name="connsiteX17" fmla="*/ 2270 w 9520"/>
                <a:gd name="connsiteY17" fmla="*/ 6439 h 9439"/>
                <a:gd name="connsiteX18" fmla="*/ 2174 w 9520"/>
                <a:gd name="connsiteY18" fmla="*/ 6584 h 9439"/>
                <a:gd name="connsiteX19" fmla="*/ 2303 w 9520"/>
                <a:gd name="connsiteY19" fmla="*/ 6742 h 9439"/>
                <a:gd name="connsiteX20" fmla="*/ 2284 w 9520"/>
                <a:gd name="connsiteY20" fmla="*/ 6972 h 9439"/>
                <a:gd name="connsiteX21" fmla="*/ 2530 w 9520"/>
                <a:gd name="connsiteY21" fmla="*/ 6996 h 9439"/>
                <a:gd name="connsiteX22" fmla="*/ 2798 w 9520"/>
                <a:gd name="connsiteY22" fmla="*/ 7250 h 9439"/>
                <a:gd name="connsiteX23" fmla="*/ 2864 w 9520"/>
                <a:gd name="connsiteY23" fmla="*/ 7643 h 9439"/>
                <a:gd name="connsiteX24" fmla="*/ 2924 w 9520"/>
                <a:gd name="connsiteY24" fmla="*/ 7787 h 9439"/>
                <a:gd name="connsiteX25" fmla="*/ 3261 w 9520"/>
                <a:gd name="connsiteY25" fmla="*/ 8124 h 9439"/>
                <a:gd name="connsiteX26" fmla="*/ 3261 w 9520"/>
                <a:gd name="connsiteY26" fmla="*/ 8378 h 9439"/>
                <a:gd name="connsiteX27" fmla="*/ 3756 w 9520"/>
                <a:gd name="connsiteY27" fmla="*/ 8653 h 9439"/>
                <a:gd name="connsiteX28" fmla="*/ 4028 w 9520"/>
                <a:gd name="connsiteY28" fmla="*/ 8361 h 9439"/>
                <a:gd name="connsiteX29" fmla="*/ 4365 w 9520"/>
                <a:gd name="connsiteY29" fmla="*/ 8580 h 9439"/>
                <a:gd name="connsiteX30" fmla="*/ 4633 w 9520"/>
                <a:gd name="connsiteY30" fmla="*/ 8252 h 9439"/>
                <a:gd name="connsiteX31" fmla="*/ 4938 w 9520"/>
                <a:gd name="connsiteY31" fmla="*/ 8773 h 9439"/>
                <a:gd name="connsiteX32" fmla="*/ 5369 w 9520"/>
                <a:gd name="connsiteY32" fmla="*/ 9064 h 9439"/>
                <a:gd name="connsiteX33" fmla="*/ 5417 w 9520"/>
                <a:gd name="connsiteY33" fmla="*/ 9317 h 9439"/>
                <a:gd name="connsiteX34" fmla="*/ 5593 w 9520"/>
                <a:gd name="connsiteY34" fmla="*/ 9351 h 9439"/>
                <a:gd name="connsiteX35" fmla="*/ 5847 w 9520"/>
                <a:gd name="connsiteY35" fmla="*/ 9113 h 9439"/>
                <a:gd name="connsiteX36" fmla="*/ 6170 w 9520"/>
                <a:gd name="connsiteY36" fmla="*/ 9260 h 9439"/>
                <a:gd name="connsiteX37" fmla="*/ 6279 w 9520"/>
                <a:gd name="connsiteY37" fmla="*/ 9134 h 9439"/>
                <a:gd name="connsiteX38" fmla="*/ 6395 w 9520"/>
                <a:gd name="connsiteY38" fmla="*/ 9113 h 9439"/>
                <a:gd name="connsiteX39" fmla="*/ 6614 w 9520"/>
                <a:gd name="connsiteY39" fmla="*/ 9439 h 9439"/>
                <a:gd name="connsiteX40" fmla="*/ 6823 w 9520"/>
                <a:gd name="connsiteY40" fmla="*/ 9168 h 9439"/>
                <a:gd name="connsiteX41" fmla="*/ 7077 w 9520"/>
                <a:gd name="connsiteY41" fmla="*/ 9186 h 9439"/>
                <a:gd name="connsiteX42" fmla="*/ 7270 w 9520"/>
                <a:gd name="connsiteY42" fmla="*/ 9043 h 9439"/>
                <a:gd name="connsiteX43" fmla="*/ 7543 w 9520"/>
                <a:gd name="connsiteY43" fmla="*/ 9186 h 9439"/>
                <a:gd name="connsiteX44" fmla="*/ 7895 w 9520"/>
                <a:gd name="connsiteY44" fmla="*/ 8740 h 9439"/>
                <a:gd name="connsiteX45" fmla="*/ 8020 w 9520"/>
                <a:gd name="connsiteY45" fmla="*/ 8740 h 9439"/>
                <a:gd name="connsiteX46" fmla="*/ 8245 w 9520"/>
                <a:gd name="connsiteY46" fmla="*/ 8378 h 9439"/>
                <a:gd name="connsiteX47" fmla="*/ 9202 w 9520"/>
                <a:gd name="connsiteY47" fmla="*/ 8361 h 9439"/>
                <a:gd name="connsiteX48" fmla="*/ 9413 w 9520"/>
                <a:gd name="connsiteY48" fmla="*/ 8215 h 9439"/>
                <a:gd name="connsiteX49" fmla="*/ 9397 w 9520"/>
                <a:gd name="connsiteY49" fmla="*/ 8037 h 9439"/>
                <a:gd name="connsiteX50" fmla="*/ 9333 w 9520"/>
                <a:gd name="connsiteY50" fmla="*/ 7643 h 9439"/>
                <a:gd name="connsiteX51" fmla="*/ 8934 w 9520"/>
                <a:gd name="connsiteY51" fmla="*/ 7513 h 9439"/>
                <a:gd name="connsiteX52" fmla="*/ 8742 w 9520"/>
                <a:gd name="connsiteY52" fmla="*/ 6885 h 9439"/>
                <a:gd name="connsiteX53" fmla="*/ 8630 w 9520"/>
                <a:gd name="connsiteY53" fmla="*/ 6813 h 9439"/>
                <a:gd name="connsiteX54" fmla="*/ 8601 w 9520"/>
                <a:gd name="connsiteY54" fmla="*/ 6365 h 9439"/>
                <a:gd name="connsiteX55" fmla="*/ 8457 w 9520"/>
                <a:gd name="connsiteY55" fmla="*/ 6345 h 9439"/>
                <a:gd name="connsiteX56" fmla="*/ 8403 w 9520"/>
                <a:gd name="connsiteY56" fmla="*/ 6116 h 9439"/>
                <a:gd name="connsiteX57" fmla="*/ 8164 w 9520"/>
                <a:gd name="connsiteY57" fmla="*/ 6058 h 9439"/>
                <a:gd name="connsiteX58" fmla="*/ 8084 w 9520"/>
                <a:gd name="connsiteY58" fmla="*/ 5702 h 9439"/>
                <a:gd name="connsiteX59" fmla="*/ 7687 w 9520"/>
                <a:gd name="connsiteY59" fmla="*/ 5359 h 9439"/>
                <a:gd name="connsiteX60" fmla="*/ 7253 w 9520"/>
                <a:gd name="connsiteY60" fmla="*/ 5305 h 9439"/>
                <a:gd name="connsiteX61" fmla="*/ 7368 w 9520"/>
                <a:gd name="connsiteY61" fmla="*/ 4909 h 9439"/>
                <a:gd name="connsiteX62" fmla="*/ 7337 w 9520"/>
                <a:gd name="connsiteY62" fmla="*/ 4620 h 9439"/>
                <a:gd name="connsiteX63" fmla="*/ 7703 w 9520"/>
                <a:gd name="connsiteY63" fmla="*/ 4641 h 9439"/>
                <a:gd name="connsiteX64" fmla="*/ 7782 w 9520"/>
                <a:gd name="connsiteY64" fmla="*/ 4727 h 9439"/>
                <a:gd name="connsiteX65" fmla="*/ 8005 w 9520"/>
                <a:gd name="connsiteY65" fmla="*/ 4547 h 9439"/>
                <a:gd name="connsiteX66" fmla="*/ 8070 w 9520"/>
                <a:gd name="connsiteY66" fmla="*/ 3905 h 9439"/>
                <a:gd name="connsiteX67" fmla="*/ 7975 w 9520"/>
                <a:gd name="connsiteY67" fmla="*/ 3417 h 9439"/>
                <a:gd name="connsiteX68" fmla="*/ 8245 w 9520"/>
                <a:gd name="connsiteY68" fmla="*/ 3022 h 9439"/>
                <a:gd name="connsiteX69" fmla="*/ 8164 w 9520"/>
                <a:gd name="connsiteY69" fmla="*/ 2642 h 9439"/>
                <a:gd name="connsiteX70" fmla="*/ 8343 w 9520"/>
                <a:gd name="connsiteY70" fmla="*/ 2282 h 9439"/>
                <a:gd name="connsiteX71" fmla="*/ 8457 w 9520"/>
                <a:gd name="connsiteY71" fmla="*/ 2487 h 9439"/>
                <a:gd name="connsiteX72" fmla="*/ 8643 w 9520"/>
                <a:gd name="connsiteY72" fmla="*/ 2395 h 9439"/>
                <a:gd name="connsiteX73" fmla="*/ 8630 w 9520"/>
                <a:gd name="connsiteY73" fmla="*/ 1837 h 9439"/>
                <a:gd name="connsiteX74" fmla="*/ 8742 w 9520"/>
                <a:gd name="connsiteY74" fmla="*/ 1639 h 9439"/>
                <a:gd name="connsiteX75" fmla="*/ 8709 w 9520"/>
                <a:gd name="connsiteY75" fmla="*/ 1369 h 9439"/>
                <a:gd name="connsiteX76" fmla="*/ 8965 w 9520"/>
                <a:gd name="connsiteY76" fmla="*/ 1208 h 9439"/>
                <a:gd name="connsiteX77" fmla="*/ 8980 w 9520"/>
                <a:gd name="connsiteY77" fmla="*/ 843 h 9439"/>
                <a:gd name="connsiteX78" fmla="*/ 9173 w 9520"/>
                <a:gd name="connsiteY78" fmla="*/ 503 h 9439"/>
                <a:gd name="connsiteX79" fmla="*/ 9520 w 9520"/>
                <a:gd name="connsiteY79" fmla="*/ 471 h 9439"/>
                <a:gd name="connsiteX80" fmla="*/ 9491 w 9520"/>
                <a:gd name="connsiteY80" fmla="*/ 0 h 9439"/>
                <a:gd name="connsiteX0" fmla="*/ 10000 w 10000"/>
                <a:gd name="connsiteY0" fmla="*/ 0 h 9501"/>
                <a:gd name="connsiteX1" fmla="*/ 5634 w 10000"/>
                <a:gd name="connsiteY1" fmla="*/ 1090 h 9501"/>
                <a:gd name="connsiteX2" fmla="*/ 2060 w 10000"/>
                <a:gd name="connsiteY2" fmla="*/ 1066 h 9501"/>
                <a:gd name="connsiteX3" fmla="*/ 903 w 10000"/>
                <a:gd name="connsiteY3" fmla="*/ 2652 h 9501"/>
                <a:gd name="connsiteX4" fmla="*/ 206 w 10000"/>
                <a:gd name="connsiteY4" fmla="*/ 3022 h 9501"/>
                <a:gd name="connsiteX5" fmla="*/ 1 w 10000"/>
                <a:gd name="connsiteY5" fmla="*/ 3768 h 9501"/>
                <a:gd name="connsiteX6" fmla="*/ 138 w 10000"/>
                <a:gd name="connsiteY6" fmla="*/ 3900 h 9501"/>
                <a:gd name="connsiteX7" fmla="*/ 37 w 10000"/>
                <a:gd name="connsiteY7" fmla="*/ 4108 h 9501"/>
                <a:gd name="connsiteX8" fmla="*/ 608 w 10000"/>
                <a:gd name="connsiteY8" fmla="*/ 4168 h 9501"/>
                <a:gd name="connsiteX9" fmla="*/ 608 w 10000"/>
                <a:gd name="connsiteY9" fmla="*/ 4300 h 9501"/>
                <a:gd name="connsiteX10" fmla="*/ 588 w 10000"/>
                <a:gd name="connsiteY10" fmla="*/ 4606 h 9501"/>
                <a:gd name="connsiteX11" fmla="*/ 1192 w 10000"/>
                <a:gd name="connsiteY11" fmla="*/ 4718 h 9501"/>
                <a:gd name="connsiteX12" fmla="*/ 1192 w 10000"/>
                <a:gd name="connsiteY12" fmla="*/ 4972 h 9501"/>
                <a:gd name="connsiteX13" fmla="*/ 1513 w 10000"/>
                <a:gd name="connsiteY13" fmla="*/ 5159 h 9501"/>
                <a:gd name="connsiteX14" fmla="*/ 1412 w 10000"/>
                <a:gd name="connsiteY14" fmla="*/ 5441 h 9501"/>
                <a:gd name="connsiteX15" fmla="*/ 1861 w 10000"/>
                <a:gd name="connsiteY15" fmla="*/ 5691 h 9501"/>
                <a:gd name="connsiteX16" fmla="*/ 2134 w 10000"/>
                <a:gd name="connsiteY16" fmla="*/ 6148 h 9501"/>
                <a:gd name="connsiteX17" fmla="*/ 2384 w 10000"/>
                <a:gd name="connsiteY17" fmla="*/ 6323 h 9501"/>
                <a:gd name="connsiteX18" fmla="*/ 2284 w 10000"/>
                <a:gd name="connsiteY18" fmla="*/ 6476 h 9501"/>
                <a:gd name="connsiteX19" fmla="*/ 2419 w 10000"/>
                <a:gd name="connsiteY19" fmla="*/ 6644 h 9501"/>
                <a:gd name="connsiteX20" fmla="*/ 2399 w 10000"/>
                <a:gd name="connsiteY20" fmla="*/ 6887 h 9501"/>
                <a:gd name="connsiteX21" fmla="*/ 2658 w 10000"/>
                <a:gd name="connsiteY21" fmla="*/ 6913 h 9501"/>
                <a:gd name="connsiteX22" fmla="*/ 2939 w 10000"/>
                <a:gd name="connsiteY22" fmla="*/ 7182 h 9501"/>
                <a:gd name="connsiteX23" fmla="*/ 3008 w 10000"/>
                <a:gd name="connsiteY23" fmla="*/ 7598 h 9501"/>
                <a:gd name="connsiteX24" fmla="*/ 3071 w 10000"/>
                <a:gd name="connsiteY24" fmla="*/ 7751 h 9501"/>
                <a:gd name="connsiteX25" fmla="*/ 3425 w 10000"/>
                <a:gd name="connsiteY25" fmla="*/ 8108 h 9501"/>
                <a:gd name="connsiteX26" fmla="*/ 3425 w 10000"/>
                <a:gd name="connsiteY26" fmla="*/ 8377 h 9501"/>
                <a:gd name="connsiteX27" fmla="*/ 3945 w 10000"/>
                <a:gd name="connsiteY27" fmla="*/ 8668 h 9501"/>
                <a:gd name="connsiteX28" fmla="*/ 4231 w 10000"/>
                <a:gd name="connsiteY28" fmla="*/ 8359 h 9501"/>
                <a:gd name="connsiteX29" fmla="*/ 4585 w 10000"/>
                <a:gd name="connsiteY29" fmla="*/ 8591 h 9501"/>
                <a:gd name="connsiteX30" fmla="*/ 4867 w 10000"/>
                <a:gd name="connsiteY30" fmla="*/ 8243 h 9501"/>
                <a:gd name="connsiteX31" fmla="*/ 5187 w 10000"/>
                <a:gd name="connsiteY31" fmla="*/ 8795 h 9501"/>
                <a:gd name="connsiteX32" fmla="*/ 5640 w 10000"/>
                <a:gd name="connsiteY32" fmla="*/ 9104 h 9501"/>
                <a:gd name="connsiteX33" fmla="*/ 5690 w 10000"/>
                <a:gd name="connsiteY33" fmla="*/ 9372 h 9501"/>
                <a:gd name="connsiteX34" fmla="*/ 5875 w 10000"/>
                <a:gd name="connsiteY34" fmla="*/ 9408 h 9501"/>
                <a:gd name="connsiteX35" fmla="*/ 6142 w 10000"/>
                <a:gd name="connsiteY35" fmla="*/ 9156 h 9501"/>
                <a:gd name="connsiteX36" fmla="*/ 6481 w 10000"/>
                <a:gd name="connsiteY36" fmla="*/ 9311 h 9501"/>
                <a:gd name="connsiteX37" fmla="*/ 6596 w 10000"/>
                <a:gd name="connsiteY37" fmla="*/ 9178 h 9501"/>
                <a:gd name="connsiteX38" fmla="*/ 6717 w 10000"/>
                <a:gd name="connsiteY38" fmla="*/ 9156 h 9501"/>
                <a:gd name="connsiteX39" fmla="*/ 6947 w 10000"/>
                <a:gd name="connsiteY39" fmla="*/ 9501 h 9501"/>
                <a:gd name="connsiteX40" fmla="*/ 7167 w 10000"/>
                <a:gd name="connsiteY40" fmla="*/ 9214 h 9501"/>
                <a:gd name="connsiteX41" fmla="*/ 7434 w 10000"/>
                <a:gd name="connsiteY41" fmla="*/ 9233 h 9501"/>
                <a:gd name="connsiteX42" fmla="*/ 7637 w 10000"/>
                <a:gd name="connsiteY42" fmla="*/ 9081 h 9501"/>
                <a:gd name="connsiteX43" fmla="*/ 7923 w 10000"/>
                <a:gd name="connsiteY43" fmla="*/ 9233 h 9501"/>
                <a:gd name="connsiteX44" fmla="*/ 8293 w 10000"/>
                <a:gd name="connsiteY44" fmla="*/ 8760 h 9501"/>
                <a:gd name="connsiteX45" fmla="*/ 8424 w 10000"/>
                <a:gd name="connsiteY45" fmla="*/ 8760 h 9501"/>
                <a:gd name="connsiteX46" fmla="*/ 8661 w 10000"/>
                <a:gd name="connsiteY46" fmla="*/ 8377 h 9501"/>
                <a:gd name="connsiteX47" fmla="*/ 9666 w 10000"/>
                <a:gd name="connsiteY47" fmla="*/ 8359 h 9501"/>
                <a:gd name="connsiteX48" fmla="*/ 9888 w 10000"/>
                <a:gd name="connsiteY48" fmla="*/ 8204 h 9501"/>
                <a:gd name="connsiteX49" fmla="*/ 9871 w 10000"/>
                <a:gd name="connsiteY49" fmla="*/ 8016 h 9501"/>
                <a:gd name="connsiteX50" fmla="*/ 9804 w 10000"/>
                <a:gd name="connsiteY50" fmla="*/ 7598 h 9501"/>
                <a:gd name="connsiteX51" fmla="*/ 9384 w 10000"/>
                <a:gd name="connsiteY51" fmla="*/ 7461 h 9501"/>
                <a:gd name="connsiteX52" fmla="*/ 9183 w 10000"/>
                <a:gd name="connsiteY52" fmla="*/ 6795 h 9501"/>
                <a:gd name="connsiteX53" fmla="*/ 9065 w 10000"/>
                <a:gd name="connsiteY53" fmla="*/ 6719 h 9501"/>
                <a:gd name="connsiteX54" fmla="*/ 9035 w 10000"/>
                <a:gd name="connsiteY54" fmla="*/ 6244 h 9501"/>
                <a:gd name="connsiteX55" fmla="*/ 8883 w 10000"/>
                <a:gd name="connsiteY55" fmla="*/ 6223 h 9501"/>
                <a:gd name="connsiteX56" fmla="*/ 8827 w 10000"/>
                <a:gd name="connsiteY56" fmla="*/ 5980 h 9501"/>
                <a:gd name="connsiteX57" fmla="*/ 8576 w 10000"/>
                <a:gd name="connsiteY57" fmla="*/ 5919 h 9501"/>
                <a:gd name="connsiteX58" fmla="*/ 8492 w 10000"/>
                <a:gd name="connsiteY58" fmla="*/ 5542 h 9501"/>
                <a:gd name="connsiteX59" fmla="*/ 8075 w 10000"/>
                <a:gd name="connsiteY59" fmla="*/ 5179 h 9501"/>
                <a:gd name="connsiteX60" fmla="*/ 7619 w 10000"/>
                <a:gd name="connsiteY60" fmla="*/ 5121 h 9501"/>
                <a:gd name="connsiteX61" fmla="*/ 7739 w 10000"/>
                <a:gd name="connsiteY61" fmla="*/ 4702 h 9501"/>
                <a:gd name="connsiteX62" fmla="*/ 7707 w 10000"/>
                <a:gd name="connsiteY62" fmla="*/ 4396 h 9501"/>
                <a:gd name="connsiteX63" fmla="*/ 8091 w 10000"/>
                <a:gd name="connsiteY63" fmla="*/ 4418 h 9501"/>
                <a:gd name="connsiteX64" fmla="*/ 8174 w 10000"/>
                <a:gd name="connsiteY64" fmla="*/ 4509 h 9501"/>
                <a:gd name="connsiteX65" fmla="*/ 8409 w 10000"/>
                <a:gd name="connsiteY65" fmla="*/ 4318 h 9501"/>
                <a:gd name="connsiteX66" fmla="*/ 8477 w 10000"/>
                <a:gd name="connsiteY66" fmla="*/ 3638 h 9501"/>
                <a:gd name="connsiteX67" fmla="*/ 8377 w 10000"/>
                <a:gd name="connsiteY67" fmla="*/ 3121 h 9501"/>
                <a:gd name="connsiteX68" fmla="*/ 8661 w 10000"/>
                <a:gd name="connsiteY68" fmla="*/ 2703 h 9501"/>
                <a:gd name="connsiteX69" fmla="*/ 8576 w 10000"/>
                <a:gd name="connsiteY69" fmla="*/ 2300 h 9501"/>
                <a:gd name="connsiteX70" fmla="*/ 8764 w 10000"/>
                <a:gd name="connsiteY70" fmla="*/ 1919 h 9501"/>
                <a:gd name="connsiteX71" fmla="*/ 8883 w 10000"/>
                <a:gd name="connsiteY71" fmla="*/ 2136 h 9501"/>
                <a:gd name="connsiteX72" fmla="*/ 9079 w 10000"/>
                <a:gd name="connsiteY72" fmla="*/ 2038 h 9501"/>
                <a:gd name="connsiteX73" fmla="*/ 9065 w 10000"/>
                <a:gd name="connsiteY73" fmla="*/ 1447 h 9501"/>
                <a:gd name="connsiteX74" fmla="*/ 9183 w 10000"/>
                <a:gd name="connsiteY74" fmla="*/ 1237 h 9501"/>
                <a:gd name="connsiteX75" fmla="*/ 9148 w 10000"/>
                <a:gd name="connsiteY75" fmla="*/ 951 h 9501"/>
                <a:gd name="connsiteX76" fmla="*/ 9417 w 10000"/>
                <a:gd name="connsiteY76" fmla="*/ 781 h 9501"/>
                <a:gd name="connsiteX77" fmla="*/ 9433 w 10000"/>
                <a:gd name="connsiteY77" fmla="*/ 394 h 9501"/>
                <a:gd name="connsiteX78" fmla="*/ 9636 w 10000"/>
                <a:gd name="connsiteY78" fmla="*/ 34 h 9501"/>
                <a:gd name="connsiteX79" fmla="*/ 10000 w 10000"/>
                <a:gd name="connsiteY79" fmla="*/ 0 h 9501"/>
                <a:gd name="connsiteX0" fmla="*/ 9636 w 9888"/>
                <a:gd name="connsiteY0" fmla="*/ 0 h 9964"/>
                <a:gd name="connsiteX1" fmla="*/ 5634 w 9888"/>
                <a:gd name="connsiteY1" fmla="*/ 1111 h 9964"/>
                <a:gd name="connsiteX2" fmla="*/ 2060 w 9888"/>
                <a:gd name="connsiteY2" fmla="*/ 1086 h 9964"/>
                <a:gd name="connsiteX3" fmla="*/ 903 w 9888"/>
                <a:gd name="connsiteY3" fmla="*/ 2755 h 9964"/>
                <a:gd name="connsiteX4" fmla="*/ 206 w 9888"/>
                <a:gd name="connsiteY4" fmla="*/ 3145 h 9964"/>
                <a:gd name="connsiteX5" fmla="*/ 1 w 9888"/>
                <a:gd name="connsiteY5" fmla="*/ 3930 h 9964"/>
                <a:gd name="connsiteX6" fmla="*/ 138 w 9888"/>
                <a:gd name="connsiteY6" fmla="*/ 4069 h 9964"/>
                <a:gd name="connsiteX7" fmla="*/ 37 w 9888"/>
                <a:gd name="connsiteY7" fmla="*/ 4288 h 9964"/>
                <a:gd name="connsiteX8" fmla="*/ 608 w 9888"/>
                <a:gd name="connsiteY8" fmla="*/ 4351 h 9964"/>
                <a:gd name="connsiteX9" fmla="*/ 608 w 9888"/>
                <a:gd name="connsiteY9" fmla="*/ 4490 h 9964"/>
                <a:gd name="connsiteX10" fmla="*/ 588 w 9888"/>
                <a:gd name="connsiteY10" fmla="*/ 4812 h 9964"/>
                <a:gd name="connsiteX11" fmla="*/ 1192 w 9888"/>
                <a:gd name="connsiteY11" fmla="*/ 4930 h 9964"/>
                <a:gd name="connsiteX12" fmla="*/ 1192 w 9888"/>
                <a:gd name="connsiteY12" fmla="*/ 5197 h 9964"/>
                <a:gd name="connsiteX13" fmla="*/ 1513 w 9888"/>
                <a:gd name="connsiteY13" fmla="*/ 5394 h 9964"/>
                <a:gd name="connsiteX14" fmla="*/ 1412 w 9888"/>
                <a:gd name="connsiteY14" fmla="*/ 5691 h 9964"/>
                <a:gd name="connsiteX15" fmla="*/ 1861 w 9888"/>
                <a:gd name="connsiteY15" fmla="*/ 5954 h 9964"/>
                <a:gd name="connsiteX16" fmla="*/ 2134 w 9888"/>
                <a:gd name="connsiteY16" fmla="*/ 6435 h 9964"/>
                <a:gd name="connsiteX17" fmla="*/ 2384 w 9888"/>
                <a:gd name="connsiteY17" fmla="*/ 6619 h 9964"/>
                <a:gd name="connsiteX18" fmla="*/ 2284 w 9888"/>
                <a:gd name="connsiteY18" fmla="*/ 6780 h 9964"/>
                <a:gd name="connsiteX19" fmla="*/ 2419 w 9888"/>
                <a:gd name="connsiteY19" fmla="*/ 6957 h 9964"/>
                <a:gd name="connsiteX20" fmla="*/ 2399 w 9888"/>
                <a:gd name="connsiteY20" fmla="*/ 7213 h 9964"/>
                <a:gd name="connsiteX21" fmla="*/ 2658 w 9888"/>
                <a:gd name="connsiteY21" fmla="*/ 7240 h 9964"/>
                <a:gd name="connsiteX22" fmla="*/ 2939 w 9888"/>
                <a:gd name="connsiteY22" fmla="*/ 7523 h 9964"/>
                <a:gd name="connsiteX23" fmla="*/ 3008 w 9888"/>
                <a:gd name="connsiteY23" fmla="*/ 7961 h 9964"/>
                <a:gd name="connsiteX24" fmla="*/ 3071 w 9888"/>
                <a:gd name="connsiteY24" fmla="*/ 8122 h 9964"/>
                <a:gd name="connsiteX25" fmla="*/ 3425 w 9888"/>
                <a:gd name="connsiteY25" fmla="*/ 8498 h 9964"/>
                <a:gd name="connsiteX26" fmla="*/ 3425 w 9888"/>
                <a:gd name="connsiteY26" fmla="*/ 8781 h 9964"/>
                <a:gd name="connsiteX27" fmla="*/ 3945 w 9888"/>
                <a:gd name="connsiteY27" fmla="*/ 9087 h 9964"/>
                <a:gd name="connsiteX28" fmla="*/ 4231 w 9888"/>
                <a:gd name="connsiteY28" fmla="*/ 8762 h 9964"/>
                <a:gd name="connsiteX29" fmla="*/ 4585 w 9888"/>
                <a:gd name="connsiteY29" fmla="*/ 9006 h 9964"/>
                <a:gd name="connsiteX30" fmla="*/ 4867 w 9888"/>
                <a:gd name="connsiteY30" fmla="*/ 8640 h 9964"/>
                <a:gd name="connsiteX31" fmla="*/ 5187 w 9888"/>
                <a:gd name="connsiteY31" fmla="*/ 9221 h 9964"/>
                <a:gd name="connsiteX32" fmla="*/ 5640 w 9888"/>
                <a:gd name="connsiteY32" fmla="*/ 9546 h 9964"/>
                <a:gd name="connsiteX33" fmla="*/ 5690 w 9888"/>
                <a:gd name="connsiteY33" fmla="*/ 9828 h 9964"/>
                <a:gd name="connsiteX34" fmla="*/ 5875 w 9888"/>
                <a:gd name="connsiteY34" fmla="*/ 9866 h 9964"/>
                <a:gd name="connsiteX35" fmla="*/ 6142 w 9888"/>
                <a:gd name="connsiteY35" fmla="*/ 9601 h 9964"/>
                <a:gd name="connsiteX36" fmla="*/ 6481 w 9888"/>
                <a:gd name="connsiteY36" fmla="*/ 9764 h 9964"/>
                <a:gd name="connsiteX37" fmla="*/ 6596 w 9888"/>
                <a:gd name="connsiteY37" fmla="*/ 9624 h 9964"/>
                <a:gd name="connsiteX38" fmla="*/ 6717 w 9888"/>
                <a:gd name="connsiteY38" fmla="*/ 9601 h 9964"/>
                <a:gd name="connsiteX39" fmla="*/ 6947 w 9888"/>
                <a:gd name="connsiteY39" fmla="*/ 9964 h 9964"/>
                <a:gd name="connsiteX40" fmla="*/ 7167 w 9888"/>
                <a:gd name="connsiteY40" fmla="*/ 9662 h 9964"/>
                <a:gd name="connsiteX41" fmla="*/ 7434 w 9888"/>
                <a:gd name="connsiteY41" fmla="*/ 9682 h 9964"/>
                <a:gd name="connsiteX42" fmla="*/ 7637 w 9888"/>
                <a:gd name="connsiteY42" fmla="*/ 9522 h 9964"/>
                <a:gd name="connsiteX43" fmla="*/ 7923 w 9888"/>
                <a:gd name="connsiteY43" fmla="*/ 9682 h 9964"/>
                <a:gd name="connsiteX44" fmla="*/ 8293 w 9888"/>
                <a:gd name="connsiteY44" fmla="*/ 9184 h 9964"/>
                <a:gd name="connsiteX45" fmla="*/ 8424 w 9888"/>
                <a:gd name="connsiteY45" fmla="*/ 9184 h 9964"/>
                <a:gd name="connsiteX46" fmla="*/ 8661 w 9888"/>
                <a:gd name="connsiteY46" fmla="*/ 8781 h 9964"/>
                <a:gd name="connsiteX47" fmla="*/ 9666 w 9888"/>
                <a:gd name="connsiteY47" fmla="*/ 8762 h 9964"/>
                <a:gd name="connsiteX48" fmla="*/ 9888 w 9888"/>
                <a:gd name="connsiteY48" fmla="*/ 8599 h 9964"/>
                <a:gd name="connsiteX49" fmla="*/ 9871 w 9888"/>
                <a:gd name="connsiteY49" fmla="*/ 8401 h 9964"/>
                <a:gd name="connsiteX50" fmla="*/ 9804 w 9888"/>
                <a:gd name="connsiteY50" fmla="*/ 7961 h 9964"/>
                <a:gd name="connsiteX51" fmla="*/ 9384 w 9888"/>
                <a:gd name="connsiteY51" fmla="*/ 7817 h 9964"/>
                <a:gd name="connsiteX52" fmla="*/ 9183 w 9888"/>
                <a:gd name="connsiteY52" fmla="*/ 7116 h 9964"/>
                <a:gd name="connsiteX53" fmla="*/ 9065 w 9888"/>
                <a:gd name="connsiteY53" fmla="*/ 7036 h 9964"/>
                <a:gd name="connsiteX54" fmla="*/ 9035 w 9888"/>
                <a:gd name="connsiteY54" fmla="*/ 6536 h 9964"/>
                <a:gd name="connsiteX55" fmla="*/ 8883 w 9888"/>
                <a:gd name="connsiteY55" fmla="*/ 6514 h 9964"/>
                <a:gd name="connsiteX56" fmla="*/ 8827 w 9888"/>
                <a:gd name="connsiteY56" fmla="*/ 6258 h 9964"/>
                <a:gd name="connsiteX57" fmla="*/ 8576 w 9888"/>
                <a:gd name="connsiteY57" fmla="*/ 6194 h 9964"/>
                <a:gd name="connsiteX58" fmla="*/ 8492 w 9888"/>
                <a:gd name="connsiteY58" fmla="*/ 5797 h 9964"/>
                <a:gd name="connsiteX59" fmla="*/ 8075 w 9888"/>
                <a:gd name="connsiteY59" fmla="*/ 5415 h 9964"/>
                <a:gd name="connsiteX60" fmla="*/ 7619 w 9888"/>
                <a:gd name="connsiteY60" fmla="*/ 5354 h 9964"/>
                <a:gd name="connsiteX61" fmla="*/ 7739 w 9888"/>
                <a:gd name="connsiteY61" fmla="*/ 4913 h 9964"/>
                <a:gd name="connsiteX62" fmla="*/ 7707 w 9888"/>
                <a:gd name="connsiteY62" fmla="*/ 4591 h 9964"/>
                <a:gd name="connsiteX63" fmla="*/ 8091 w 9888"/>
                <a:gd name="connsiteY63" fmla="*/ 4614 h 9964"/>
                <a:gd name="connsiteX64" fmla="*/ 8174 w 9888"/>
                <a:gd name="connsiteY64" fmla="*/ 4710 h 9964"/>
                <a:gd name="connsiteX65" fmla="*/ 8409 w 9888"/>
                <a:gd name="connsiteY65" fmla="*/ 4509 h 9964"/>
                <a:gd name="connsiteX66" fmla="*/ 8477 w 9888"/>
                <a:gd name="connsiteY66" fmla="*/ 3793 h 9964"/>
                <a:gd name="connsiteX67" fmla="*/ 8377 w 9888"/>
                <a:gd name="connsiteY67" fmla="*/ 3249 h 9964"/>
                <a:gd name="connsiteX68" fmla="*/ 8661 w 9888"/>
                <a:gd name="connsiteY68" fmla="*/ 2809 h 9964"/>
                <a:gd name="connsiteX69" fmla="*/ 8576 w 9888"/>
                <a:gd name="connsiteY69" fmla="*/ 2385 h 9964"/>
                <a:gd name="connsiteX70" fmla="*/ 8764 w 9888"/>
                <a:gd name="connsiteY70" fmla="*/ 1984 h 9964"/>
                <a:gd name="connsiteX71" fmla="*/ 8883 w 9888"/>
                <a:gd name="connsiteY71" fmla="*/ 2212 h 9964"/>
                <a:gd name="connsiteX72" fmla="*/ 9079 w 9888"/>
                <a:gd name="connsiteY72" fmla="*/ 2109 h 9964"/>
                <a:gd name="connsiteX73" fmla="*/ 9065 w 9888"/>
                <a:gd name="connsiteY73" fmla="*/ 1487 h 9964"/>
                <a:gd name="connsiteX74" fmla="*/ 9183 w 9888"/>
                <a:gd name="connsiteY74" fmla="*/ 1266 h 9964"/>
                <a:gd name="connsiteX75" fmla="*/ 9148 w 9888"/>
                <a:gd name="connsiteY75" fmla="*/ 965 h 9964"/>
                <a:gd name="connsiteX76" fmla="*/ 9417 w 9888"/>
                <a:gd name="connsiteY76" fmla="*/ 786 h 9964"/>
                <a:gd name="connsiteX77" fmla="*/ 9433 w 9888"/>
                <a:gd name="connsiteY77" fmla="*/ 379 h 9964"/>
                <a:gd name="connsiteX78" fmla="*/ 9636 w 9888"/>
                <a:gd name="connsiteY78" fmla="*/ 0 h 9964"/>
                <a:gd name="connsiteX0" fmla="*/ 9540 w 10000"/>
                <a:gd name="connsiteY0" fmla="*/ 0 h 9620"/>
                <a:gd name="connsiteX1" fmla="*/ 5698 w 10000"/>
                <a:gd name="connsiteY1" fmla="*/ 735 h 9620"/>
                <a:gd name="connsiteX2" fmla="*/ 2083 w 10000"/>
                <a:gd name="connsiteY2" fmla="*/ 710 h 9620"/>
                <a:gd name="connsiteX3" fmla="*/ 913 w 10000"/>
                <a:gd name="connsiteY3" fmla="*/ 2385 h 9620"/>
                <a:gd name="connsiteX4" fmla="*/ 208 w 10000"/>
                <a:gd name="connsiteY4" fmla="*/ 2776 h 9620"/>
                <a:gd name="connsiteX5" fmla="*/ 1 w 10000"/>
                <a:gd name="connsiteY5" fmla="*/ 3564 h 9620"/>
                <a:gd name="connsiteX6" fmla="*/ 140 w 10000"/>
                <a:gd name="connsiteY6" fmla="*/ 3704 h 9620"/>
                <a:gd name="connsiteX7" fmla="*/ 37 w 10000"/>
                <a:gd name="connsiteY7" fmla="*/ 3923 h 9620"/>
                <a:gd name="connsiteX8" fmla="*/ 615 w 10000"/>
                <a:gd name="connsiteY8" fmla="*/ 3987 h 9620"/>
                <a:gd name="connsiteX9" fmla="*/ 615 w 10000"/>
                <a:gd name="connsiteY9" fmla="*/ 4126 h 9620"/>
                <a:gd name="connsiteX10" fmla="*/ 595 w 10000"/>
                <a:gd name="connsiteY10" fmla="*/ 4449 h 9620"/>
                <a:gd name="connsiteX11" fmla="*/ 1206 w 10000"/>
                <a:gd name="connsiteY11" fmla="*/ 4568 h 9620"/>
                <a:gd name="connsiteX12" fmla="*/ 1206 w 10000"/>
                <a:gd name="connsiteY12" fmla="*/ 4836 h 9620"/>
                <a:gd name="connsiteX13" fmla="*/ 1530 w 10000"/>
                <a:gd name="connsiteY13" fmla="*/ 5033 h 9620"/>
                <a:gd name="connsiteX14" fmla="*/ 1428 w 10000"/>
                <a:gd name="connsiteY14" fmla="*/ 5332 h 9620"/>
                <a:gd name="connsiteX15" fmla="*/ 1882 w 10000"/>
                <a:gd name="connsiteY15" fmla="*/ 5596 h 9620"/>
                <a:gd name="connsiteX16" fmla="*/ 2158 w 10000"/>
                <a:gd name="connsiteY16" fmla="*/ 6078 h 9620"/>
                <a:gd name="connsiteX17" fmla="*/ 2411 w 10000"/>
                <a:gd name="connsiteY17" fmla="*/ 6263 h 9620"/>
                <a:gd name="connsiteX18" fmla="*/ 2310 w 10000"/>
                <a:gd name="connsiteY18" fmla="*/ 6424 h 9620"/>
                <a:gd name="connsiteX19" fmla="*/ 2446 w 10000"/>
                <a:gd name="connsiteY19" fmla="*/ 6602 h 9620"/>
                <a:gd name="connsiteX20" fmla="*/ 2426 w 10000"/>
                <a:gd name="connsiteY20" fmla="*/ 6859 h 9620"/>
                <a:gd name="connsiteX21" fmla="*/ 2688 w 10000"/>
                <a:gd name="connsiteY21" fmla="*/ 6886 h 9620"/>
                <a:gd name="connsiteX22" fmla="*/ 2972 w 10000"/>
                <a:gd name="connsiteY22" fmla="*/ 7170 h 9620"/>
                <a:gd name="connsiteX23" fmla="*/ 3042 w 10000"/>
                <a:gd name="connsiteY23" fmla="*/ 7610 h 9620"/>
                <a:gd name="connsiteX24" fmla="*/ 3106 w 10000"/>
                <a:gd name="connsiteY24" fmla="*/ 7771 h 9620"/>
                <a:gd name="connsiteX25" fmla="*/ 3464 w 10000"/>
                <a:gd name="connsiteY25" fmla="*/ 8149 h 9620"/>
                <a:gd name="connsiteX26" fmla="*/ 3464 w 10000"/>
                <a:gd name="connsiteY26" fmla="*/ 8433 h 9620"/>
                <a:gd name="connsiteX27" fmla="*/ 3990 w 10000"/>
                <a:gd name="connsiteY27" fmla="*/ 8740 h 9620"/>
                <a:gd name="connsiteX28" fmla="*/ 4279 w 10000"/>
                <a:gd name="connsiteY28" fmla="*/ 8414 h 9620"/>
                <a:gd name="connsiteX29" fmla="*/ 4637 w 10000"/>
                <a:gd name="connsiteY29" fmla="*/ 8659 h 9620"/>
                <a:gd name="connsiteX30" fmla="*/ 4922 w 10000"/>
                <a:gd name="connsiteY30" fmla="*/ 8291 h 9620"/>
                <a:gd name="connsiteX31" fmla="*/ 5246 w 10000"/>
                <a:gd name="connsiteY31" fmla="*/ 8874 h 9620"/>
                <a:gd name="connsiteX32" fmla="*/ 5704 w 10000"/>
                <a:gd name="connsiteY32" fmla="*/ 9200 h 9620"/>
                <a:gd name="connsiteX33" fmla="*/ 5754 w 10000"/>
                <a:gd name="connsiteY33" fmla="*/ 9484 h 9620"/>
                <a:gd name="connsiteX34" fmla="*/ 5942 w 10000"/>
                <a:gd name="connsiteY34" fmla="*/ 9522 h 9620"/>
                <a:gd name="connsiteX35" fmla="*/ 6212 w 10000"/>
                <a:gd name="connsiteY35" fmla="*/ 9256 h 9620"/>
                <a:gd name="connsiteX36" fmla="*/ 6554 w 10000"/>
                <a:gd name="connsiteY36" fmla="*/ 9419 h 9620"/>
                <a:gd name="connsiteX37" fmla="*/ 6671 w 10000"/>
                <a:gd name="connsiteY37" fmla="*/ 9279 h 9620"/>
                <a:gd name="connsiteX38" fmla="*/ 6793 w 10000"/>
                <a:gd name="connsiteY38" fmla="*/ 9256 h 9620"/>
                <a:gd name="connsiteX39" fmla="*/ 7026 w 10000"/>
                <a:gd name="connsiteY39" fmla="*/ 9620 h 9620"/>
                <a:gd name="connsiteX40" fmla="*/ 7248 w 10000"/>
                <a:gd name="connsiteY40" fmla="*/ 9317 h 9620"/>
                <a:gd name="connsiteX41" fmla="*/ 7518 w 10000"/>
                <a:gd name="connsiteY41" fmla="*/ 9337 h 9620"/>
                <a:gd name="connsiteX42" fmla="*/ 7724 w 10000"/>
                <a:gd name="connsiteY42" fmla="*/ 9176 h 9620"/>
                <a:gd name="connsiteX43" fmla="*/ 8013 w 10000"/>
                <a:gd name="connsiteY43" fmla="*/ 9337 h 9620"/>
                <a:gd name="connsiteX44" fmla="*/ 8387 w 10000"/>
                <a:gd name="connsiteY44" fmla="*/ 8837 h 9620"/>
                <a:gd name="connsiteX45" fmla="*/ 8519 w 10000"/>
                <a:gd name="connsiteY45" fmla="*/ 8837 h 9620"/>
                <a:gd name="connsiteX46" fmla="*/ 8759 w 10000"/>
                <a:gd name="connsiteY46" fmla="*/ 8433 h 9620"/>
                <a:gd name="connsiteX47" fmla="*/ 9775 w 10000"/>
                <a:gd name="connsiteY47" fmla="*/ 8414 h 9620"/>
                <a:gd name="connsiteX48" fmla="*/ 10000 w 10000"/>
                <a:gd name="connsiteY48" fmla="*/ 8250 h 9620"/>
                <a:gd name="connsiteX49" fmla="*/ 9983 w 10000"/>
                <a:gd name="connsiteY49" fmla="*/ 8051 h 9620"/>
                <a:gd name="connsiteX50" fmla="*/ 9915 w 10000"/>
                <a:gd name="connsiteY50" fmla="*/ 7610 h 9620"/>
                <a:gd name="connsiteX51" fmla="*/ 9490 w 10000"/>
                <a:gd name="connsiteY51" fmla="*/ 7465 h 9620"/>
                <a:gd name="connsiteX52" fmla="*/ 9287 w 10000"/>
                <a:gd name="connsiteY52" fmla="*/ 6762 h 9620"/>
                <a:gd name="connsiteX53" fmla="*/ 9168 w 10000"/>
                <a:gd name="connsiteY53" fmla="*/ 6681 h 9620"/>
                <a:gd name="connsiteX54" fmla="*/ 9137 w 10000"/>
                <a:gd name="connsiteY54" fmla="*/ 6180 h 9620"/>
                <a:gd name="connsiteX55" fmla="*/ 8984 w 10000"/>
                <a:gd name="connsiteY55" fmla="*/ 6158 h 9620"/>
                <a:gd name="connsiteX56" fmla="*/ 8927 w 10000"/>
                <a:gd name="connsiteY56" fmla="*/ 5901 h 9620"/>
                <a:gd name="connsiteX57" fmla="*/ 8673 w 10000"/>
                <a:gd name="connsiteY57" fmla="*/ 5836 h 9620"/>
                <a:gd name="connsiteX58" fmla="*/ 8588 w 10000"/>
                <a:gd name="connsiteY58" fmla="*/ 5438 h 9620"/>
                <a:gd name="connsiteX59" fmla="*/ 8166 w 10000"/>
                <a:gd name="connsiteY59" fmla="*/ 5055 h 9620"/>
                <a:gd name="connsiteX60" fmla="*/ 7705 w 10000"/>
                <a:gd name="connsiteY60" fmla="*/ 4993 h 9620"/>
                <a:gd name="connsiteX61" fmla="*/ 7827 w 10000"/>
                <a:gd name="connsiteY61" fmla="*/ 4551 h 9620"/>
                <a:gd name="connsiteX62" fmla="*/ 7794 w 10000"/>
                <a:gd name="connsiteY62" fmla="*/ 4228 h 9620"/>
                <a:gd name="connsiteX63" fmla="*/ 8183 w 10000"/>
                <a:gd name="connsiteY63" fmla="*/ 4251 h 9620"/>
                <a:gd name="connsiteX64" fmla="*/ 8267 w 10000"/>
                <a:gd name="connsiteY64" fmla="*/ 4347 h 9620"/>
                <a:gd name="connsiteX65" fmla="*/ 8504 w 10000"/>
                <a:gd name="connsiteY65" fmla="*/ 4145 h 9620"/>
                <a:gd name="connsiteX66" fmla="*/ 8573 w 10000"/>
                <a:gd name="connsiteY66" fmla="*/ 3427 h 9620"/>
                <a:gd name="connsiteX67" fmla="*/ 8472 w 10000"/>
                <a:gd name="connsiteY67" fmla="*/ 2881 h 9620"/>
                <a:gd name="connsiteX68" fmla="*/ 8759 w 10000"/>
                <a:gd name="connsiteY68" fmla="*/ 2439 h 9620"/>
                <a:gd name="connsiteX69" fmla="*/ 8673 w 10000"/>
                <a:gd name="connsiteY69" fmla="*/ 2014 h 9620"/>
                <a:gd name="connsiteX70" fmla="*/ 8863 w 10000"/>
                <a:gd name="connsiteY70" fmla="*/ 1611 h 9620"/>
                <a:gd name="connsiteX71" fmla="*/ 8984 w 10000"/>
                <a:gd name="connsiteY71" fmla="*/ 1840 h 9620"/>
                <a:gd name="connsiteX72" fmla="*/ 9182 w 10000"/>
                <a:gd name="connsiteY72" fmla="*/ 1737 h 9620"/>
                <a:gd name="connsiteX73" fmla="*/ 9168 w 10000"/>
                <a:gd name="connsiteY73" fmla="*/ 1112 h 9620"/>
                <a:gd name="connsiteX74" fmla="*/ 9287 w 10000"/>
                <a:gd name="connsiteY74" fmla="*/ 891 h 9620"/>
                <a:gd name="connsiteX75" fmla="*/ 9252 w 10000"/>
                <a:gd name="connsiteY75" fmla="*/ 588 h 9620"/>
                <a:gd name="connsiteX76" fmla="*/ 9524 w 10000"/>
                <a:gd name="connsiteY76" fmla="*/ 409 h 9620"/>
                <a:gd name="connsiteX77" fmla="*/ 9540 w 10000"/>
                <a:gd name="connsiteY77" fmla="*/ 0 h 9620"/>
                <a:gd name="connsiteX0" fmla="*/ 9540 w 10000"/>
                <a:gd name="connsiteY0" fmla="*/ 0 h 10000"/>
                <a:gd name="connsiteX1" fmla="*/ 5698 w 10000"/>
                <a:gd name="connsiteY1" fmla="*/ 764 h 10000"/>
                <a:gd name="connsiteX2" fmla="*/ 2083 w 10000"/>
                <a:gd name="connsiteY2" fmla="*/ 738 h 10000"/>
                <a:gd name="connsiteX3" fmla="*/ 913 w 10000"/>
                <a:gd name="connsiteY3" fmla="*/ 2479 h 10000"/>
                <a:gd name="connsiteX4" fmla="*/ 208 w 10000"/>
                <a:gd name="connsiteY4" fmla="*/ 2886 h 10000"/>
                <a:gd name="connsiteX5" fmla="*/ 1 w 10000"/>
                <a:gd name="connsiteY5" fmla="*/ 3705 h 10000"/>
                <a:gd name="connsiteX6" fmla="*/ 140 w 10000"/>
                <a:gd name="connsiteY6" fmla="*/ 3850 h 10000"/>
                <a:gd name="connsiteX7" fmla="*/ 37 w 10000"/>
                <a:gd name="connsiteY7" fmla="*/ 4078 h 10000"/>
                <a:gd name="connsiteX8" fmla="*/ 615 w 10000"/>
                <a:gd name="connsiteY8" fmla="*/ 4144 h 10000"/>
                <a:gd name="connsiteX9" fmla="*/ 615 w 10000"/>
                <a:gd name="connsiteY9" fmla="*/ 4289 h 10000"/>
                <a:gd name="connsiteX10" fmla="*/ 595 w 10000"/>
                <a:gd name="connsiteY10" fmla="*/ 4625 h 10000"/>
                <a:gd name="connsiteX11" fmla="*/ 1206 w 10000"/>
                <a:gd name="connsiteY11" fmla="*/ 4748 h 10000"/>
                <a:gd name="connsiteX12" fmla="*/ 1206 w 10000"/>
                <a:gd name="connsiteY12" fmla="*/ 5027 h 10000"/>
                <a:gd name="connsiteX13" fmla="*/ 1530 w 10000"/>
                <a:gd name="connsiteY13" fmla="*/ 5232 h 10000"/>
                <a:gd name="connsiteX14" fmla="*/ 1428 w 10000"/>
                <a:gd name="connsiteY14" fmla="*/ 5543 h 10000"/>
                <a:gd name="connsiteX15" fmla="*/ 1882 w 10000"/>
                <a:gd name="connsiteY15" fmla="*/ 5817 h 10000"/>
                <a:gd name="connsiteX16" fmla="*/ 2158 w 10000"/>
                <a:gd name="connsiteY16" fmla="*/ 6318 h 10000"/>
                <a:gd name="connsiteX17" fmla="*/ 2411 w 10000"/>
                <a:gd name="connsiteY17" fmla="*/ 6510 h 10000"/>
                <a:gd name="connsiteX18" fmla="*/ 2310 w 10000"/>
                <a:gd name="connsiteY18" fmla="*/ 6678 h 10000"/>
                <a:gd name="connsiteX19" fmla="*/ 2446 w 10000"/>
                <a:gd name="connsiteY19" fmla="*/ 6863 h 10000"/>
                <a:gd name="connsiteX20" fmla="*/ 2426 w 10000"/>
                <a:gd name="connsiteY20" fmla="*/ 7130 h 10000"/>
                <a:gd name="connsiteX21" fmla="*/ 2688 w 10000"/>
                <a:gd name="connsiteY21" fmla="*/ 7158 h 10000"/>
                <a:gd name="connsiteX22" fmla="*/ 2972 w 10000"/>
                <a:gd name="connsiteY22" fmla="*/ 7453 h 10000"/>
                <a:gd name="connsiteX23" fmla="*/ 3042 w 10000"/>
                <a:gd name="connsiteY23" fmla="*/ 7911 h 10000"/>
                <a:gd name="connsiteX24" fmla="*/ 3106 w 10000"/>
                <a:gd name="connsiteY24" fmla="*/ 8078 h 10000"/>
                <a:gd name="connsiteX25" fmla="*/ 3464 w 10000"/>
                <a:gd name="connsiteY25" fmla="*/ 8471 h 10000"/>
                <a:gd name="connsiteX26" fmla="*/ 3464 w 10000"/>
                <a:gd name="connsiteY26" fmla="*/ 8766 h 10000"/>
                <a:gd name="connsiteX27" fmla="*/ 3990 w 10000"/>
                <a:gd name="connsiteY27" fmla="*/ 9085 h 10000"/>
                <a:gd name="connsiteX28" fmla="*/ 4279 w 10000"/>
                <a:gd name="connsiteY28" fmla="*/ 8746 h 10000"/>
                <a:gd name="connsiteX29" fmla="*/ 4637 w 10000"/>
                <a:gd name="connsiteY29" fmla="*/ 9001 h 10000"/>
                <a:gd name="connsiteX30" fmla="*/ 4922 w 10000"/>
                <a:gd name="connsiteY30" fmla="*/ 8619 h 10000"/>
                <a:gd name="connsiteX31" fmla="*/ 5246 w 10000"/>
                <a:gd name="connsiteY31" fmla="*/ 9225 h 10000"/>
                <a:gd name="connsiteX32" fmla="*/ 5704 w 10000"/>
                <a:gd name="connsiteY32" fmla="*/ 9563 h 10000"/>
                <a:gd name="connsiteX33" fmla="*/ 5754 w 10000"/>
                <a:gd name="connsiteY33" fmla="*/ 9859 h 10000"/>
                <a:gd name="connsiteX34" fmla="*/ 5942 w 10000"/>
                <a:gd name="connsiteY34" fmla="*/ 9898 h 10000"/>
                <a:gd name="connsiteX35" fmla="*/ 6212 w 10000"/>
                <a:gd name="connsiteY35" fmla="*/ 9622 h 10000"/>
                <a:gd name="connsiteX36" fmla="*/ 6554 w 10000"/>
                <a:gd name="connsiteY36" fmla="*/ 9791 h 10000"/>
                <a:gd name="connsiteX37" fmla="*/ 6671 w 10000"/>
                <a:gd name="connsiteY37" fmla="*/ 9646 h 10000"/>
                <a:gd name="connsiteX38" fmla="*/ 6793 w 10000"/>
                <a:gd name="connsiteY38" fmla="*/ 9622 h 10000"/>
                <a:gd name="connsiteX39" fmla="*/ 7026 w 10000"/>
                <a:gd name="connsiteY39" fmla="*/ 10000 h 10000"/>
                <a:gd name="connsiteX40" fmla="*/ 7248 w 10000"/>
                <a:gd name="connsiteY40" fmla="*/ 9685 h 10000"/>
                <a:gd name="connsiteX41" fmla="*/ 7518 w 10000"/>
                <a:gd name="connsiteY41" fmla="*/ 9706 h 10000"/>
                <a:gd name="connsiteX42" fmla="*/ 7724 w 10000"/>
                <a:gd name="connsiteY42" fmla="*/ 9538 h 10000"/>
                <a:gd name="connsiteX43" fmla="*/ 8013 w 10000"/>
                <a:gd name="connsiteY43" fmla="*/ 9706 h 10000"/>
                <a:gd name="connsiteX44" fmla="*/ 8387 w 10000"/>
                <a:gd name="connsiteY44" fmla="*/ 9186 h 10000"/>
                <a:gd name="connsiteX45" fmla="*/ 8519 w 10000"/>
                <a:gd name="connsiteY45" fmla="*/ 9186 h 10000"/>
                <a:gd name="connsiteX46" fmla="*/ 8759 w 10000"/>
                <a:gd name="connsiteY46" fmla="*/ 8766 h 10000"/>
                <a:gd name="connsiteX47" fmla="*/ 9775 w 10000"/>
                <a:gd name="connsiteY47" fmla="*/ 8746 h 10000"/>
                <a:gd name="connsiteX48" fmla="*/ 10000 w 10000"/>
                <a:gd name="connsiteY48" fmla="*/ 8576 h 10000"/>
                <a:gd name="connsiteX49" fmla="*/ 9983 w 10000"/>
                <a:gd name="connsiteY49" fmla="*/ 8369 h 10000"/>
                <a:gd name="connsiteX50" fmla="*/ 9915 w 10000"/>
                <a:gd name="connsiteY50" fmla="*/ 7911 h 10000"/>
                <a:gd name="connsiteX51" fmla="*/ 9490 w 10000"/>
                <a:gd name="connsiteY51" fmla="*/ 7760 h 10000"/>
                <a:gd name="connsiteX52" fmla="*/ 9287 w 10000"/>
                <a:gd name="connsiteY52" fmla="*/ 7029 h 10000"/>
                <a:gd name="connsiteX53" fmla="*/ 9168 w 10000"/>
                <a:gd name="connsiteY53" fmla="*/ 6945 h 10000"/>
                <a:gd name="connsiteX54" fmla="*/ 9137 w 10000"/>
                <a:gd name="connsiteY54" fmla="*/ 6424 h 10000"/>
                <a:gd name="connsiteX55" fmla="*/ 8984 w 10000"/>
                <a:gd name="connsiteY55" fmla="*/ 6401 h 10000"/>
                <a:gd name="connsiteX56" fmla="*/ 8927 w 10000"/>
                <a:gd name="connsiteY56" fmla="*/ 6134 h 10000"/>
                <a:gd name="connsiteX57" fmla="*/ 8673 w 10000"/>
                <a:gd name="connsiteY57" fmla="*/ 6067 h 10000"/>
                <a:gd name="connsiteX58" fmla="*/ 8588 w 10000"/>
                <a:gd name="connsiteY58" fmla="*/ 5653 h 10000"/>
                <a:gd name="connsiteX59" fmla="*/ 8166 w 10000"/>
                <a:gd name="connsiteY59" fmla="*/ 5255 h 10000"/>
                <a:gd name="connsiteX60" fmla="*/ 7705 w 10000"/>
                <a:gd name="connsiteY60" fmla="*/ 5190 h 10000"/>
                <a:gd name="connsiteX61" fmla="*/ 7827 w 10000"/>
                <a:gd name="connsiteY61" fmla="*/ 4731 h 10000"/>
                <a:gd name="connsiteX62" fmla="*/ 7794 w 10000"/>
                <a:gd name="connsiteY62" fmla="*/ 4395 h 10000"/>
                <a:gd name="connsiteX63" fmla="*/ 8183 w 10000"/>
                <a:gd name="connsiteY63" fmla="*/ 4419 h 10000"/>
                <a:gd name="connsiteX64" fmla="*/ 8267 w 10000"/>
                <a:gd name="connsiteY64" fmla="*/ 4519 h 10000"/>
                <a:gd name="connsiteX65" fmla="*/ 8504 w 10000"/>
                <a:gd name="connsiteY65" fmla="*/ 4309 h 10000"/>
                <a:gd name="connsiteX66" fmla="*/ 8573 w 10000"/>
                <a:gd name="connsiteY66" fmla="*/ 3562 h 10000"/>
                <a:gd name="connsiteX67" fmla="*/ 8472 w 10000"/>
                <a:gd name="connsiteY67" fmla="*/ 2995 h 10000"/>
                <a:gd name="connsiteX68" fmla="*/ 8759 w 10000"/>
                <a:gd name="connsiteY68" fmla="*/ 2535 h 10000"/>
                <a:gd name="connsiteX69" fmla="*/ 8673 w 10000"/>
                <a:gd name="connsiteY69" fmla="*/ 2094 h 10000"/>
                <a:gd name="connsiteX70" fmla="*/ 8863 w 10000"/>
                <a:gd name="connsiteY70" fmla="*/ 1675 h 10000"/>
                <a:gd name="connsiteX71" fmla="*/ 8984 w 10000"/>
                <a:gd name="connsiteY71" fmla="*/ 1913 h 10000"/>
                <a:gd name="connsiteX72" fmla="*/ 9182 w 10000"/>
                <a:gd name="connsiteY72" fmla="*/ 1806 h 10000"/>
                <a:gd name="connsiteX73" fmla="*/ 9168 w 10000"/>
                <a:gd name="connsiteY73" fmla="*/ 1156 h 10000"/>
                <a:gd name="connsiteX74" fmla="*/ 9287 w 10000"/>
                <a:gd name="connsiteY74" fmla="*/ 926 h 10000"/>
                <a:gd name="connsiteX75" fmla="*/ 9252 w 10000"/>
                <a:gd name="connsiteY75" fmla="*/ 611 h 10000"/>
                <a:gd name="connsiteX76" fmla="*/ 9540 w 10000"/>
                <a:gd name="connsiteY76" fmla="*/ 0 h 10000"/>
                <a:gd name="connsiteX0" fmla="*/ 9252 w 10000"/>
                <a:gd name="connsiteY0" fmla="*/ 4 h 9393"/>
                <a:gd name="connsiteX1" fmla="*/ 5698 w 10000"/>
                <a:gd name="connsiteY1" fmla="*/ 157 h 9393"/>
                <a:gd name="connsiteX2" fmla="*/ 2083 w 10000"/>
                <a:gd name="connsiteY2" fmla="*/ 131 h 9393"/>
                <a:gd name="connsiteX3" fmla="*/ 913 w 10000"/>
                <a:gd name="connsiteY3" fmla="*/ 1872 h 9393"/>
                <a:gd name="connsiteX4" fmla="*/ 208 w 10000"/>
                <a:gd name="connsiteY4" fmla="*/ 2279 h 9393"/>
                <a:gd name="connsiteX5" fmla="*/ 1 w 10000"/>
                <a:gd name="connsiteY5" fmla="*/ 3098 h 9393"/>
                <a:gd name="connsiteX6" fmla="*/ 140 w 10000"/>
                <a:gd name="connsiteY6" fmla="*/ 3243 h 9393"/>
                <a:gd name="connsiteX7" fmla="*/ 37 w 10000"/>
                <a:gd name="connsiteY7" fmla="*/ 3471 h 9393"/>
                <a:gd name="connsiteX8" fmla="*/ 615 w 10000"/>
                <a:gd name="connsiteY8" fmla="*/ 3537 h 9393"/>
                <a:gd name="connsiteX9" fmla="*/ 615 w 10000"/>
                <a:gd name="connsiteY9" fmla="*/ 3682 h 9393"/>
                <a:gd name="connsiteX10" fmla="*/ 595 w 10000"/>
                <a:gd name="connsiteY10" fmla="*/ 4018 h 9393"/>
                <a:gd name="connsiteX11" fmla="*/ 1206 w 10000"/>
                <a:gd name="connsiteY11" fmla="*/ 4141 h 9393"/>
                <a:gd name="connsiteX12" fmla="*/ 1206 w 10000"/>
                <a:gd name="connsiteY12" fmla="*/ 4420 h 9393"/>
                <a:gd name="connsiteX13" fmla="*/ 1530 w 10000"/>
                <a:gd name="connsiteY13" fmla="*/ 4625 h 9393"/>
                <a:gd name="connsiteX14" fmla="*/ 1428 w 10000"/>
                <a:gd name="connsiteY14" fmla="*/ 4936 h 9393"/>
                <a:gd name="connsiteX15" fmla="*/ 1882 w 10000"/>
                <a:gd name="connsiteY15" fmla="*/ 5210 h 9393"/>
                <a:gd name="connsiteX16" fmla="*/ 2158 w 10000"/>
                <a:gd name="connsiteY16" fmla="*/ 5711 h 9393"/>
                <a:gd name="connsiteX17" fmla="*/ 2411 w 10000"/>
                <a:gd name="connsiteY17" fmla="*/ 5903 h 9393"/>
                <a:gd name="connsiteX18" fmla="*/ 2310 w 10000"/>
                <a:gd name="connsiteY18" fmla="*/ 6071 h 9393"/>
                <a:gd name="connsiteX19" fmla="*/ 2446 w 10000"/>
                <a:gd name="connsiteY19" fmla="*/ 6256 h 9393"/>
                <a:gd name="connsiteX20" fmla="*/ 2426 w 10000"/>
                <a:gd name="connsiteY20" fmla="*/ 6523 h 9393"/>
                <a:gd name="connsiteX21" fmla="*/ 2688 w 10000"/>
                <a:gd name="connsiteY21" fmla="*/ 6551 h 9393"/>
                <a:gd name="connsiteX22" fmla="*/ 2972 w 10000"/>
                <a:gd name="connsiteY22" fmla="*/ 6846 h 9393"/>
                <a:gd name="connsiteX23" fmla="*/ 3042 w 10000"/>
                <a:gd name="connsiteY23" fmla="*/ 7304 h 9393"/>
                <a:gd name="connsiteX24" fmla="*/ 3106 w 10000"/>
                <a:gd name="connsiteY24" fmla="*/ 7471 h 9393"/>
                <a:gd name="connsiteX25" fmla="*/ 3464 w 10000"/>
                <a:gd name="connsiteY25" fmla="*/ 7864 h 9393"/>
                <a:gd name="connsiteX26" fmla="*/ 3464 w 10000"/>
                <a:gd name="connsiteY26" fmla="*/ 8159 h 9393"/>
                <a:gd name="connsiteX27" fmla="*/ 3990 w 10000"/>
                <a:gd name="connsiteY27" fmla="*/ 8478 h 9393"/>
                <a:gd name="connsiteX28" fmla="*/ 4279 w 10000"/>
                <a:gd name="connsiteY28" fmla="*/ 8139 h 9393"/>
                <a:gd name="connsiteX29" fmla="*/ 4637 w 10000"/>
                <a:gd name="connsiteY29" fmla="*/ 8394 h 9393"/>
                <a:gd name="connsiteX30" fmla="*/ 4922 w 10000"/>
                <a:gd name="connsiteY30" fmla="*/ 8012 h 9393"/>
                <a:gd name="connsiteX31" fmla="*/ 5246 w 10000"/>
                <a:gd name="connsiteY31" fmla="*/ 8618 h 9393"/>
                <a:gd name="connsiteX32" fmla="*/ 5704 w 10000"/>
                <a:gd name="connsiteY32" fmla="*/ 8956 h 9393"/>
                <a:gd name="connsiteX33" fmla="*/ 5754 w 10000"/>
                <a:gd name="connsiteY33" fmla="*/ 9252 h 9393"/>
                <a:gd name="connsiteX34" fmla="*/ 5942 w 10000"/>
                <a:gd name="connsiteY34" fmla="*/ 9291 h 9393"/>
                <a:gd name="connsiteX35" fmla="*/ 6212 w 10000"/>
                <a:gd name="connsiteY35" fmla="*/ 9015 h 9393"/>
                <a:gd name="connsiteX36" fmla="*/ 6554 w 10000"/>
                <a:gd name="connsiteY36" fmla="*/ 9184 h 9393"/>
                <a:gd name="connsiteX37" fmla="*/ 6671 w 10000"/>
                <a:gd name="connsiteY37" fmla="*/ 9039 h 9393"/>
                <a:gd name="connsiteX38" fmla="*/ 6793 w 10000"/>
                <a:gd name="connsiteY38" fmla="*/ 9015 h 9393"/>
                <a:gd name="connsiteX39" fmla="*/ 7026 w 10000"/>
                <a:gd name="connsiteY39" fmla="*/ 9393 h 9393"/>
                <a:gd name="connsiteX40" fmla="*/ 7248 w 10000"/>
                <a:gd name="connsiteY40" fmla="*/ 9078 h 9393"/>
                <a:gd name="connsiteX41" fmla="*/ 7518 w 10000"/>
                <a:gd name="connsiteY41" fmla="*/ 9099 h 9393"/>
                <a:gd name="connsiteX42" fmla="*/ 7724 w 10000"/>
                <a:gd name="connsiteY42" fmla="*/ 8931 h 9393"/>
                <a:gd name="connsiteX43" fmla="*/ 8013 w 10000"/>
                <a:gd name="connsiteY43" fmla="*/ 9099 h 9393"/>
                <a:gd name="connsiteX44" fmla="*/ 8387 w 10000"/>
                <a:gd name="connsiteY44" fmla="*/ 8579 h 9393"/>
                <a:gd name="connsiteX45" fmla="*/ 8519 w 10000"/>
                <a:gd name="connsiteY45" fmla="*/ 8579 h 9393"/>
                <a:gd name="connsiteX46" fmla="*/ 8759 w 10000"/>
                <a:gd name="connsiteY46" fmla="*/ 8159 h 9393"/>
                <a:gd name="connsiteX47" fmla="*/ 9775 w 10000"/>
                <a:gd name="connsiteY47" fmla="*/ 8139 h 9393"/>
                <a:gd name="connsiteX48" fmla="*/ 10000 w 10000"/>
                <a:gd name="connsiteY48" fmla="*/ 7969 h 9393"/>
                <a:gd name="connsiteX49" fmla="*/ 9983 w 10000"/>
                <a:gd name="connsiteY49" fmla="*/ 7762 h 9393"/>
                <a:gd name="connsiteX50" fmla="*/ 9915 w 10000"/>
                <a:gd name="connsiteY50" fmla="*/ 7304 h 9393"/>
                <a:gd name="connsiteX51" fmla="*/ 9490 w 10000"/>
                <a:gd name="connsiteY51" fmla="*/ 7153 h 9393"/>
                <a:gd name="connsiteX52" fmla="*/ 9287 w 10000"/>
                <a:gd name="connsiteY52" fmla="*/ 6422 h 9393"/>
                <a:gd name="connsiteX53" fmla="*/ 9168 w 10000"/>
                <a:gd name="connsiteY53" fmla="*/ 6338 h 9393"/>
                <a:gd name="connsiteX54" fmla="*/ 9137 w 10000"/>
                <a:gd name="connsiteY54" fmla="*/ 5817 h 9393"/>
                <a:gd name="connsiteX55" fmla="*/ 8984 w 10000"/>
                <a:gd name="connsiteY55" fmla="*/ 5794 h 9393"/>
                <a:gd name="connsiteX56" fmla="*/ 8927 w 10000"/>
                <a:gd name="connsiteY56" fmla="*/ 5527 h 9393"/>
                <a:gd name="connsiteX57" fmla="*/ 8673 w 10000"/>
                <a:gd name="connsiteY57" fmla="*/ 5460 h 9393"/>
                <a:gd name="connsiteX58" fmla="*/ 8588 w 10000"/>
                <a:gd name="connsiteY58" fmla="*/ 5046 h 9393"/>
                <a:gd name="connsiteX59" fmla="*/ 8166 w 10000"/>
                <a:gd name="connsiteY59" fmla="*/ 4648 h 9393"/>
                <a:gd name="connsiteX60" fmla="*/ 7705 w 10000"/>
                <a:gd name="connsiteY60" fmla="*/ 4583 h 9393"/>
                <a:gd name="connsiteX61" fmla="*/ 7827 w 10000"/>
                <a:gd name="connsiteY61" fmla="*/ 4124 h 9393"/>
                <a:gd name="connsiteX62" fmla="*/ 7794 w 10000"/>
                <a:gd name="connsiteY62" fmla="*/ 3788 h 9393"/>
                <a:gd name="connsiteX63" fmla="*/ 8183 w 10000"/>
                <a:gd name="connsiteY63" fmla="*/ 3812 h 9393"/>
                <a:gd name="connsiteX64" fmla="*/ 8267 w 10000"/>
                <a:gd name="connsiteY64" fmla="*/ 3912 h 9393"/>
                <a:gd name="connsiteX65" fmla="*/ 8504 w 10000"/>
                <a:gd name="connsiteY65" fmla="*/ 3702 h 9393"/>
                <a:gd name="connsiteX66" fmla="*/ 8573 w 10000"/>
                <a:gd name="connsiteY66" fmla="*/ 2955 h 9393"/>
                <a:gd name="connsiteX67" fmla="*/ 8472 w 10000"/>
                <a:gd name="connsiteY67" fmla="*/ 2388 h 9393"/>
                <a:gd name="connsiteX68" fmla="*/ 8759 w 10000"/>
                <a:gd name="connsiteY68" fmla="*/ 1928 h 9393"/>
                <a:gd name="connsiteX69" fmla="*/ 8673 w 10000"/>
                <a:gd name="connsiteY69" fmla="*/ 1487 h 9393"/>
                <a:gd name="connsiteX70" fmla="*/ 8863 w 10000"/>
                <a:gd name="connsiteY70" fmla="*/ 1068 h 9393"/>
                <a:gd name="connsiteX71" fmla="*/ 8984 w 10000"/>
                <a:gd name="connsiteY71" fmla="*/ 1306 h 9393"/>
                <a:gd name="connsiteX72" fmla="*/ 9182 w 10000"/>
                <a:gd name="connsiteY72" fmla="*/ 1199 h 9393"/>
                <a:gd name="connsiteX73" fmla="*/ 9168 w 10000"/>
                <a:gd name="connsiteY73" fmla="*/ 549 h 9393"/>
                <a:gd name="connsiteX74" fmla="*/ 9287 w 10000"/>
                <a:gd name="connsiteY74" fmla="*/ 319 h 9393"/>
                <a:gd name="connsiteX75" fmla="*/ 9252 w 10000"/>
                <a:gd name="connsiteY75" fmla="*/ 4 h 9393"/>
                <a:gd name="connsiteX0" fmla="*/ 9287 w 10000"/>
                <a:gd name="connsiteY0" fmla="*/ 323 h 9983"/>
                <a:gd name="connsiteX1" fmla="*/ 5698 w 10000"/>
                <a:gd name="connsiteY1" fmla="*/ 150 h 9983"/>
                <a:gd name="connsiteX2" fmla="*/ 2083 w 10000"/>
                <a:gd name="connsiteY2" fmla="*/ 122 h 9983"/>
                <a:gd name="connsiteX3" fmla="*/ 913 w 10000"/>
                <a:gd name="connsiteY3" fmla="*/ 1976 h 9983"/>
                <a:gd name="connsiteX4" fmla="*/ 208 w 10000"/>
                <a:gd name="connsiteY4" fmla="*/ 2409 h 9983"/>
                <a:gd name="connsiteX5" fmla="*/ 1 w 10000"/>
                <a:gd name="connsiteY5" fmla="*/ 3281 h 9983"/>
                <a:gd name="connsiteX6" fmla="*/ 140 w 10000"/>
                <a:gd name="connsiteY6" fmla="*/ 3436 h 9983"/>
                <a:gd name="connsiteX7" fmla="*/ 37 w 10000"/>
                <a:gd name="connsiteY7" fmla="*/ 3678 h 9983"/>
                <a:gd name="connsiteX8" fmla="*/ 615 w 10000"/>
                <a:gd name="connsiteY8" fmla="*/ 3749 h 9983"/>
                <a:gd name="connsiteX9" fmla="*/ 615 w 10000"/>
                <a:gd name="connsiteY9" fmla="*/ 3903 h 9983"/>
                <a:gd name="connsiteX10" fmla="*/ 595 w 10000"/>
                <a:gd name="connsiteY10" fmla="*/ 4261 h 9983"/>
                <a:gd name="connsiteX11" fmla="*/ 1206 w 10000"/>
                <a:gd name="connsiteY11" fmla="*/ 4392 h 9983"/>
                <a:gd name="connsiteX12" fmla="*/ 1206 w 10000"/>
                <a:gd name="connsiteY12" fmla="*/ 4689 h 9983"/>
                <a:gd name="connsiteX13" fmla="*/ 1530 w 10000"/>
                <a:gd name="connsiteY13" fmla="*/ 4907 h 9983"/>
                <a:gd name="connsiteX14" fmla="*/ 1428 w 10000"/>
                <a:gd name="connsiteY14" fmla="*/ 5238 h 9983"/>
                <a:gd name="connsiteX15" fmla="*/ 1882 w 10000"/>
                <a:gd name="connsiteY15" fmla="*/ 5530 h 9983"/>
                <a:gd name="connsiteX16" fmla="*/ 2158 w 10000"/>
                <a:gd name="connsiteY16" fmla="*/ 6063 h 9983"/>
                <a:gd name="connsiteX17" fmla="*/ 2411 w 10000"/>
                <a:gd name="connsiteY17" fmla="*/ 6267 h 9983"/>
                <a:gd name="connsiteX18" fmla="*/ 2310 w 10000"/>
                <a:gd name="connsiteY18" fmla="*/ 6446 h 9983"/>
                <a:gd name="connsiteX19" fmla="*/ 2446 w 10000"/>
                <a:gd name="connsiteY19" fmla="*/ 6643 h 9983"/>
                <a:gd name="connsiteX20" fmla="*/ 2426 w 10000"/>
                <a:gd name="connsiteY20" fmla="*/ 6928 h 9983"/>
                <a:gd name="connsiteX21" fmla="*/ 2688 w 10000"/>
                <a:gd name="connsiteY21" fmla="*/ 6957 h 9983"/>
                <a:gd name="connsiteX22" fmla="*/ 2972 w 10000"/>
                <a:gd name="connsiteY22" fmla="*/ 7271 h 9983"/>
                <a:gd name="connsiteX23" fmla="*/ 3042 w 10000"/>
                <a:gd name="connsiteY23" fmla="*/ 7759 h 9983"/>
                <a:gd name="connsiteX24" fmla="*/ 3106 w 10000"/>
                <a:gd name="connsiteY24" fmla="*/ 7937 h 9983"/>
                <a:gd name="connsiteX25" fmla="*/ 3464 w 10000"/>
                <a:gd name="connsiteY25" fmla="*/ 8355 h 9983"/>
                <a:gd name="connsiteX26" fmla="*/ 3464 w 10000"/>
                <a:gd name="connsiteY26" fmla="*/ 8669 h 9983"/>
                <a:gd name="connsiteX27" fmla="*/ 3990 w 10000"/>
                <a:gd name="connsiteY27" fmla="*/ 9009 h 9983"/>
                <a:gd name="connsiteX28" fmla="*/ 4279 w 10000"/>
                <a:gd name="connsiteY28" fmla="*/ 8648 h 9983"/>
                <a:gd name="connsiteX29" fmla="*/ 4637 w 10000"/>
                <a:gd name="connsiteY29" fmla="*/ 8919 h 9983"/>
                <a:gd name="connsiteX30" fmla="*/ 4922 w 10000"/>
                <a:gd name="connsiteY30" fmla="*/ 8513 h 9983"/>
                <a:gd name="connsiteX31" fmla="*/ 5246 w 10000"/>
                <a:gd name="connsiteY31" fmla="*/ 9158 h 9983"/>
                <a:gd name="connsiteX32" fmla="*/ 5704 w 10000"/>
                <a:gd name="connsiteY32" fmla="*/ 9518 h 9983"/>
                <a:gd name="connsiteX33" fmla="*/ 5754 w 10000"/>
                <a:gd name="connsiteY33" fmla="*/ 9833 h 9983"/>
                <a:gd name="connsiteX34" fmla="*/ 5942 w 10000"/>
                <a:gd name="connsiteY34" fmla="*/ 9874 h 9983"/>
                <a:gd name="connsiteX35" fmla="*/ 6212 w 10000"/>
                <a:gd name="connsiteY35" fmla="*/ 9581 h 9983"/>
                <a:gd name="connsiteX36" fmla="*/ 6554 w 10000"/>
                <a:gd name="connsiteY36" fmla="*/ 9760 h 9983"/>
                <a:gd name="connsiteX37" fmla="*/ 6671 w 10000"/>
                <a:gd name="connsiteY37" fmla="*/ 9606 h 9983"/>
                <a:gd name="connsiteX38" fmla="*/ 6793 w 10000"/>
                <a:gd name="connsiteY38" fmla="*/ 9581 h 9983"/>
                <a:gd name="connsiteX39" fmla="*/ 7026 w 10000"/>
                <a:gd name="connsiteY39" fmla="*/ 9983 h 9983"/>
                <a:gd name="connsiteX40" fmla="*/ 7248 w 10000"/>
                <a:gd name="connsiteY40" fmla="*/ 9648 h 9983"/>
                <a:gd name="connsiteX41" fmla="*/ 7518 w 10000"/>
                <a:gd name="connsiteY41" fmla="*/ 9670 h 9983"/>
                <a:gd name="connsiteX42" fmla="*/ 7724 w 10000"/>
                <a:gd name="connsiteY42" fmla="*/ 9491 h 9983"/>
                <a:gd name="connsiteX43" fmla="*/ 8013 w 10000"/>
                <a:gd name="connsiteY43" fmla="*/ 9670 h 9983"/>
                <a:gd name="connsiteX44" fmla="*/ 8387 w 10000"/>
                <a:gd name="connsiteY44" fmla="*/ 9116 h 9983"/>
                <a:gd name="connsiteX45" fmla="*/ 8519 w 10000"/>
                <a:gd name="connsiteY45" fmla="*/ 9116 h 9983"/>
                <a:gd name="connsiteX46" fmla="*/ 8759 w 10000"/>
                <a:gd name="connsiteY46" fmla="*/ 8669 h 9983"/>
                <a:gd name="connsiteX47" fmla="*/ 9775 w 10000"/>
                <a:gd name="connsiteY47" fmla="*/ 8648 h 9983"/>
                <a:gd name="connsiteX48" fmla="*/ 10000 w 10000"/>
                <a:gd name="connsiteY48" fmla="*/ 8467 h 9983"/>
                <a:gd name="connsiteX49" fmla="*/ 9983 w 10000"/>
                <a:gd name="connsiteY49" fmla="*/ 8247 h 9983"/>
                <a:gd name="connsiteX50" fmla="*/ 9915 w 10000"/>
                <a:gd name="connsiteY50" fmla="*/ 7759 h 9983"/>
                <a:gd name="connsiteX51" fmla="*/ 9490 w 10000"/>
                <a:gd name="connsiteY51" fmla="*/ 7598 h 9983"/>
                <a:gd name="connsiteX52" fmla="*/ 9287 w 10000"/>
                <a:gd name="connsiteY52" fmla="*/ 6820 h 9983"/>
                <a:gd name="connsiteX53" fmla="*/ 9168 w 10000"/>
                <a:gd name="connsiteY53" fmla="*/ 6731 h 9983"/>
                <a:gd name="connsiteX54" fmla="*/ 9137 w 10000"/>
                <a:gd name="connsiteY54" fmla="*/ 6176 h 9983"/>
                <a:gd name="connsiteX55" fmla="*/ 8984 w 10000"/>
                <a:gd name="connsiteY55" fmla="*/ 6151 h 9983"/>
                <a:gd name="connsiteX56" fmla="*/ 8927 w 10000"/>
                <a:gd name="connsiteY56" fmla="*/ 5867 h 9983"/>
                <a:gd name="connsiteX57" fmla="*/ 8673 w 10000"/>
                <a:gd name="connsiteY57" fmla="*/ 5796 h 9983"/>
                <a:gd name="connsiteX58" fmla="*/ 8588 w 10000"/>
                <a:gd name="connsiteY58" fmla="*/ 5355 h 9983"/>
                <a:gd name="connsiteX59" fmla="*/ 8166 w 10000"/>
                <a:gd name="connsiteY59" fmla="*/ 4931 h 9983"/>
                <a:gd name="connsiteX60" fmla="*/ 7705 w 10000"/>
                <a:gd name="connsiteY60" fmla="*/ 4862 h 9983"/>
                <a:gd name="connsiteX61" fmla="*/ 7827 w 10000"/>
                <a:gd name="connsiteY61" fmla="*/ 4374 h 9983"/>
                <a:gd name="connsiteX62" fmla="*/ 7794 w 10000"/>
                <a:gd name="connsiteY62" fmla="*/ 4016 h 9983"/>
                <a:gd name="connsiteX63" fmla="*/ 8183 w 10000"/>
                <a:gd name="connsiteY63" fmla="*/ 4041 h 9983"/>
                <a:gd name="connsiteX64" fmla="*/ 8267 w 10000"/>
                <a:gd name="connsiteY64" fmla="*/ 4148 h 9983"/>
                <a:gd name="connsiteX65" fmla="*/ 8504 w 10000"/>
                <a:gd name="connsiteY65" fmla="*/ 3924 h 9983"/>
                <a:gd name="connsiteX66" fmla="*/ 8573 w 10000"/>
                <a:gd name="connsiteY66" fmla="*/ 3129 h 9983"/>
                <a:gd name="connsiteX67" fmla="*/ 8472 w 10000"/>
                <a:gd name="connsiteY67" fmla="*/ 2525 h 9983"/>
                <a:gd name="connsiteX68" fmla="*/ 8759 w 10000"/>
                <a:gd name="connsiteY68" fmla="*/ 2036 h 9983"/>
                <a:gd name="connsiteX69" fmla="*/ 8673 w 10000"/>
                <a:gd name="connsiteY69" fmla="*/ 1566 h 9983"/>
                <a:gd name="connsiteX70" fmla="*/ 8863 w 10000"/>
                <a:gd name="connsiteY70" fmla="*/ 1120 h 9983"/>
                <a:gd name="connsiteX71" fmla="*/ 8984 w 10000"/>
                <a:gd name="connsiteY71" fmla="*/ 1373 h 9983"/>
                <a:gd name="connsiteX72" fmla="*/ 9182 w 10000"/>
                <a:gd name="connsiteY72" fmla="*/ 1259 h 9983"/>
                <a:gd name="connsiteX73" fmla="*/ 9168 w 10000"/>
                <a:gd name="connsiteY73" fmla="*/ 567 h 9983"/>
                <a:gd name="connsiteX74" fmla="*/ 9287 w 10000"/>
                <a:gd name="connsiteY74" fmla="*/ 323 h 9983"/>
                <a:gd name="connsiteX0" fmla="*/ 9168 w 10000"/>
                <a:gd name="connsiteY0" fmla="*/ 588 h 10020"/>
                <a:gd name="connsiteX1" fmla="*/ 5698 w 10000"/>
                <a:gd name="connsiteY1" fmla="*/ 170 h 10020"/>
                <a:gd name="connsiteX2" fmla="*/ 2083 w 10000"/>
                <a:gd name="connsiteY2" fmla="*/ 142 h 10020"/>
                <a:gd name="connsiteX3" fmla="*/ 913 w 10000"/>
                <a:gd name="connsiteY3" fmla="*/ 1999 h 10020"/>
                <a:gd name="connsiteX4" fmla="*/ 208 w 10000"/>
                <a:gd name="connsiteY4" fmla="*/ 2433 h 10020"/>
                <a:gd name="connsiteX5" fmla="*/ 1 w 10000"/>
                <a:gd name="connsiteY5" fmla="*/ 3307 h 10020"/>
                <a:gd name="connsiteX6" fmla="*/ 140 w 10000"/>
                <a:gd name="connsiteY6" fmla="*/ 3462 h 10020"/>
                <a:gd name="connsiteX7" fmla="*/ 37 w 10000"/>
                <a:gd name="connsiteY7" fmla="*/ 3704 h 10020"/>
                <a:gd name="connsiteX8" fmla="*/ 615 w 10000"/>
                <a:gd name="connsiteY8" fmla="*/ 3775 h 10020"/>
                <a:gd name="connsiteX9" fmla="*/ 615 w 10000"/>
                <a:gd name="connsiteY9" fmla="*/ 3930 h 10020"/>
                <a:gd name="connsiteX10" fmla="*/ 595 w 10000"/>
                <a:gd name="connsiteY10" fmla="*/ 4288 h 10020"/>
                <a:gd name="connsiteX11" fmla="*/ 1206 w 10000"/>
                <a:gd name="connsiteY11" fmla="*/ 4419 h 10020"/>
                <a:gd name="connsiteX12" fmla="*/ 1206 w 10000"/>
                <a:gd name="connsiteY12" fmla="*/ 4717 h 10020"/>
                <a:gd name="connsiteX13" fmla="*/ 1530 w 10000"/>
                <a:gd name="connsiteY13" fmla="*/ 4935 h 10020"/>
                <a:gd name="connsiteX14" fmla="*/ 1428 w 10000"/>
                <a:gd name="connsiteY14" fmla="*/ 5267 h 10020"/>
                <a:gd name="connsiteX15" fmla="*/ 1882 w 10000"/>
                <a:gd name="connsiteY15" fmla="*/ 5559 h 10020"/>
                <a:gd name="connsiteX16" fmla="*/ 2158 w 10000"/>
                <a:gd name="connsiteY16" fmla="*/ 6093 h 10020"/>
                <a:gd name="connsiteX17" fmla="*/ 2411 w 10000"/>
                <a:gd name="connsiteY17" fmla="*/ 6298 h 10020"/>
                <a:gd name="connsiteX18" fmla="*/ 2310 w 10000"/>
                <a:gd name="connsiteY18" fmla="*/ 6477 h 10020"/>
                <a:gd name="connsiteX19" fmla="*/ 2446 w 10000"/>
                <a:gd name="connsiteY19" fmla="*/ 6674 h 10020"/>
                <a:gd name="connsiteX20" fmla="*/ 2426 w 10000"/>
                <a:gd name="connsiteY20" fmla="*/ 6960 h 10020"/>
                <a:gd name="connsiteX21" fmla="*/ 2688 w 10000"/>
                <a:gd name="connsiteY21" fmla="*/ 6989 h 10020"/>
                <a:gd name="connsiteX22" fmla="*/ 2972 w 10000"/>
                <a:gd name="connsiteY22" fmla="*/ 7303 h 10020"/>
                <a:gd name="connsiteX23" fmla="*/ 3042 w 10000"/>
                <a:gd name="connsiteY23" fmla="*/ 7792 h 10020"/>
                <a:gd name="connsiteX24" fmla="*/ 3106 w 10000"/>
                <a:gd name="connsiteY24" fmla="*/ 7971 h 10020"/>
                <a:gd name="connsiteX25" fmla="*/ 3464 w 10000"/>
                <a:gd name="connsiteY25" fmla="*/ 8389 h 10020"/>
                <a:gd name="connsiteX26" fmla="*/ 3464 w 10000"/>
                <a:gd name="connsiteY26" fmla="*/ 8704 h 10020"/>
                <a:gd name="connsiteX27" fmla="*/ 3990 w 10000"/>
                <a:gd name="connsiteY27" fmla="*/ 9044 h 10020"/>
                <a:gd name="connsiteX28" fmla="*/ 4279 w 10000"/>
                <a:gd name="connsiteY28" fmla="*/ 8683 h 10020"/>
                <a:gd name="connsiteX29" fmla="*/ 4637 w 10000"/>
                <a:gd name="connsiteY29" fmla="*/ 8954 h 10020"/>
                <a:gd name="connsiteX30" fmla="*/ 4922 w 10000"/>
                <a:gd name="connsiteY30" fmla="*/ 8547 h 10020"/>
                <a:gd name="connsiteX31" fmla="*/ 5246 w 10000"/>
                <a:gd name="connsiteY31" fmla="*/ 9194 h 10020"/>
                <a:gd name="connsiteX32" fmla="*/ 5704 w 10000"/>
                <a:gd name="connsiteY32" fmla="*/ 9554 h 10020"/>
                <a:gd name="connsiteX33" fmla="*/ 5754 w 10000"/>
                <a:gd name="connsiteY33" fmla="*/ 9870 h 10020"/>
                <a:gd name="connsiteX34" fmla="*/ 5942 w 10000"/>
                <a:gd name="connsiteY34" fmla="*/ 9911 h 10020"/>
                <a:gd name="connsiteX35" fmla="*/ 6212 w 10000"/>
                <a:gd name="connsiteY35" fmla="*/ 9617 h 10020"/>
                <a:gd name="connsiteX36" fmla="*/ 6554 w 10000"/>
                <a:gd name="connsiteY36" fmla="*/ 9797 h 10020"/>
                <a:gd name="connsiteX37" fmla="*/ 6671 w 10000"/>
                <a:gd name="connsiteY37" fmla="*/ 9642 h 10020"/>
                <a:gd name="connsiteX38" fmla="*/ 6793 w 10000"/>
                <a:gd name="connsiteY38" fmla="*/ 9617 h 10020"/>
                <a:gd name="connsiteX39" fmla="*/ 7026 w 10000"/>
                <a:gd name="connsiteY39" fmla="*/ 10020 h 10020"/>
                <a:gd name="connsiteX40" fmla="*/ 7248 w 10000"/>
                <a:gd name="connsiteY40" fmla="*/ 9684 h 10020"/>
                <a:gd name="connsiteX41" fmla="*/ 7518 w 10000"/>
                <a:gd name="connsiteY41" fmla="*/ 9706 h 10020"/>
                <a:gd name="connsiteX42" fmla="*/ 7724 w 10000"/>
                <a:gd name="connsiteY42" fmla="*/ 9527 h 10020"/>
                <a:gd name="connsiteX43" fmla="*/ 8013 w 10000"/>
                <a:gd name="connsiteY43" fmla="*/ 9706 h 10020"/>
                <a:gd name="connsiteX44" fmla="*/ 8387 w 10000"/>
                <a:gd name="connsiteY44" fmla="*/ 9152 h 10020"/>
                <a:gd name="connsiteX45" fmla="*/ 8519 w 10000"/>
                <a:gd name="connsiteY45" fmla="*/ 9152 h 10020"/>
                <a:gd name="connsiteX46" fmla="*/ 8759 w 10000"/>
                <a:gd name="connsiteY46" fmla="*/ 8704 h 10020"/>
                <a:gd name="connsiteX47" fmla="*/ 9775 w 10000"/>
                <a:gd name="connsiteY47" fmla="*/ 8683 h 10020"/>
                <a:gd name="connsiteX48" fmla="*/ 10000 w 10000"/>
                <a:gd name="connsiteY48" fmla="*/ 8501 h 10020"/>
                <a:gd name="connsiteX49" fmla="*/ 9983 w 10000"/>
                <a:gd name="connsiteY49" fmla="*/ 8281 h 10020"/>
                <a:gd name="connsiteX50" fmla="*/ 9915 w 10000"/>
                <a:gd name="connsiteY50" fmla="*/ 7792 h 10020"/>
                <a:gd name="connsiteX51" fmla="*/ 9490 w 10000"/>
                <a:gd name="connsiteY51" fmla="*/ 7631 h 10020"/>
                <a:gd name="connsiteX52" fmla="*/ 9287 w 10000"/>
                <a:gd name="connsiteY52" fmla="*/ 6852 h 10020"/>
                <a:gd name="connsiteX53" fmla="*/ 9168 w 10000"/>
                <a:gd name="connsiteY53" fmla="*/ 6762 h 10020"/>
                <a:gd name="connsiteX54" fmla="*/ 9137 w 10000"/>
                <a:gd name="connsiteY54" fmla="*/ 6207 h 10020"/>
                <a:gd name="connsiteX55" fmla="*/ 8984 w 10000"/>
                <a:gd name="connsiteY55" fmla="*/ 6181 h 10020"/>
                <a:gd name="connsiteX56" fmla="*/ 8927 w 10000"/>
                <a:gd name="connsiteY56" fmla="*/ 5897 h 10020"/>
                <a:gd name="connsiteX57" fmla="*/ 8673 w 10000"/>
                <a:gd name="connsiteY57" fmla="*/ 5826 h 10020"/>
                <a:gd name="connsiteX58" fmla="*/ 8588 w 10000"/>
                <a:gd name="connsiteY58" fmla="*/ 5384 h 10020"/>
                <a:gd name="connsiteX59" fmla="*/ 8166 w 10000"/>
                <a:gd name="connsiteY59" fmla="*/ 4959 h 10020"/>
                <a:gd name="connsiteX60" fmla="*/ 7705 w 10000"/>
                <a:gd name="connsiteY60" fmla="*/ 4890 h 10020"/>
                <a:gd name="connsiteX61" fmla="*/ 7827 w 10000"/>
                <a:gd name="connsiteY61" fmla="*/ 4401 h 10020"/>
                <a:gd name="connsiteX62" fmla="*/ 7794 w 10000"/>
                <a:gd name="connsiteY62" fmla="*/ 4043 h 10020"/>
                <a:gd name="connsiteX63" fmla="*/ 8183 w 10000"/>
                <a:gd name="connsiteY63" fmla="*/ 4068 h 10020"/>
                <a:gd name="connsiteX64" fmla="*/ 8267 w 10000"/>
                <a:gd name="connsiteY64" fmla="*/ 4175 h 10020"/>
                <a:gd name="connsiteX65" fmla="*/ 8504 w 10000"/>
                <a:gd name="connsiteY65" fmla="*/ 3951 h 10020"/>
                <a:gd name="connsiteX66" fmla="*/ 8573 w 10000"/>
                <a:gd name="connsiteY66" fmla="*/ 3154 h 10020"/>
                <a:gd name="connsiteX67" fmla="*/ 8472 w 10000"/>
                <a:gd name="connsiteY67" fmla="*/ 2549 h 10020"/>
                <a:gd name="connsiteX68" fmla="*/ 8759 w 10000"/>
                <a:gd name="connsiteY68" fmla="*/ 2059 h 10020"/>
                <a:gd name="connsiteX69" fmla="*/ 8673 w 10000"/>
                <a:gd name="connsiteY69" fmla="*/ 1589 h 10020"/>
                <a:gd name="connsiteX70" fmla="*/ 8863 w 10000"/>
                <a:gd name="connsiteY70" fmla="*/ 1142 h 10020"/>
                <a:gd name="connsiteX71" fmla="*/ 8984 w 10000"/>
                <a:gd name="connsiteY71" fmla="*/ 1395 h 10020"/>
                <a:gd name="connsiteX72" fmla="*/ 9182 w 10000"/>
                <a:gd name="connsiteY72" fmla="*/ 1281 h 10020"/>
                <a:gd name="connsiteX73" fmla="*/ 9168 w 10000"/>
                <a:gd name="connsiteY73" fmla="*/ 588 h 10020"/>
                <a:gd name="connsiteX0" fmla="*/ 9182 w 10000"/>
                <a:gd name="connsiteY0" fmla="*/ 1313 h 10052"/>
                <a:gd name="connsiteX1" fmla="*/ 5698 w 10000"/>
                <a:gd name="connsiteY1" fmla="*/ 202 h 10052"/>
                <a:gd name="connsiteX2" fmla="*/ 2083 w 10000"/>
                <a:gd name="connsiteY2" fmla="*/ 174 h 10052"/>
                <a:gd name="connsiteX3" fmla="*/ 913 w 10000"/>
                <a:gd name="connsiteY3" fmla="*/ 2031 h 10052"/>
                <a:gd name="connsiteX4" fmla="*/ 208 w 10000"/>
                <a:gd name="connsiteY4" fmla="*/ 2465 h 10052"/>
                <a:gd name="connsiteX5" fmla="*/ 1 w 10000"/>
                <a:gd name="connsiteY5" fmla="*/ 3339 h 10052"/>
                <a:gd name="connsiteX6" fmla="*/ 140 w 10000"/>
                <a:gd name="connsiteY6" fmla="*/ 3494 h 10052"/>
                <a:gd name="connsiteX7" fmla="*/ 37 w 10000"/>
                <a:gd name="connsiteY7" fmla="*/ 3736 h 10052"/>
                <a:gd name="connsiteX8" fmla="*/ 615 w 10000"/>
                <a:gd name="connsiteY8" fmla="*/ 3807 h 10052"/>
                <a:gd name="connsiteX9" fmla="*/ 615 w 10000"/>
                <a:gd name="connsiteY9" fmla="*/ 3962 h 10052"/>
                <a:gd name="connsiteX10" fmla="*/ 595 w 10000"/>
                <a:gd name="connsiteY10" fmla="*/ 4320 h 10052"/>
                <a:gd name="connsiteX11" fmla="*/ 1206 w 10000"/>
                <a:gd name="connsiteY11" fmla="*/ 4451 h 10052"/>
                <a:gd name="connsiteX12" fmla="*/ 1206 w 10000"/>
                <a:gd name="connsiteY12" fmla="*/ 4749 h 10052"/>
                <a:gd name="connsiteX13" fmla="*/ 1530 w 10000"/>
                <a:gd name="connsiteY13" fmla="*/ 4967 h 10052"/>
                <a:gd name="connsiteX14" fmla="*/ 1428 w 10000"/>
                <a:gd name="connsiteY14" fmla="*/ 5299 h 10052"/>
                <a:gd name="connsiteX15" fmla="*/ 1882 w 10000"/>
                <a:gd name="connsiteY15" fmla="*/ 5591 h 10052"/>
                <a:gd name="connsiteX16" fmla="*/ 2158 w 10000"/>
                <a:gd name="connsiteY16" fmla="*/ 6125 h 10052"/>
                <a:gd name="connsiteX17" fmla="*/ 2411 w 10000"/>
                <a:gd name="connsiteY17" fmla="*/ 6330 h 10052"/>
                <a:gd name="connsiteX18" fmla="*/ 2310 w 10000"/>
                <a:gd name="connsiteY18" fmla="*/ 6509 h 10052"/>
                <a:gd name="connsiteX19" fmla="*/ 2446 w 10000"/>
                <a:gd name="connsiteY19" fmla="*/ 6706 h 10052"/>
                <a:gd name="connsiteX20" fmla="*/ 2426 w 10000"/>
                <a:gd name="connsiteY20" fmla="*/ 6992 h 10052"/>
                <a:gd name="connsiteX21" fmla="*/ 2688 w 10000"/>
                <a:gd name="connsiteY21" fmla="*/ 7021 h 10052"/>
                <a:gd name="connsiteX22" fmla="*/ 2972 w 10000"/>
                <a:gd name="connsiteY22" fmla="*/ 7335 h 10052"/>
                <a:gd name="connsiteX23" fmla="*/ 3042 w 10000"/>
                <a:gd name="connsiteY23" fmla="*/ 7824 h 10052"/>
                <a:gd name="connsiteX24" fmla="*/ 3106 w 10000"/>
                <a:gd name="connsiteY24" fmla="*/ 8003 h 10052"/>
                <a:gd name="connsiteX25" fmla="*/ 3464 w 10000"/>
                <a:gd name="connsiteY25" fmla="*/ 8421 h 10052"/>
                <a:gd name="connsiteX26" fmla="*/ 3464 w 10000"/>
                <a:gd name="connsiteY26" fmla="*/ 8736 h 10052"/>
                <a:gd name="connsiteX27" fmla="*/ 3990 w 10000"/>
                <a:gd name="connsiteY27" fmla="*/ 9076 h 10052"/>
                <a:gd name="connsiteX28" fmla="*/ 4279 w 10000"/>
                <a:gd name="connsiteY28" fmla="*/ 8715 h 10052"/>
                <a:gd name="connsiteX29" fmla="*/ 4637 w 10000"/>
                <a:gd name="connsiteY29" fmla="*/ 8986 h 10052"/>
                <a:gd name="connsiteX30" fmla="*/ 4922 w 10000"/>
                <a:gd name="connsiteY30" fmla="*/ 8579 h 10052"/>
                <a:gd name="connsiteX31" fmla="*/ 5246 w 10000"/>
                <a:gd name="connsiteY31" fmla="*/ 9226 h 10052"/>
                <a:gd name="connsiteX32" fmla="*/ 5704 w 10000"/>
                <a:gd name="connsiteY32" fmla="*/ 9586 h 10052"/>
                <a:gd name="connsiteX33" fmla="*/ 5754 w 10000"/>
                <a:gd name="connsiteY33" fmla="*/ 9902 h 10052"/>
                <a:gd name="connsiteX34" fmla="*/ 5942 w 10000"/>
                <a:gd name="connsiteY34" fmla="*/ 9943 h 10052"/>
                <a:gd name="connsiteX35" fmla="*/ 6212 w 10000"/>
                <a:gd name="connsiteY35" fmla="*/ 9649 h 10052"/>
                <a:gd name="connsiteX36" fmla="*/ 6554 w 10000"/>
                <a:gd name="connsiteY36" fmla="*/ 9829 h 10052"/>
                <a:gd name="connsiteX37" fmla="*/ 6671 w 10000"/>
                <a:gd name="connsiteY37" fmla="*/ 9674 h 10052"/>
                <a:gd name="connsiteX38" fmla="*/ 6793 w 10000"/>
                <a:gd name="connsiteY38" fmla="*/ 9649 h 10052"/>
                <a:gd name="connsiteX39" fmla="*/ 7026 w 10000"/>
                <a:gd name="connsiteY39" fmla="*/ 10052 h 10052"/>
                <a:gd name="connsiteX40" fmla="*/ 7248 w 10000"/>
                <a:gd name="connsiteY40" fmla="*/ 9716 h 10052"/>
                <a:gd name="connsiteX41" fmla="*/ 7518 w 10000"/>
                <a:gd name="connsiteY41" fmla="*/ 9738 h 10052"/>
                <a:gd name="connsiteX42" fmla="*/ 7724 w 10000"/>
                <a:gd name="connsiteY42" fmla="*/ 9559 h 10052"/>
                <a:gd name="connsiteX43" fmla="*/ 8013 w 10000"/>
                <a:gd name="connsiteY43" fmla="*/ 9738 h 10052"/>
                <a:gd name="connsiteX44" fmla="*/ 8387 w 10000"/>
                <a:gd name="connsiteY44" fmla="*/ 9184 h 10052"/>
                <a:gd name="connsiteX45" fmla="*/ 8519 w 10000"/>
                <a:gd name="connsiteY45" fmla="*/ 9184 h 10052"/>
                <a:gd name="connsiteX46" fmla="*/ 8759 w 10000"/>
                <a:gd name="connsiteY46" fmla="*/ 8736 h 10052"/>
                <a:gd name="connsiteX47" fmla="*/ 9775 w 10000"/>
                <a:gd name="connsiteY47" fmla="*/ 8715 h 10052"/>
                <a:gd name="connsiteX48" fmla="*/ 10000 w 10000"/>
                <a:gd name="connsiteY48" fmla="*/ 8533 h 10052"/>
                <a:gd name="connsiteX49" fmla="*/ 9983 w 10000"/>
                <a:gd name="connsiteY49" fmla="*/ 8313 h 10052"/>
                <a:gd name="connsiteX50" fmla="*/ 9915 w 10000"/>
                <a:gd name="connsiteY50" fmla="*/ 7824 h 10052"/>
                <a:gd name="connsiteX51" fmla="*/ 9490 w 10000"/>
                <a:gd name="connsiteY51" fmla="*/ 7663 h 10052"/>
                <a:gd name="connsiteX52" fmla="*/ 9287 w 10000"/>
                <a:gd name="connsiteY52" fmla="*/ 6884 h 10052"/>
                <a:gd name="connsiteX53" fmla="*/ 9168 w 10000"/>
                <a:gd name="connsiteY53" fmla="*/ 6794 h 10052"/>
                <a:gd name="connsiteX54" fmla="*/ 9137 w 10000"/>
                <a:gd name="connsiteY54" fmla="*/ 6239 h 10052"/>
                <a:gd name="connsiteX55" fmla="*/ 8984 w 10000"/>
                <a:gd name="connsiteY55" fmla="*/ 6213 h 10052"/>
                <a:gd name="connsiteX56" fmla="*/ 8927 w 10000"/>
                <a:gd name="connsiteY56" fmla="*/ 5929 h 10052"/>
                <a:gd name="connsiteX57" fmla="*/ 8673 w 10000"/>
                <a:gd name="connsiteY57" fmla="*/ 5858 h 10052"/>
                <a:gd name="connsiteX58" fmla="*/ 8588 w 10000"/>
                <a:gd name="connsiteY58" fmla="*/ 5416 h 10052"/>
                <a:gd name="connsiteX59" fmla="*/ 8166 w 10000"/>
                <a:gd name="connsiteY59" fmla="*/ 4991 h 10052"/>
                <a:gd name="connsiteX60" fmla="*/ 7705 w 10000"/>
                <a:gd name="connsiteY60" fmla="*/ 4922 h 10052"/>
                <a:gd name="connsiteX61" fmla="*/ 7827 w 10000"/>
                <a:gd name="connsiteY61" fmla="*/ 4433 h 10052"/>
                <a:gd name="connsiteX62" fmla="*/ 7794 w 10000"/>
                <a:gd name="connsiteY62" fmla="*/ 4075 h 10052"/>
                <a:gd name="connsiteX63" fmla="*/ 8183 w 10000"/>
                <a:gd name="connsiteY63" fmla="*/ 4100 h 10052"/>
                <a:gd name="connsiteX64" fmla="*/ 8267 w 10000"/>
                <a:gd name="connsiteY64" fmla="*/ 4207 h 10052"/>
                <a:gd name="connsiteX65" fmla="*/ 8504 w 10000"/>
                <a:gd name="connsiteY65" fmla="*/ 3983 h 10052"/>
                <a:gd name="connsiteX66" fmla="*/ 8573 w 10000"/>
                <a:gd name="connsiteY66" fmla="*/ 3186 h 10052"/>
                <a:gd name="connsiteX67" fmla="*/ 8472 w 10000"/>
                <a:gd name="connsiteY67" fmla="*/ 2581 h 10052"/>
                <a:gd name="connsiteX68" fmla="*/ 8759 w 10000"/>
                <a:gd name="connsiteY68" fmla="*/ 2091 h 10052"/>
                <a:gd name="connsiteX69" fmla="*/ 8673 w 10000"/>
                <a:gd name="connsiteY69" fmla="*/ 1621 h 10052"/>
                <a:gd name="connsiteX70" fmla="*/ 8863 w 10000"/>
                <a:gd name="connsiteY70" fmla="*/ 1174 h 10052"/>
                <a:gd name="connsiteX71" fmla="*/ 8984 w 10000"/>
                <a:gd name="connsiteY71" fmla="*/ 1427 h 10052"/>
                <a:gd name="connsiteX72" fmla="*/ 9182 w 10000"/>
                <a:gd name="connsiteY72" fmla="*/ 1313 h 10052"/>
                <a:gd name="connsiteX0" fmla="*/ 8984 w 10000"/>
                <a:gd name="connsiteY0" fmla="*/ 1433 h 10058"/>
                <a:gd name="connsiteX1" fmla="*/ 5698 w 10000"/>
                <a:gd name="connsiteY1" fmla="*/ 208 h 10058"/>
                <a:gd name="connsiteX2" fmla="*/ 2083 w 10000"/>
                <a:gd name="connsiteY2" fmla="*/ 180 h 10058"/>
                <a:gd name="connsiteX3" fmla="*/ 913 w 10000"/>
                <a:gd name="connsiteY3" fmla="*/ 2037 h 10058"/>
                <a:gd name="connsiteX4" fmla="*/ 208 w 10000"/>
                <a:gd name="connsiteY4" fmla="*/ 2471 h 10058"/>
                <a:gd name="connsiteX5" fmla="*/ 1 w 10000"/>
                <a:gd name="connsiteY5" fmla="*/ 3345 h 10058"/>
                <a:gd name="connsiteX6" fmla="*/ 140 w 10000"/>
                <a:gd name="connsiteY6" fmla="*/ 3500 h 10058"/>
                <a:gd name="connsiteX7" fmla="*/ 37 w 10000"/>
                <a:gd name="connsiteY7" fmla="*/ 3742 h 10058"/>
                <a:gd name="connsiteX8" fmla="*/ 615 w 10000"/>
                <a:gd name="connsiteY8" fmla="*/ 3813 h 10058"/>
                <a:gd name="connsiteX9" fmla="*/ 615 w 10000"/>
                <a:gd name="connsiteY9" fmla="*/ 3968 h 10058"/>
                <a:gd name="connsiteX10" fmla="*/ 595 w 10000"/>
                <a:gd name="connsiteY10" fmla="*/ 4326 h 10058"/>
                <a:gd name="connsiteX11" fmla="*/ 1206 w 10000"/>
                <a:gd name="connsiteY11" fmla="*/ 4457 h 10058"/>
                <a:gd name="connsiteX12" fmla="*/ 1206 w 10000"/>
                <a:gd name="connsiteY12" fmla="*/ 4755 h 10058"/>
                <a:gd name="connsiteX13" fmla="*/ 1530 w 10000"/>
                <a:gd name="connsiteY13" fmla="*/ 4973 h 10058"/>
                <a:gd name="connsiteX14" fmla="*/ 1428 w 10000"/>
                <a:gd name="connsiteY14" fmla="*/ 5305 h 10058"/>
                <a:gd name="connsiteX15" fmla="*/ 1882 w 10000"/>
                <a:gd name="connsiteY15" fmla="*/ 5597 h 10058"/>
                <a:gd name="connsiteX16" fmla="*/ 2158 w 10000"/>
                <a:gd name="connsiteY16" fmla="*/ 6131 h 10058"/>
                <a:gd name="connsiteX17" fmla="*/ 2411 w 10000"/>
                <a:gd name="connsiteY17" fmla="*/ 6336 h 10058"/>
                <a:gd name="connsiteX18" fmla="*/ 2310 w 10000"/>
                <a:gd name="connsiteY18" fmla="*/ 6515 h 10058"/>
                <a:gd name="connsiteX19" fmla="*/ 2446 w 10000"/>
                <a:gd name="connsiteY19" fmla="*/ 6712 h 10058"/>
                <a:gd name="connsiteX20" fmla="*/ 2426 w 10000"/>
                <a:gd name="connsiteY20" fmla="*/ 6998 h 10058"/>
                <a:gd name="connsiteX21" fmla="*/ 2688 w 10000"/>
                <a:gd name="connsiteY21" fmla="*/ 7027 h 10058"/>
                <a:gd name="connsiteX22" fmla="*/ 2972 w 10000"/>
                <a:gd name="connsiteY22" fmla="*/ 7341 h 10058"/>
                <a:gd name="connsiteX23" fmla="*/ 3042 w 10000"/>
                <a:gd name="connsiteY23" fmla="*/ 7830 h 10058"/>
                <a:gd name="connsiteX24" fmla="*/ 3106 w 10000"/>
                <a:gd name="connsiteY24" fmla="*/ 8009 h 10058"/>
                <a:gd name="connsiteX25" fmla="*/ 3464 w 10000"/>
                <a:gd name="connsiteY25" fmla="*/ 8427 h 10058"/>
                <a:gd name="connsiteX26" fmla="*/ 3464 w 10000"/>
                <a:gd name="connsiteY26" fmla="*/ 8742 h 10058"/>
                <a:gd name="connsiteX27" fmla="*/ 3990 w 10000"/>
                <a:gd name="connsiteY27" fmla="*/ 9082 h 10058"/>
                <a:gd name="connsiteX28" fmla="*/ 4279 w 10000"/>
                <a:gd name="connsiteY28" fmla="*/ 8721 h 10058"/>
                <a:gd name="connsiteX29" fmla="*/ 4637 w 10000"/>
                <a:gd name="connsiteY29" fmla="*/ 8992 h 10058"/>
                <a:gd name="connsiteX30" fmla="*/ 4922 w 10000"/>
                <a:gd name="connsiteY30" fmla="*/ 8585 h 10058"/>
                <a:gd name="connsiteX31" fmla="*/ 5246 w 10000"/>
                <a:gd name="connsiteY31" fmla="*/ 9232 h 10058"/>
                <a:gd name="connsiteX32" fmla="*/ 5704 w 10000"/>
                <a:gd name="connsiteY32" fmla="*/ 9592 h 10058"/>
                <a:gd name="connsiteX33" fmla="*/ 5754 w 10000"/>
                <a:gd name="connsiteY33" fmla="*/ 9908 h 10058"/>
                <a:gd name="connsiteX34" fmla="*/ 5942 w 10000"/>
                <a:gd name="connsiteY34" fmla="*/ 9949 h 10058"/>
                <a:gd name="connsiteX35" fmla="*/ 6212 w 10000"/>
                <a:gd name="connsiteY35" fmla="*/ 9655 h 10058"/>
                <a:gd name="connsiteX36" fmla="*/ 6554 w 10000"/>
                <a:gd name="connsiteY36" fmla="*/ 9835 h 10058"/>
                <a:gd name="connsiteX37" fmla="*/ 6671 w 10000"/>
                <a:gd name="connsiteY37" fmla="*/ 9680 h 10058"/>
                <a:gd name="connsiteX38" fmla="*/ 6793 w 10000"/>
                <a:gd name="connsiteY38" fmla="*/ 9655 h 10058"/>
                <a:gd name="connsiteX39" fmla="*/ 7026 w 10000"/>
                <a:gd name="connsiteY39" fmla="*/ 10058 h 10058"/>
                <a:gd name="connsiteX40" fmla="*/ 7248 w 10000"/>
                <a:gd name="connsiteY40" fmla="*/ 9722 h 10058"/>
                <a:gd name="connsiteX41" fmla="*/ 7518 w 10000"/>
                <a:gd name="connsiteY41" fmla="*/ 9744 h 10058"/>
                <a:gd name="connsiteX42" fmla="*/ 7724 w 10000"/>
                <a:gd name="connsiteY42" fmla="*/ 9565 h 10058"/>
                <a:gd name="connsiteX43" fmla="*/ 8013 w 10000"/>
                <a:gd name="connsiteY43" fmla="*/ 9744 h 10058"/>
                <a:gd name="connsiteX44" fmla="*/ 8387 w 10000"/>
                <a:gd name="connsiteY44" fmla="*/ 9190 h 10058"/>
                <a:gd name="connsiteX45" fmla="*/ 8519 w 10000"/>
                <a:gd name="connsiteY45" fmla="*/ 9190 h 10058"/>
                <a:gd name="connsiteX46" fmla="*/ 8759 w 10000"/>
                <a:gd name="connsiteY46" fmla="*/ 8742 h 10058"/>
                <a:gd name="connsiteX47" fmla="*/ 9775 w 10000"/>
                <a:gd name="connsiteY47" fmla="*/ 8721 h 10058"/>
                <a:gd name="connsiteX48" fmla="*/ 10000 w 10000"/>
                <a:gd name="connsiteY48" fmla="*/ 8539 h 10058"/>
                <a:gd name="connsiteX49" fmla="*/ 9983 w 10000"/>
                <a:gd name="connsiteY49" fmla="*/ 8319 h 10058"/>
                <a:gd name="connsiteX50" fmla="*/ 9915 w 10000"/>
                <a:gd name="connsiteY50" fmla="*/ 7830 h 10058"/>
                <a:gd name="connsiteX51" fmla="*/ 9490 w 10000"/>
                <a:gd name="connsiteY51" fmla="*/ 7669 h 10058"/>
                <a:gd name="connsiteX52" fmla="*/ 9287 w 10000"/>
                <a:gd name="connsiteY52" fmla="*/ 6890 h 10058"/>
                <a:gd name="connsiteX53" fmla="*/ 9168 w 10000"/>
                <a:gd name="connsiteY53" fmla="*/ 6800 h 10058"/>
                <a:gd name="connsiteX54" fmla="*/ 9137 w 10000"/>
                <a:gd name="connsiteY54" fmla="*/ 6245 h 10058"/>
                <a:gd name="connsiteX55" fmla="*/ 8984 w 10000"/>
                <a:gd name="connsiteY55" fmla="*/ 6219 h 10058"/>
                <a:gd name="connsiteX56" fmla="*/ 8927 w 10000"/>
                <a:gd name="connsiteY56" fmla="*/ 5935 h 10058"/>
                <a:gd name="connsiteX57" fmla="*/ 8673 w 10000"/>
                <a:gd name="connsiteY57" fmla="*/ 5864 h 10058"/>
                <a:gd name="connsiteX58" fmla="*/ 8588 w 10000"/>
                <a:gd name="connsiteY58" fmla="*/ 5422 h 10058"/>
                <a:gd name="connsiteX59" fmla="*/ 8166 w 10000"/>
                <a:gd name="connsiteY59" fmla="*/ 4997 h 10058"/>
                <a:gd name="connsiteX60" fmla="*/ 7705 w 10000"/>
                <a:gd name="connsiteY60" fmla="*/ 4928 h 10058"/>
                <a:gd name="connsiteX61" fmla="*/ 7827 w 10000"/>
                <a:gd name="connsiteY61" fmla="*/ 4439 h 10058"/>
                <a:gd name="connsiteX62" fmla="*/ 7794 w 10000"/>
                <a:gd name="connsiteY62" fmla="*/ 4081 h 10058"/>
                <a:gd name="connsiteX63" fmla="*/ 8183 w 10000"/>
                <a:gd name="connsiteY63" fmla="*/ 4106 h 10058"/>
                <a:gd name="connsiteX64" fmla="*/ 8267 w 10000"/>
                <a:gd name="connsiteY64" fmla="*/ 4213 h 10058"/>
                <a:gd name="connsiteX65" fmla="*/ 8504 w 10000"/>
                <a:gd name="connsiteY65" fmla="*/ 3989 h 10058"/>
                <a:gd name="connsiteX66" fmla="*/ 8573 w 10000"/>
                <a:gd name="connsiteY66" fmla="*/ 3192 h 10058"/>
                <a:gd name="connsiteX67" fmla="*/ 8472 w 10000"/>
                <a:gd name="connsiteY67" fmla="*/ 2587 h 10058"/>
                <a:gd name="connsiteX68" fmla="*/ 8759 w 10000"/>
                <a:gd name="connsiteY68" fmla="*/ 2097 h 10058"/>
                <a:gd name="connsiteX69" fmla="*/ 8673 w 10000"/>
                <a:gd name="connsiteY69" fmla="*/ 1627 h 10058"/>
                <a:gd name="connsiteX70" fmla="*/ 8863 w 10000"/>
                <a:gd name="connsiteY70" fmla="*/ 1180 h 10058"/>
                <a:gd name="connsiteX71" fmla="*/ 8984 w 10000"/>
                <a:gd name="connsiteY71" fmla="*/ 1433 h 10058"/>
                <a:gd name="connsiteX0" fmla="*/ 8984 w 10000"/>
                <a:gd name="connsiteY0" fmla="*/ 1433 h 10058"/>
                <a:gd name="connsiteX1" fmla="*/ 5698 w 10000"/>
                <a:gd name="connsiteY1" fmla="*/ 208 h 10058"/>
                <a:gd name="connsiteX2" fmla="*/ 2083 w 10000"/>
                <a:gd name="connsiteY2" fmla="*/ 180 h 10058"/>
                <a:gd name="connsiteX3" fmla="*/ 913 w 10000"/>
                <a:gd name="connsiteY3" fmla="*/ 2037 h 10058"/>
                <a:gd name="connsiteX4" fmla="*/ 208 w 10000"/>
                <a:gd name="connsiteY4" fmla="*/ 2471 h 10058"/>
                <a:gd name="connsiteX5" fmla="*/ 1 w 10000"/>
                <a:gd name="connsiteY5" fmla="*/ 3345 h 10058"/>
                <a:gd name="connsiteX6" fmla="*/ 140 w 10000"/>
                <a:gd name="connsiteY6" fmla="*/ 3500 h 10058"/>
                <a:gd name="connsiteX7" fmla="*/ 37 w 10000"/>
                <a:gd name="connsiteY7" fmla="*/ 3742 h 10058"/>
                <a:gd name="connsiteX8" fmla="*/ 615 w 10000"/>
                <a:gd name="connsiteY8" fmla="*/ 3813 h 10058"/>
                <a:gd name="connsiteX9" fmla="*/ 615 w 10000"/>
                <a:gd name="connsiteY9" fmla="*/ 3968 h 10058"/>
                <a:gd name="connsiteX10" fmla="*/ 595 w 10000"/>
                <a:gd name="connsiteY10" fmla="*/ 4326 h 10058"/>
                <a:gd name="connsiteX11" fmla="*/ 1206 w 10000"/>
                <a:gd name="connsiteY11" fmla="*/ 4457 h 10058"/>
                <a:gd name="connsiteX12" fmla="*/ 1206 w 10000"/>
                <a:gd name="connsiteY12" fmla="*/ 4755 h 10058"/>
                <a:gd name="connsiteX13" fmla="*/ 1530 w 10000"/>
                <a:gd name="connsiteY13" fmla="*/ 4973 h 10058"/>
                <a:gd name="connsiteX14" fmla="*/ 1428 w 10000"/>
                <a:gd name="connsiteY14" fmla="*/ 5305 h 10058"/>
                <a:gd name="connsiteX15" fmla="*/ 1882 w 10000"/>
                <a:gd name="connsiteY15" fmla="*/ 5597 h 10058"/>
                <a:gd name="connsiteX16" fmla="*/ 2158 w 10000"/>
                <a:gd name="connsiteY16" fmla="*/ 6131 h 10058"/>
                <a:gd name="connsiteX17" fmla="*/ 2411 w 10000"/>
                <a:gd name="connsiteY17" fmla="*/ 6336 h 10058"/>
                <a:gd name="connsiteX18" fmla="*/ 2310 w 10000"/>
                <a:gd name="connsiteY18" fmla="*/ 6515 h 10058"/>
                <a:gd name="connsiteX19" fmla="*/ 2446 w 10000"/>
                <a:gd name="connsiteY19" fmla="*/ 6712 h 10058"/>
                <a:gd name="connsiteX20" fmla="*/ 2426 w 10000"/>
                <a:gd name="connsiteY20" fmla="*/ 6998 h 10058"/>
                <a:gd name="connsiteX21" fmla="*/ 2688 w 10000"/>
                <a:gd name="connsiteY21" fmla="*/ 7027 h 10058"/>
                <a:gd name="connsiteX22" fmla="*/ 2972 w 10000"/>
                <a:gd name="connsiteY22" fmla="*/ 7341 h 10058"/>
                <a:gd name="connsiteX23" fmla="*/ 3042 w 10000"/>
                <a:gd name="connsiteY23" fmla="*/ 7830 h 10058"/>
                <a:gd name="connsiteX24" fmla="*/ 3106 w 10000"/>
                <a:gd name="connsiteY24" fmla="*/ 8009 h 10058"/>
                <a:gd name="connsiteX25" fmla="*/ 3464 w 10000"/>
                <a:gd name="connsiteY25" fmla="*/ 8427 h 10058"/>
                <a:gd name="connsiteX26" fmla="*/ 3464 w 10000"/>
                <a:gd name="connsiteY26" fmla="*/ 8742 h 10058"/>
                <a:gd name="connsiteX27" fmla="*/ 3990 w 10000"/>
                <a:gd name="connsiteY27" fmla="*/ 9082 h 10058"/>
                <a:gd name="connsiteX28" fmla="*/ 4279 w 10000"/>
                <a:gd name="connsiteY28" fmla="*/ 8721 h 10058"/>
                <a:gd name="connsiteX29" fmla="*/ 4637 w 10000"/>
                <a:gd name="connsiteY29" fmla="*/ 8992 h 10058"/>
                <a:gd name="connsiteX30" fmla="*/ 4922 w 10000"/>
                <a:gd name="connsiteY30" fmla="*/ 8585 h 10058"/>
                <a:gd name="connsiteX31" fmla="*/ 5246 w 10000"/>
                <a:gd name="connsiteY31" fmla="*/ 9232 h 10058"/>
                <a:gd name="connsiteX32" fmla="*/ 5704 w 10000"/>
                <a:gd name="connsiteY32" fmla="*/ 9592 h 10058"/>
                <a:gd name="connsiteX33" fmla="*/ 5754 w 10000"/>
                <a:gd name="connsiteY33" fmla="*/ 9908 h 10058"/>
                <a:gd name="connsiteX34" fmla="*/ 5942 w 10000"/>
                <a:gd name="connsiteY34" fmla="*/ 9949 h 10058"/>
                <a:gd name="connsiteX35" fmla="*/ 6212 w 10000"/>
                <a:gd name="connsiteY35" fmla="*/ 9655 h 10058"/>
                <a:gd name="connsiteX36" fmla="*/ 6554 w 10000"/>
                <a:gd name="connsiteY36" fmla="*/ 9835 h 10058"/>
                <a:gd name="connsiteX37" fmla="*/ 6671 w 10000"/>
                <a:gd name="connsiteY37" fmla="*/ 9680 h 10058"/>
                <a:gd name="connsiteX38" fmla="*/ 6793 w 10000"/>
                <a:gd name="connsiteY38" fmla="*/ 9655 h 10058"/>
                <a:gd name="connsiteX39" fmla="*/ 7026 w 10000"/>
                <a:gd name="connsiteY39" fmla="*/ 10058 h 10058"/>
                <a:gd name="connsiteX40" fmla="*/ 7248 w 10000"/>
                <a:gd name="connsiteY40" fmla="*/ 9722 h 10058"/>
                <a:gd name="connsiteX41" fmla="*/ 7518 w 10000"/>
                <a:gd name="connsiteY41" fmla="*/ 9744 h 10058"/>
                <a:gd name="connsiteX42" fmla="*/ 7724 w 10000"/>
                <a:gd name="connsiteY42" fmla="*/ 9565 h 10058"/>
                <a:gd name="connsiteX43" fmla="*/ 8013 w 10000"/>
                <a:gd name="connsiteY43" fmla="*/ 9744 h 10058"/>
                <a:gd name="connsiteX44" fmla="*/ 8387 w 10000"/>
                <a:gd name="connsiteY44" fmla="*/ 9190 h 10058"/>
                <a:gd name="connsiteX45" fmla="*/ 8519 w 10000"/>
                <a:gd name="connsiteY45" fmla="*/ 9190 h 10058"/>
                <a:gd name="connsiteX46" fmla="*/ 8759 w 10000"/>
                <a:gd name="connsiteY46" fmla="*/ 8742 h 10058"/>
                <a:gd name="connsiteX47" fmla="*/ 9775 w 10000"/>
                <a:gd name="connsiteY47" fmla="*/ 8721 h 10058"/>
                <a:gd name="connsiteX48" fmla="*/ 10000 w 10000"/>
                <a:gd name="connsiteY48" fmla="*/ 8539 h 10058"/>
                <a:gd name="connsiteX49" fmla="*/ 9983 w 10000"/>
                <a:gd name="connsiteY49" fmla="*/ 8319 h 10058"/>
                <a:gd name="connsiteX50" fmla="*/ 9915 w 10000"/>
                <a:gd name="connsiteY50" fmla="*/ 7830 h 10058"/>
                <a:gd name="connsiteX51" fmla="*/ 9490 w 10000"/>
                <a:gd name="connsiteY51" fmla="*/ 7669 h 10058"/>
                <a:gd name="connsiteX52" fmla="*/ 9287 w 10000"/>
                <a:gd name="connsiteY52" fmla="*/ 6890 h 10058"/>
                <a:gd name="connsiteX53" fmla="*/ 9168 w 10000"/>
                <a:gd name="connsiteY53" fmla="*/ 6800 h 10058"/>
                <a:gd name="connsiteX54" fmla="*/ 9137 w 10000"/>
                <a:gd name="connsiteY54" fmla="*/ 6245 h 10058"/>
                <a:gd name="connsiteX55" fmla="*/ 8984 w 10000"/>
                <a:gd name="connsiteY55" fmla="*/ 6219 h 10058"/>
                <a:gd name="connsiteX56" fmla="*/ 8927 w 10000"/>
                <a:gd name="connsiteY56" fmla="*/ 5935 h 10058"/>
                <a:gd name="connsiteX57" fmla="*/ 8673 w 10000"/>
                <a:gd name="connsiteY57" fmla="*/ 5864 h 10058"/>
                <a:gd name="connsiteX58" fmla="*/ 8588 w 10000"/>
                <a:gd name="connsiteY58" fmla="*/ 5422 h 10058"/>
                <a:gd name="connsiteX59" fmla="*/ 8166 w 10000"/>
                <a:gd name="connsiteY59" fmla="*/ 4997 h 10058"/>
                <a:gd name="connsiteX60" fmla="*/ 7705 w 10000"/>
                <a:gd name="connsiteY60" fmla="*/ 4928 h 10058"/>
                <a:gd name="connsiteX61" fmla="*/ 7827 w 10000"/>
                <a:gd name="connsiteY61" fmla="*/ 4439 h 10058"/>
                <a:gd name="connsiteX62" fmla="*/ 7794 w 10000"/>
                <a:gd name="connsiteY62" fmla="*/ 4081 h 10058"/>
                <a:gd name="connsiteX63" fmla="*/ 8183 w 10000"/>
                <a:gd name="connsiteY63" fmla="*/ 4106 h 10058"/>
                <a:gd name="connsiteX64" fmla="*/ 8267 w 10000"/>
                <a:gd name="connsiteY64" fmla="*/ 4213 h 10058"/>
                <a:gd name="connsiteX65" fmla="*/ 8504 w 10000"/>
                <a:gd name="connsiteY65" fmla="*/ 3989 h 10058"/>
                <a:gd name="connsiteX66" fmla="*/ 8573 w 10000"/>
                <a:gd name="connsiteY66" fmla="*/ 3192 h 10058"/>
                <a:gd name="connsiteX67" fmla="*/ 8472 w 10000"/>
                <a:gd name="connsiteY67" fmla="*/ 2587 h 10058"/>
                <a:gd name="connsiteX68" fmla="*/ 8759 w 10000"/>
                <a:gd name="connsiteY68" fmla="*/ 2097 h 10058"/>
                <a:gd name="connsiteX69" fmla="*/ 8673 w 10000"/>
                <a:gd name="connsiteY69" fmla="*/ 1627 h 10058"/>
                <a:gd name="connsiteX70" fmla="*/ 8984 w 10000"/>
                <a:gd name="connsiteY70" fmla="*/ 1433 h 10058"/>
                <a:gd name="connsiteX0" fmla="*/ 8673 w 10000"/>
                <a:gd name="connsiteY0" fmla="*/ 1637 h 10068"/>
                <a:gd name="connsiteX1" fmla="*/ 5698 w 10000"/>
                <a:gd name="connsiteY1" fmla="*/ 218 h 10068"/>
                <a:gd name="connsiteX2" fmla="*/ 2083 w 10000"/>
                <a:gd name="connsiteY2" fmla="*/ 190 h 10068"/>
                <a:gd name="connsiteX3" fmla="*/ 913 w 10000"/>
                <a:gd name="connsiteY3" fmla="*/ 2047 h 10068"/>
                <a:gd name="connsiteX4" fmla="*/ 208 w 10000"/>
                <a:gd name="connsiteY4" fmla="*/ 2481 h 10068"/>
                <a:gd name="connsiteX5" fmla="*/ 1 w 10000"/>
                <a:gd name="connsiteY5" fmla="*/ 3355 h 10068"/>
                <a:gd name="connsiteX6" fmla="*/ 140 w 10000"/>
                <a:gd name="connsiteY6" fmla="*/ 3510 h 10068"/>
                <a:gd name="connsiteX7" fmla="*/ 37 w 10000"/>
                <a:gd name="connsiteY7" fmla="*/ 3752 h 10068"/>
                <a:gd name="connsiteX8" fmla="*/ 615 w 10000"/>
                <a:gd name="connsiteY8" fmla="*/ 3823 h 10068"/>
                <a:gd name="connsiteX9" fmla="*/ 615 w 10000"/>
                <a:gd name="connsiteY9" fmla="*/ 3978 h 10068"/>
                <a:gd name="connsiteX10" fmla="*/ 595 w 10000"/>
                <a:gd name="connsiteY10" fmla="*/ 4336 h 10068"/>
                <a:gd name="connsiteX11" fmla="*/ 1206 w 10000"/>
                <a:gd name="connsiteY11" fmla="*/ 4467 h 10068"/>
                <a:gd name="connsiteX12" fmla="*/ 1206 w 10000"/>
                <a:gd name="connsiteY12" fmla="*/ 4765 h 10068"/>
                <a:gd name="connsiteX13" fmla="*/ 1530 w 10000"/>
                <a:gd name="connsiteY13" fmla="*/ 4983 h 10068"/>
                <a:gd name="connsiteX14" fmla="*/ 1428 w 10000"/>
                <a:gd name="connsiteY14" fmla="*/ 5315 h 10068"/>
                <a:gd name="connsiteX15" fmla="*/ 1882 w 10000"/>
                <a:gd name="connsiteY15" fmla="*/ 5607 h 10068"/>
                <a:gd name="connsiteX16" fmla="*/ 2158 w 10000"/>
                <a:gd name="connsiteY16" fmla="*/ 6141 h 10068"/>
                <a:gd name="connsiteX17" fmla="*/ 2411 w 10000"/>
                <a:gd name="connsiteY17" fmla="*/ 6346 h 10068"/>
                <a:gd name="connsiteX18" fmla="*/ 2310 w 10000"/>
                <a:gd name="connsiteY18" fmla="*/ 6525 h 10068"/>
                <a:gd name="connsiteX19" fmla="*/ 2446 w 10000"/>
                <a:gd name="connsiteY19" fmla="*/ 6722 h 10068"/>
                <a:gd name="connsiteX20" fmla="*/ 2426 w 10000"/>
                <a:gd name="connsiteY20" fmla="*/ 7008 h 10068"/>
                <a:gd name="connsiteX21" fmla="*/ 2688 w 10000"/>
                <a:gd name="connsiteY21" fmla="*/ 7037 h 10068"/>
                <a:gd name="connsiteX22" fmla="*/ 2972 w 10000"/>
                <a:gd name="connsiteY22" fmla="*/ 7351 h 10068"/>
                <a:gd name="connsiteX23" fmla="*/ 3042 w 10000"/>
                <a:gd name="connsiteY23" fmla="*/ 7840 h 10068"/>
                <a:gd name="connsiteX24" fmla="*/ 3106 w 10000"/>
                <a:gd name="connsiteY24" fmla="*/ 8019 h 10068"/>
                <a:gd name="connsiteX25" fmla="*/ 3464 w 10000"/>
                <a:gd name="connsiteY25" fmla="*/ 8437 h 10068"/>
                <a:gd name="connsiteX26" fmla="*/ 3464 w 10000"/>
                <a:gd name="connsiteY26" fmla="*/ 8752 h 10068"/>
                <a:gd name="connsiteX27" fmla="*/ 3990 w 10000"/>
                <a:gd name="connsiteY27" fmla="*/ 9092 h 10068"/>
                <a:gd name="connsiteX28" fmla="*/ 4279 w 10000"/>
                <a:gd name="connsiteY28" fmla="*/ 8731 h 10068"/>
                <a:gd name="connsiteX29" fmla="*/ 4637 w 10000"/>
                <a:gd name="connsiteY29" fmla="*/ 9002 h 10068"/>
                <a:gd name="connsiteX30" fmla="*/ 4922 w 10000"/>
                <a:gd name="connsiteY30" fmla="*/ 8595 h 10068"/>
                <a:gd name="connsiteX31" fmla="*/ 5246 w 10000"/>
                <a:gd name="connsiteY31" fmla="*/ 9242 h 10068"/>
                <a:gd name="connsiteX32" fmla="*/ 5704 w 10000"/>
                <a:gd name="connsiteY32" fmla="*/ 9602 h 10068"/>
                <a:gd name="connsiteX33" fmla="*/ 5754 w 10000"/>
                <a:gd name="connsiteY33" fmla="*/ 9918 h 10068"/>
                <a:gd name="connsiteX34" fmla="*/ 5942 w 10000"/>
                <a:gd name="connsiteY34" fmla="*/ 9959 h 10068"/>
                <a:gd name="connsiteX35" fmla="*/ 6212 w 10000"/>
                <a:gd name="connsiteY35" fmla="*/ 9665 h 10068"/>
                <a:gd name="connsiteX36" fmla="*/ 6554 w 10000"/>
                <a:gd name="connsiteY36" fmla="*/ 9845 h 10068"/>
                <a:gd name="connsiteX37" fmla="*/ 6671 w 10000"/>
                <a:gd name="connsiteY37" fmla="*/ 9690 h 10068"/>
                <a:gd name="connsiteX38" fmla="*/ 6793 w 10000"/>
                <a:gd name="connsiteY38" fmla="*/ 9665 h 10068"/>
                <a:gd name="connsiteX39" fmla="*/ 7026 w 10000"/>
                <a:gd name="connsiteY39" fmla="*/ 10068 h 10068"/>
                <a:gd name="connsiteX40" fmla="*/ 7248 w 10000"/>
                <a:gd name="connsiteY40" fmla="*/ 9732 h 10068"/>
                <a:gd name="connsiteX41" fmla="*/ 7518 w 10000"/>
                <a:gd name="connsiteY41" fmla="*/ 9754 h 10068"/>
                <a:gd name="connsiteX42" fmla="*/ 7724 w 10000"/>
                <a:gd name="connsiteY42" fmla="*/ 9575 h 10068"/>
                <a:gd name="connsiteX43" fmla="*/ 8013 w 10000"/>
                <a:gd name="connsiteY43" fmla="*/ 9754 h 10068"/>
                <a:gd name="connsiteX44" fmla="*/ 8387 w 10000"/>
                <a:gd name="connsiteY44" fmla="*/ 9200 h 10068"/>
                <a:gd name="connsiteX45" fmla="*/ 8519 w 10000"/>
                <a:gd name="connsiteY45" fmla="*/ 9200 h 10068"/>
                <a:gd name="connsiteX46" fmla="*/ 8759 w 10000"/>
                <a:gd name="connsiteY46" fmla="*/ 8752 h 10068"/>
                <a:gd name="connsiteX47" fmla="*/ 9775 w 10000"/>
                <a:gd name="connsiteY47" fmla="*/ 8731 h 10068"/>
                <a:gd name="connsiteX48" fmla="*/ 10000 w 10000"/>
                <a:gd name="connsiteY48" fmla="*/ 8549 h 10068"/>
                <a:gd name="connsiteX49" fmla="*/ 9983 w 10000"/>
                <a:gd name="connsiteY49" fmla="*/ 8329 h 10068"/>
                <a:gd name="connsiteX50" fmla="*/ 9915 w 10000"/>
                <a:gd name="connsiteY50" fmla="*/ 7840 h 10068"/>
                <a:gd name="connsiteX51" fmla="*/ 9490 w 10000"/>
                <a:gd name="connsiteY51" fmla="*/ 7679 h 10068"/>
                <a:gd name="connsiteX52" fmla="*/ 9287 w 10000"/>
                <a:gd name="connsiteY52" fmla="*/ 6900 h 10068"/>
                <a:gd name="connsiteX53" fmla="*/ 9168 w 10000"/>
                <a:gd name="connsiteY53" fmla="*/ 6810 h 10068"/>
                <a:gd name="connsiteX54" fmla="*/ 9137 w 10000"/>
                <a:gd name="connsiteY54" fmla="*/ 6255 h 10068"/>
                <a:gd name="connsiteX55" fmla="*/ 8984 w 10000"/>
                <a:gd name="connsiteY55" fmla="*/ 6229 h 10068"/>
                <a:gd name="connsiteX56" fmla="*/ 8927 w 10000"/>
                <a:gd name="connsiteY56" fmla="*/ 5945 h 10068"/>
                <a:gd name="connsiteX57" fmla="*/ 8673 w 10000"/>
                <a:gd name="connsiteY57" fmla="*/ 5874 h 10068"/>
                <a:gd name="connsiteX58" fmla="*/ 8588 w 10000"/>
                <a:gd name="connsiteY58" fmla="*/ 5432 h 10068"/>
                <a:gd name="connsiteX59" fmla="*/ 8166 w 10000"/>
                <a:gd name="connsiteY59" fmla="*/ 5007 h 10068"/>
                <a:gd name="connsiteX60" fmla="*/ 7705 w 10000"/>
                <a:gd name="connsiteY60" fmla="*/ 4938 h 10068"/>
                <a:gd name="connsiteX61" fmla="*/ 7827 w 10000"/>
                <a:gd name="connsiteY61" fmla="*/ 4449 h 10068"/>
                <a:gd name="connsiteX62" fmla="*/ 7794 w 10000"/>
                <a:gd name="connsiteY62" fmla="*/ 4091 h 10068"/>
                <a:gd name="connsiteX63" fmla="*/ 8183 w 10000"/>
                <a:gd name="connsiteY63" fmla="*/ 4116 h 10068"/>
                <a:gd name="connsiteX64" fmla="*/ 8267 w 10000"/>
                <a:gd name="connsiteY64" fmla="*/ 4223 h 10068"/>
                <a:gd name="connsiteX65" fmla="*/ 8504 w 10000"/>
                <a:gd name="connsiteY65" fmla="*/ 3999 h 10068"/>
                <a:gd name="connsiteX66" fmla="*/ 8573 w 10000"/>
                <a:gd name="connsiteY66" fmla="*/ 3202 h 10068"/>
                <a:gd name="connsiteX67" fmla="*/ 8472 w 10000"/>
                <a:gd name="connsiteY67" fmla="*/ 2597 h 10068"/>
                <a:gd name="connsiteX68" fmla="*/ 8759 w 10000"/>
                <a:gd name="connsiteY68" fmla="*/ 2107 h 10068"/>
                <a:gd name="connsiteX69" fmla="*/ 8673 w 10000"/>
                <a:gd name="connsiteY69" fmla="*/ 1637 h 10068"/>
                <a:gd name="connsiteX0" fmla="*/ 6142 w 10000"/>
                <a:gd name="connsiteY0" fmla="*/ 1552 h 10065"/>
                <a:gd name="connsiteX1" fmla="*/ 5698 w 10000"/>
                <a:gd name="connsiteY1" fmla="*/ 215 h 10065"/>
                <a:gd name="connsiteX2" fmla="*/ 2083 w 10000"/>
                <a:gd name="connsiteY2" fmla="*/ 187 h 10065"/>
                <a:gd name="connsiteX3" fmla="*/ 913 w 10000"/>
                <a:gd name="connsiteY3" fmla="*/ 2044 h 10065"/>
                <a:gd name="connsiteX4" fmla="*/ 208 w 10000"/>
                <a:gd name="connsiteY4" fmla="*/ 2478 h 10065"/>
                <a:gd name="connsiteX5" fmla="*/ 1 w 10000"/>
                <a:gd name="connsiteY5" fmla="*/ 3352 h 10065"/>
                <a:gd name="connsiteX6" fmla="*/ 140 w 10000"/>
                <a:gd name="connsiteY6" fmla="*/ 3507 h 10065"/>
                <a:gd name="connsiteX7" fmla="*/ 37 w 10000"/>
                <a:gd name="connsiteY7" fmla="*/ 3749 h 10065"/>
                <a:gd name="connsiteX8" fmla="*/ 615 w 10000"/>
                <a:gd name="connsiteY8" fmla="*/ 3820 h 10065"/>
                <a:gd name="connsiteX9" fmla="*/ 615 w 10000"/>
                <a:gd name="connsiteY9" fmla="*/ 3975 h 10065"/>
                <a:gd name="connsiteX10" fmla="*/ 595 w 10000"/>
                <a:gd name="connsiteY10" fmla="*/ 4333 h 10065"/>
                <a:gd name="connsiteX11" fmla="*/ 1206 w 10000"/>
                <a:gd name="connsiteY11" fmla="*/ 4464 h 10065"/>
                <a:gd name="connsiteX12" fmla="*/ 1206 w 10000"/>
                <a:gd name="connsiteY12" fmla="*/ 4762 h 10065"/>
                <a:gd name="connsiteX13" fmla="*/ 1530 w 10000"/>
                <a:gd name="connsiteY13" fmla="*/ 4980 h 10065"/>
                <a:gd name="connsiteX14" fmla="*/ 1428 w 10000"/>
                <a:gd name="connsiteY14" fmla="*/ 5312 h 10065"/>
                <a:gd name="connsiteX15" fmla="*/ 1882 w 10000"/>
                <a:gd name="connsiteY15" fmla="*/ 5604 h 10065"/>
                <a:gd name="connsiteX16" fmla="*/ 2158 w 10000"/>
                <a:gd name="connsiteY16" fmla="*/ 6138 h 10065"/>
                <a:gd name="connsiteX17" fmla="*/ 2411 w 10000"/>
                <a:gd name="connsiteY17" fmla="*/ 6343 h 10065"/>
                <a:gd name="connsiteX18" fmla="*/ 2310 w 10000"/>
                <a:gd name="connsiteY18" fmla="*/ 6522 h 10065"/>
                <a:gd name="connsiteX19" fmla="*/ 2446 w 10000"/>
                <a:gd name="connsiteY19" fmla="*/ 6719 h 10065"/>
                <a:gd name="connsiteX20" fmla="*/ 2426 w 10000"/>
                <a:gd name="connsiteY20" fmla="*/ 7005 h 10065"/>
                <a:gd name="connsiteX21" fmla="*/ 2688 w 10000"/>
                <a:gd name="connsiteY21" fmla="*/ 7034 h 10065"/>
                <a:gd name="connsiteX22" fmla="*/ 2972 w 10000"/>
                <a:gd name="connsiteY22" fmla="*/ 7348 h 10065"/>
                <a:gd name="connsiteX23" fmla="*/ 3042 w 10000"/>
                <a:gd name="connsiteY23" fmla="*/ 7837 h 10065"/>
                <a:gd name="connsiteX24" fmla="*/ 3106 w 10000"/>
                <a:gd name="connsiteY24" fmla="*/ 8016 h 10065"/>
                <a:gd name="connsiteX25" fmla="*/ 3464 w 10000"/>
                <a:gd name="connsiteY25" fmla="*/ 8434 h 10065"/>
                <a:gd name="connsiteX26" fmla="*/ 3464 w 10000"/>
                <a:gd name="connsiteY26" fmla="*/ 8749 h 10065"/>
                <a:gd name="connsiteX27" fmla="*/ 3990 w 10000"/>
                <a:gd name="connsiteY27" fmla="*/ 9089 h 10065"/>
                <a:gd name="connsiteX28" fmla="*/ 4279 w 10000"/>
                <a:gd name="connsiteY28" fmla="*/ 8728 h 10065"/>
                <a:gd name="connsiteX29" fmla="*/ 4637 w 10000"/>
                <a:gd name="connsiteY29" fmla="*/ 8999 h 10065"/>
                <a:gd name="connsiteX30" fmla="*/ 4922 w 10000"/>
                <a:gd name="connsiteY30" fmla="*/ 8592 h 10065"/>
                <a:gd name="connsiteX31" fmla="*/ 5246 w 10000"/>
                <a:gd name="connsiteY31" fmla="*/ 9239 h 10065"/>
                <a:gd name="connsiteX32" fmla="*/ 5704 w 10000"/>
                <a:gd name="connsiteY32" fmla="*/ 9599 h 10065"/>
                <a:gd name="connsiteX33" fmla="*/ 5754 w 10000"/>
                <a:gd name="connsiteY33" fmla="*/ 9915 h 10065"/>
                <a:gd name="connsiteX34" fmla="*/ 5942 w 10000"/>
                <a:gd name="connsiteY34" fmla="*/ 9956 h 10065"/>
                <a:gd name="connsiteX35" fmla="*/ 6212 w 10000"/>
                <a:gd name="connsiteY35" fmla="*/ 9662 h 10065"/>
                <a:gd name="connsiteX36" fmla="*/ 6554 w 10000"/>
                <a:gd name="connsiteY36" fmla="*/ 9842 h 10065"/>
                <a:gd name="connsiteX37" fmla="*/ 6671 w 10000"/>
                <a:gd name="connsiteY37" fmla="*/ 9687 h 10065"/>
                <a:gd name="connsiteX38" fmla="*/ 6793 w 10000"/>
                <a:gd name="connsiteY38" fmla="*/ 9662 h 10065"/>
                <a:gd name="connsiteX39" fmla="*/ 7026 w 10000"/>
                <a:gd name="connsiteY39" fmla="*/ 10065 h 10065"/>
                <a:gd name="connsiteX40" fmla="*/ 7248 w 10000"/>
                <a:gd name="connsiteY40" fmla="*/ 9729 h 10065"/>
                <a:gd name="connsiteX41" fmla="*/ 7518 w 10000"/>
                <a:gd name="connsiteY41" fmla="*/ 9751 h 10065"/>
                <a:gd name="connsiteX42" fmla="*/ 7724 w 10000"/>
                <a:gd name="connsiteY42" fmla="*/ 9572 h 10065"/>
                <a:gd name="connsiteX43" fmla="*/ 8013 w 10000"/>
                <a:gd name="connsiteY43" fmla="*/ 9751 h 10065"/>
                <a:gd name="connsiteX44" fmla="*/ 8387 w 10000"/>
                <a:gd name="connsiteY44" fmla="*/ 9197 h 10065"/>
                <a:gd name="connsiteX45" fmla="*/ 8519 w 10000"/>
                <a:gd name="connsiteY45" fmla="*/ 9197 h 10065"/>
                <a:gd name="connsiteX46" fmla="*/ 8759 w 10000"/>
                <a:gd name="connsiteY46" fmla="*/ 8749 h 10065"/>
                <a:gd name="connsiteX47" fmla="*/ 9775 w 10000"/>
                <a:gd name="connsiteY47" fmla="*/ 8728 h 10065"/>
                <a:gd name="connsiteX48" fmla="*/ 10000 w 10000"/>
                <a:gd name="connsiteY48" fmla="*/ 8546 h 10065"/>
                <a:gd name="connsiteX49" fmla="*/ 9983 w 10000"/>
                <a:gd name="connsiteY49" fmla="*/ 8326 h 10065"/>
                <a:gd name="connsiteX50" fmla="*/ 9915 w 10000"/>
                <a:gd name="connsiteY50" fmla="*/ 7837 h 10065"/>
                <a:gd name="connsiteX51" fmla="*/ 9490 w 10000"/>
                <a:gd name="connsiteY51" fmla="*/ 7676 h 10065"/>
                <a:gd name="connsiteX52" fmla="*/ 9287 w 10000"/>
                <a:gd name="connsiteY52" fmla="*/ 6897 h 10065"/>
                <a:gd name="connsiteX53" fmla="*/ 9168 w 10000"/>
                <a:gd name="connsiteY53" fmla="*/ 6807 h 10065"/>
                <a:gd name="connsiteX54" fmla="*/ 9137 w 10000"/>
                <a:gd name="connsiteY54" fmla="*/ 6252 h 10065"/>
                <a:gd name="connsiteX55" fmla="*/ 8984 w 10000"/>
                <a:gd name="connsiteY55" fmla="*/ 6226 h 10065"/>
                <a:gd name="connsiteX56" fmla="*/ 8927 w 10000"/>
                <a:gd name="connsiteY56" fmla="*/ 5942 h 10065"/>
                <a:gd name="connsiteX57" fmla="*/ 8673 w 10000"/>
                <a:gd name="connsiteY57" fmla="*/ 5871 h 10065"/>
                <a:gd name="connsiteX58" fmla="*/ 8588 w 10000"/>
                <a:gd name="connsiteY58" fmla="*/ 5429 h 10065"/>
                <a:gd name="connsiteX59" fmla="*/ 8166 w 10000"/>
                <a:gd name="connsiteY59" fmla="*/ 5004 h 10065"/>
                <a:gd name="connsiteX60" fmla="*/ 7705 w 10000"/>
                <a:gd name="connsiteY60" fmla="*/ 4935 h 10065"/>
                <a:gd name="connsiteX61" fmla="*/ 7827 w 10000"/>
                <a:gd name="connsiteY61" fmla="*/ 4446 h 10065"/>
                <a:gd name="connsiteX62" fmla="*/ 7794 w 10000"/>
                <a:gd name="connsiteY62" fmla="*/ 4088 h 10065"/>
                <a:gd name="connsiteX63" fmla="*/ 8183 w 10000"/>
                <a:gd name="connsiteY63" fmla="*/ 4113 h 10065"/>
                <a:gd name="connsiteX64" fmla="*/ 8267 w 10000"/>
                <a:gd name="connsiteY64" fmla="*/ 4220 h 10065"/>
                <a:gd name="connsiteX65" fmla="*/ 8504 w 10000"/>
                <a:gd name="connsiteY65" fmla="*/ 3996 h 10065"/>
                <a:gd name="connsiteX66" fmla="*/ 8573 w 10000"/>
                <a:gd name="connsiteY66" fmla="*/ 3199 h 10065"/>
                <a:gd name="connsiteX67" fmla="*/ 8472 w 10000"/>
                <a:gd name="connsiteY67" fmla="*/ 2594 h 10065"/>
                <a:gd name="connsiteX68" fmla="*/ 8759 w 10000"/>
                <a:gd name="connsiteY68" fmla="*/ 2104 h 10065"/>
                <a:gd name="connsiteX69" fmla="*/ 6142 w 10000"/>
                <a:gd name="connsiteY69" fmla="*/ 1552 h 10065"/>
                <a:gd name="connsiteX0" fmla="*/ 8600 w 10000"/>
                <a:gd name="connsiteY0" fmla="*/ 1552 h 10065"/>
                <a:gd name="connsiteX1" fmla="*/ 5698 w 10000"/>
                <a:gd name="connsiteY1" fmla="*/ 215 h 10065"/>
                <a:gd name="connsiteX2" fmla="*/ 2083 w 10000"/>
                <a:gd name="connsiteY2" fmla="*/ 187 h 10065"/>
                <a:gd name="connsiteX3" fmla="*/ 913 w 10000"/>
                <a:gd name="connsiteY3" fmla="*/ 2044 h 10065"/>
                <a:gd name="connsiteX4" fmla="*/ 208 w 10000"/>
                <a:gd name="connsiteY4" fmla="*/ 2478 h 10065"/>
                <a:gd name="connsiteX5" fmla="*/ 1 w 10000"/>
                <a:gd name="connsiteY5" fmla="*/ 3352 h 10065"/>
                <a:gd name="connsiteX6" fmla="*/ 140 w 10000"/>
                <a:gd name="connsiteY6" fmla="*/ 3507 h 10065"/>
                <a:gd name="connsiteX7" fmla="*/ 37 w 10000"/>
                <a:gd name="connsiteY7" fmla="*/ 3749 h 10065"/>
                <a:gd name="connsiteX8" fmla="*/ 615 w 10000"/>
                <a:gd name="connsiteY8" fmla="*/ 3820 h 10065"/>
                <a:gd name="connsiteX9" fmla="*/ 615 w 10000"/>
                <a:gd name="connsiteY9" fmla="*/ 3975 h 10065"/>
                <a:gd name="connsiteX10" fmla="*/ 595 w 10000"/>
                <a:gd name="connsiteY10" fmla="*/ 4333 h 10065"/>
                <a:gd name="connsiteX11" fmla="*/ 1206 w 10000"/>
                <a:gd name="connsiteY11" fmla="*/ 4464 h 10065"/>
                <a:gd name="connsiteX12" fmla="*/ 1206 w 10000"/>
                <a:gd name="connsiteY12" fmla="*/ 4762 h 10065"/>
                <a:gd name="connsiteX13" fmla="*/ 1530 w 10000"/>
                <a:gd name="connsiteY13" fmla="*/ 4980 h 10065"/>
                <a:gd name="connsiteX14" fmla="*/ 1428 w 10000"/>
                <a:gd name="connsiteY14" fmla="*/ 5312 h 10065"/>
                <a:gd name="connsiteX15" fmla="*/ 1882 w 10000"/>
                <a:gd name="connsiteY15" fmla="*/ 5604 h 10065"/>
                <a:gd name="connsiteX16" fmla="*/ 2158 w 10000"/>
                <a:gd name="connsiteY16" fmla="*/ 6138 h 10065"/>
                <a:gd name="connsiteX17" fmla="*/ 2411 w 10000"/>
                <a:gd name="connsiteY17" fmla="*/ 6343 h 10065"/>
                <a:gd name="connsiteX18" fmla="*/ 2310 w 10000"/>
                <a:gd name="connsiteY18" fmla="*/ 6522 h 10065"/>
                <a:gd name="connsiteX19" fmla="*/ 2446 w 10000"/>
                <a:gd name="connsiteY19" fmla="*/ 6719 h 10065"/>
                <a:gd name="connsiteX20" fmla="*/ 2426 w 10000"/>
                <a:gd name="connsiteY20" fmla="*/ 7005 h 10065"/>
                <a:gd name="connsiteX21" fmla="*/ 2688 w 10000"/>
                <a:gd name="connsiteY21" fmla="*/ 7034 h 10065"/>
                <a:gd name="connsiteX22" fmla="*/ 2972 w 10000"/>
                <a:gd name="connsiteY22" fmla="*/ 7348 h 10065"/>
                <a:gd name="connsiteX23" fmla="*/ 3042 w 10000"/>
                <a:gd name="connsiteY23" fmla="*/ 7837 h 10065"/>
                <a:gd name="connsiteX24" fmla="*/ 3106 w 10000"/>
                <a:gd name="connsiteY24" fmla="*/ 8016 h 10065"/>
                <a:gd name="connsiteX25" fmla="*/ 3464 w 10000"/>
                <a:gd name="connsiteY25" fmla="*/ 8434 h 10065"/>
                <a:gd name="connsiteX26" fmla="*/ 3464 w 10000"/>
                <a:gd name="connsiteY26" fmla="*/ 8749 h 10065"/>
                <a:gd name="connsiteX27" fmla="*/ 3990 w 10000"/>
                <a:gd name="connsiteY27" fmla="*/ 9089 h 10065"/>
                <a:gd name="connsiteX28" fmla="*/ 4279 w 10000"/>
                <a:gd name="connsiteY28" fmla="*/ 8728 h 10065"/>
                <a:gd name="connsiteX29" fmla="*/ 4637 w 10000"/>
                <a:gd name="connsiteY29" fmla="*/ 8999 h 10065"/>
                <a:gd name="connsiteX30" fmla="*/ 4922 w 10000"/>
                <a:gd name="connsiteY30" fmla="*/ 8592 h 10065"/>
                <a:gd name="connsiteX31" fmla="*/ 5246 w 10000"/>
                <a:gd name="connsiteY31" fmla="*/ 9239 h 10065"/>
                <a:gd name="connsiteX32" fmla="*/ 5704 w 10000"/>
                <a:gd name="connsiteY32" fmla="*/ 9599 h 10065"/>
                <a:gd name="connsiteX33" fmla="*/ 5754 w 10000"/>
                <a:gd name="connsiteY33" fmla="*/ 9915 h 10065"/>
                <a:gd name="connsiteX34" fmla="*/ 5942 w 10000"/>
                <a:gd name="connsiteY34" fmla="*/ 9956 h 10065"/>
                <a:gd name="connsiteX35" fmla="*/ 6212 w 10000"/>
                <a:gd name="connsiteY35" fmla="*/ 9662 h 10065"/>
                <a:gd name="connsiteX36" fmla="*/ 6554 w 10000"/>
                <a:gd name="connsiteY36" fmla="*/ 9842 h 10065"/>
                <a:gd name="connsiteX37" fmla="*/ 6671 w 10000"/>
                <a:gd name="connsiteY37" fmla="*/ 9687 h 10065"/>
                <a:gd name="connsiteX38" fmla="*/ 6793 w 10000"/>
                <a:gd name="connsiteY38" fmla="*/ 9662 h 10065"/>
                <a:gd name="connsiteX39" fmla="*/ 7026 w 10000"/>
                <a:gd name="connsiteY39" fmla="*/ 10065 h 10065"/>
                <a:gd name="connsiteX40" fmla="*/ 7248 w 10000"/>
                <a:gd name="connsiteY40" fmla="*/ 9729 h 10065"/>
                <a:gd name="connsiteX41" fmla="*/ 7518 w 10000"/>
                <a:gd name="connsiteY41" fmla="*/ 9751 h 10065"/>
                <a:gd name="connsiteX42" fmla="*/ 7724 w 10000"/>
                <a:gd name="connsiteY42" fmla="*/ 9572 h 10065"/>
                <a:gd name="connsiteX43" fmla="*/ 8013 w 10000"/>
                <a:gd name="connsiteY43" fmla="*/ 9751 h 10065"/>
                <a:gd name="connsiteX44" fmla="*/ 8387 w 10000"/>
                <a:gd name="connsiteY44" fmla="*/ 9197 h 10065"/>
                <a:gd name="connsiteX45" fmla="*/ 8519 w 10000"/>
                <a:gd name="connsiteY45" fmla="*/ 9197 h 10065"/>
                <a:gd name="connsiteX46" fmla="*/ 8759 w 10000"/>
                <a:gd name="connsiteY46" fmla="*/ 8749 h 10065"/>
                <a:gd name="connsiteX47" fmla="*/ 9775 w 10000"/>
                <a:gd name="connsiteY47" fmla="*/ 8728 h 10065"/>
                <a:gd name="connsiteX48" fmla="*/ 10000 w 10000"/>
                <a:gd name="connsiteY48" fmla="*/ 8546 h 10065"/>
                <a:gd name="connsiteX49" fmla="*/ 9983 w 10000"/>
                <a:gd name="connsiteY49" fmla="*/ 8326 h 10065"/>
                <a:gd name="connsiteX50" fmla="*/ 9915 w 10000"/>
                <a:gd name="connsiteY50" fmla="*/ 7837 h 10065"/>
                <a:gd name="connsiteX51" fmla="*/ 9490 w 10000"/>
                <a:gd name="connsiteY51" fmla="*/ 7676 h 10065"/>
                <a:gd name="connsiteX52" fmla="*/ 9287 w 10000"/>
                <a:gd name="connsiteY52" fmla="*/ 6897 h 10065"/>
                <a:gd name="connsiteX53" fmla="*/ 9168 w 10000"/>
                <a:gd name="connsiteY53" fmla="*/ 6807 h 10065"/>
                <a:gd name="connsiteX54" fmla="*/ 9137 w 10000"/>
                <a:gd name="connsiteY54" fmla="*/ 6252 h 10065"/>
                <a:gd name="connsiteX55" fmla="*/ 8984 w 10000"/>
                <a:gd name="connsiteY55" fmla="*/ 6226 h 10065"/>
                <a:gd name="connsiteX56" fmla="*/ 8927 w 10000"/>
                <a:gd name="connsiteY56" fmla="*/ 5942 h 10065"/>
                <a:gd name="connsiteX57" fmla="*/ 8673 w 10000"/>
                <a:gd name="connsiteY57" fmla="*/ 5871 h 10065"/>
                <a:gd name="connsiteX58" fmla="*/ 8588 w 10000"/>
                <a:gd name="connsiteY58" fmla="*/ 5429 h 10065"/>
                <a:gd name="connsiteX59" fmla="*/ 8166 w 10000"/>
                <a:gd name="connsiteY59" fmla="*/ 5004 h 10065"/>
                <a:gd name="connsiteX60" fmla="*/ 7705 w 10000"/>
                <a:gd name="connsiteY60" fmla="*/ 4935 h 10065"/>
                <a:gd name="connsiteX61" fmla="*/ 7827 w 10000"/>
                <a:gd name="connsiteY61" fmla="*/ 4446 h 10065"/>
                <a:gd name="connsiteX62" fmla="*/ 7794 w 10000"/>
                <a:gd name="connsiteY62" fmla="*/ 4088 h 10065"/>
                <a:gd name="connsiteX63" fmla="*/ 8183 w 10000"/>
                <a:gd name="connsiteY63" fmla="*/ 4113 h 10065"/>
                <a:gd name="connsiteX64" fmla="*/ 8267 w 10000"/>
                <a:gd name="connsiteY64" fmla="*/ 4220 h 10065"/>
                <a:gd name="connsiteX65" fmla="*/ 8504 w 10000"/>
                <a:gd name="connsiteY65" fmla="*/ 3996 h 10065"/>
                <a:gd name="connsiteX66" fmla="*/ 8573 w 10000"/>
                <a:gd name="connsiteY66" fmla="*/ 3199 h 10065"/>
                <a:gd name="connsiteX67" fmla="*/ 8472 w 10000"/>
                <a:gd name="connsiteY67" fmla="*/ 2594 h 10065"/>
                <a:gd name="connsiteX68" fmla="*/ 8759 w 10000"/>
                <a:gd name="connsiteY68" fmla="*/ 2104 h 10065"/>
                <a:gd name="connsiteX69" fmla="*/ 8600 w 10000"/>
                <a:gd name="connsiteY69" fmla="*/ 1552 h 10065"/>
                <a:gd name="connsiteX0" fmla="*/ 8600 w 10000"/>
                <a:gd name="connsiteY0" fmla="*/ 1552 h 10065"/>
                <a:gd name="connsiteX1" fmla="*/ 5698 w 10000"/>
                <a:gd name="connsiteY1" fmla="*/ 215 h 10065"/>
                <a:gd name="connsiteX2" fmla="*/ 2083 w 10000"/>
                <a:gd name="connsiteY2" fmla="*/ 187 h 10065"/>
                <a:gd name="connsiteX3" fmla="*/ 913 w 10000"/>
                <a:gd name="connsiteY3" fmla="*/ 2044 h 10065"/>
                <a:gd name="connsiteX4" fmla="*/ 208 w 10000"/>
                <a:gd name="connsiteY4" fmla="*/ 2478 h 10065"/>
                <a:gd name="connsiteX5" fmla="*/ 1 w 10000"/>
                <a:gd name="connsiteY5" fmla="*/ 3352 h 10065"/>
                <a:gd name="connsiteX6" fmla="*/ 140 w 10000"/>
                <a:gd name="connsiteY6" fmla="*/ 3507 h 10065"/>
                <a:gd name="connsiteX7" fmla="*/ 37 w 10000"/>
                <a:gd name="connsiteY7" fmla="*/ 3749 h 10065"/>
                <a:gd name="connsiteX8" fmla="*/ 615 w 10000"/>
                <a:gd name="connsiteY8" fmla="*/ 3820 h 10065"/>
                <a:gd name="connsiteX9" fmla="*/ 615 w 10000"/>
                <a:gd name="connsiteY9" fmla="*/ 3975 h 10065"/>
                <a:gd name="connsiteX10" fmla="*/ 595 w 10000"/>
                <a:gd name="connsiteY10" fmla="*/ 4333 h 10065"/>
                <a:gd name="connsiteX11" fmla="*/ 1206 w 10000"/>
                <a:gd name="connsiteY11" fmla="*/ 4464 h 10065"/>
                <a:gd name="connsiteX12" fmla="*/ 1206 w 10000"/>
                <a:gd name="connsiteY12" fmla="*/ 4762 h 10065"/>
                <a:gd name="connsiteX13" fmla="*/ 1530 w 10000"/>
                <a:gd name="connsiteY13" fmla="*/ 4980 h 10065"/>
                <a:gd name="connsiteX14" fmla="*/ 1428 w 10000"/>
                <a:gd name="connsiteY14" fmla="*/ 5312 h 10065"/>
                <a:gd name="connsiteX15" fmla="*/ 1882 w 10000"/>
                <a:gd name="connsiteY15" fmla="*/ 5604 h 10065"/>
                <a:gd name="connsiteX16" fmla="*/ 2158 w 10000"/>
                <a:gd name="connsiteY16" fmla="*/ 6138 h 10065"/>
                <a:gd name="connsiteX17" fmla="*/ 2411 w 10000"/>
                <a:gd name="connsiteY17" fmla="*/ 6343 h 10065"/>
                <a:gd name="connsiteX18" fmla="*/ 2310 w 10000"/>
                <a:gd name="connsiteY18" fmla="*/ 6522 h 10065"/>
                <a:gd name="connsiteX19" fmla="*/ 2446 w 10000"/>
                <a:gd name="connsiteY19" fmla="*/ 6719 h 10065"/>
                <a:gd name="connsiteX20" fmla="*/ 2426 w 10000"/>
                <a:gd name="connsiteY20" fmla="*/ 7005 h 10065"/>
                <a:gd name="connsiteX21" fmla="*/ 2688 w 10000"/>
                <a:gd name="connsiteY21" fmla="*/ 7034 h 10065"/>
                <a:gd name="connsiteX22" fmla="*/ 2972 w 10000"/>
                <a:gd name="connsiteY22" fmla="*/ 7348 h 10065"/>
                <a:gd name="connsiteX23" fmla="*/ 3042 w 10000"/>
                <a:gd name="connsiteY23" fmla="*/ 7837 h 10065"/>
                <a:gd name="connsiteX24" fmla="*/ 3106 w 10000"/>
                <a:gd name="connsiteY24" fmla="*/ 8016 h 10065"/>
                <a:gd name="connsiteX25" fmla="*/ 3464 w 10000"/>
                <a:gd name="connsiteY25" fmla="*/ 8434 h 10065"/>
                <a:gd name="connsiteX26" fmla="*/ 3464 w 10000"/>
                <a:gd name="connsiteY26" fmla="*/ 8749 h 10065"/>
                <a:gd name="connsiteX27" fmla="*/ 3990 w 10000"/>
                <a:gd name="connsiteY27" fmla="*/ 9089 h 10065"/>
                <a:gd name="connsiteX28" fmla="*/ 4279 w 10000"/>
                <a:gd name="connsiteY28" fmla="*/ 8728 h 10065"/>
                <a:gd name="connsiteX29" fmla="*/ 4637 w 10000"/>
                <a:gd name="connsiteY29" fmla="*/ 8999 h 10065"/>
                <a:gd name="connsiteX30" fmla="*/ 4922 w 10000"/>
                <a:gd name="connsiteY30" fmla="*/ 8592 h 10065"/>
                <a:gd name="connsiteX31" fmla="*/ 5246 w 10000"/>
                <a:gd name="connsiteY31" fmla="*/ 9239 h 10065"/>
                <a:gd name="connsiteX32" fmla="*/ 5704 w 10000"/>
                <a:gd name="connsiteY32" fmla="*/ 9599 h 10065"/>
                <a:gd name="connsiteX33" fmla="*/ 5754 w 10000"/>
                <a:gd name="connsiteY33" fmla="*/ 9915 h 10065"/>
                <a:gd name="connsiteX34" fmla="*/ 5942 w 10000"/>
                <a:gd name="connsiteY34" fmla="*/ 9956 h 10065"/>
                <a:gd name="connsiteX35" fmla="*/ 6212 w 10000"/>
                <a:gd name="connsiteY35" fmla="*/ 9662 h 10065"/>
                <a:gd name="connsiteX36" fmla="*/ 6554 w 10000"/>
                <a:gd name="connsiteY36" fmla="*/ 9842 h 10065"/>
                <a:gd name="connsiteX37" fmla="*/ 6671 w 10000"/>
                <a:gd name="connsiteY37" fmla="*/ 9687 h 10065"/>
                <a:gd name="connsiteX38" fmla="*/ 6793 w 10000"/>
                <a:gd name="connsiteY38" fmla="*/ 9662 h 10065"/>
                <a:gd name="connsiteX39" fmla="*/ 7026 w 10000"/>
                <a:gd name="connsiteY39" fmla="*/ 10065 h 10065"/>
                <a:gd name="connsiteX40" fmla="*/ 7248 w 10000"/>
                <a:gd name="connsiteY40" fmla="*/ 9729 h 10065"/>
                <a:gd name="connsiteX41" fmla="*/ 7518 w 10000"/>
                <a:gd name="connsiteY41" fmla="*/ 9751 h 10065"/>
                <a:gd name="connsiteX42" fmla="*/ 7724 w 10000"/>
                <a:gd name="connsiteY42" fmla="*/ 9572 h 10065"/>
                <a:gd name="connsiteX43" fmla="*/ 8013 w 10000"/>
                <a:gd name="connsiteY43" fmla="*/ 9751 h 10065"/>
                <a:gd name="connsiteX44" fmla="*/ 8387 w 10000"/>
                <a:gd name="connsiteY44" fmla="*/ 9197 h 10065"/>
                <a:gd name="connsiteX45" fmla="*/ 8519 w 10000"/>
                <a:gd name="connsiteY45" fmla="*/ 9197 h 10065"/>
                <a:gd name="connsiteX46" fmla="*/ 8759 w 10000"/>
                <a:gd name="connsiteY46" fmla="*/ 8749 h 10065"/>
                <a:gd name="connsiteX47" fmla="*/ 9775 w 10000"/>
                <a:gd name="connsiteY47" fmla="*/ 8728 h 10065"/>
                <a:gd name="connsiteX48" fmla="*/ 10000 w 10000"/>
                <a:gd name="connsiteY48" fmla="*/ 8546 h 10065"/>
                <a:gd name="connsiteX49" fmla="*/ 9983 w 10000"/>
                <a:gd name="connsiteY49" fmla="*/ 8326 h 10065"/>
                <a:gd name="connsiteX50" fmla="*/ 9915 w 10000"/>
                <a:gd name="connsiteY50" fmla="*/ 7837 h 10065"/>
                <a:gd name="connsiteX51" fmla="*/ 9490 w 10000"/>
                <a:gd name="connsiteY51" fmla="*/ 7676 h 10065"/>
                <a:gd name="connsiteX52" fmla="*/ 9287 w 10000"/>
                <a:gd name="connsiteY52" fmla="*/ 6897 h 10065"/>
                <a:gd name="connsiteX53" fmla="*/ 9168 w 10000"/>
                <a:gd name="connsiteY53" fmla="*/ 6807 h 10065"/>
                <a:gd name="connsiteX54" fmla="*/ 9137 w 10000"/>
                <a:gd name="connsiteY54" fmla="*/ 6252 h 10065"/>
                <a:gd name="connsiteX55" fmla="*/ 8984 w 10000"/>
                <a:gd name="connsiteY55" fmla="*/ 6226 h 10065"/>
                <a:gd name="connsiteX56" fmla="*/ 8927 w 10000"/>
                <a:gd name="connsiteY56" fmla="*/ 5942 h 10065"/>
                <a:gd name="connsiteX57" fmla="*/ 8673 w 10000"/>
                <a:gd name="connsiteY57" fmla="*/ 5871 h 10065"/>
                <a:gd name="connsiteX58" fmla="*/ 8588 w 10000"/>
                <a:gd name="connsiteY58" fmla="*/ 5429 h 10065"/>
                <a:gd name="connsiteX59" fmla="*/ 8166 w 10000"/>
                <a:gd name="connsiteY59" fmla="*/ 5004 h 10065"/>
                <a:gd name="connsiteX60" fmla="*/ 7705 w 10000"/>
                <a:gd name="connsiteY60" fmla="*/ 4935 h 10065"/>
                <a:gd name="connsiteX61" fmla="*/ 7827 w 10000"/>
                <a:gd name="connsiteY61" fmla="*/ 4446 h 10065"/>
                <a:gd name="connsiteX62" fmla="*/ 7794 w 10000"/>
                <a:gd name="connsiteY62" fmla="*/ 4088 h 10065"/>
                <a:gd name="connsiteX63" fmla="*/ 8183 w 10000"/>
                <a:gd name="connsiteY63" fmla="*/ 4113 h 10065"/>
                <a:gd name="connsiteX64" fmla="*/ 8267 w 10000"/>
                <a:gd name="connsiteY64" fmla="*/ 4220 h 10065"/>
                <a:gd name="connsiteX65" fmla="*/ 8504 w 10000"/>
                <a:gd name="connsiteY65" fmla="*/ 3996 h 10065"/>
                <a:gd name="connsiteX66" fmla="*/ 8573 w 10000"/>
                <a:gd name="connsiteY66" fmla="*/ 3199 h 10065"/>
                <a:gd name="connsiteX67" fmla="*/ 8472 w 10000"/>
                <a:gd name="connsiteY67" fmla="*/ 2594 h 10065"/>
                <a:gd name="connsiteX68" fmla="*/ 8759 w 10000"/>
                <a:gd name="connsiteY68" fmla="*/ 2104 h 10065"/>
                <a:gd name="connsiteX69" fmla="*/ 8600 w 10000"/>
                <a:gd name="connsiteY69" fmla="*/ 1552 h 10065"/>
                <a:gd name="connsiteX0" fmla="*/ 5129 w 10000"/>
                <a:gd name="connsiteY0" fmla="*/ 2678 h 10128"/>
                <a:gd name="connsiteX1" fmla="*/ 5698 w 10000"/>
                <a:gd name="connsiteY1" fmla="*/ 278 h 10128"/>
                <a:gd name="connsiteX2" fmla="*/ 2083 w 10000"/>
                <a:gd name="connsiteY2" fmla="*/ 250 h 10128"/>
                <a:gd name="connsiteX3" fmla="*/ 913 w 10000"/>
                <a:gd name="connsiteY3" fmla="*/ 2107 h 10128"/>
                <a:gd name="connsiteX4" fmla="*/ 208 w 10000"/>
                <a:gd name="connsiteY4" fmla="*/ 2541 h 10128"/>
                <a:gd name="connsiteX5" fmla="*/ 1 w 10000"/>
                <a:gd name="connsiteY5" fmla="*/ 3415 h 10128"/>
                <a:gd name="connsiteX6" fmla="*/ 140 w 10000"/>
                <a:gd name="connsiteY6" fmla="*/ 3570 h 10128"/>
                <a:gd name="connsiteX7" fmla="*/ 37 w 10000"/>
                <a:gd name="connsiteY7" fmla="*/ 3812 h 10128"/>
                <a:gd name="connsiteX8" fmla="*/ 615 w 10000"/>
                <a:gd name="connsiteY8" fmla="*/ 3883 h 10128"/>
                <a:gd name="connsiteX9" fmla="*/ 615 w 10000"/>
                <a:gd name="connsiteY9" fmla="*/ 4038 h 10128"/>
                <a:gd name="connsiteX10" fmla="*/ 595 w 10000"/>
                <a:gd name="connsiteY10" fmla="*/ 4396 h 10128"/>
                <a:gd name="connsiteX11" fmla="*/ 1206 w 10000"/>
                <a:gd name="connsiteY11" fmla="*/ 4527 h 10128"/>
                <a:gd name="connsiteX12" fmla="*/ 1206 w 10000"/>
                <a:gd name="connsiteY12" fmla="*/ 4825 h 10128"/>
                <a:gd name="connsiteX13" fmla="*/ 1530 w 10000"/>
                <a:gd name="connsiteY13" fmla="*/ 5043 h 10128"/>
                <a:gd name="connsiteX14" fmla="*/ 1428 w 10000"/>
                <a:gd name="connsiteY14" fmla="*/ 5375 h 10128"/>
                <a:gd name="connsiteX15" fmla="*/ 1882 w 10000"/>
                <a:gd name="connsiteY15" fmla="*/ 5667 h 10128"/>
                <a:gd name="connsiteX16" fmla="*/ 2158 w 10000"/>
                <a:gd name="connsiteY16" fmla="*/ 6201 h 10128"/>
                <a:gd name="connsiteX17" fmla="*/ 2411 w 10000"/>
                <a:gd name="connsiteY17" fmla="*/ 6406 h 10128"/>
                <a:gd name="connsiteX18" fmla="*/ 2310 w 10000"/>
                <a:gd name="connsiteY18" fmla="*/ 6585 h 10128"/>
                <a:gd name="connsiteX19" fmla="*/ 2446 w 10000"/>
                <a:gd name="connsiteY19" fmla="*/ 6782 h 10128"/>
                <a:gd name="connsiteX20" fmla="*/ 2426 w 10000"/>
                <a:gd name="connsiteY20" fmla="*/ 7068 h 10128"/>
                <a:gd name="connsiteX21" fmla="*/ 2688 w 10000"/>
                <a:gd name="connsiteY21" fmla="*/ 7097 h 10128"/>
                <a:gd name="connsiteX22" fmla="*/ 2972 w 10000"/>
                <a:gd name="connsiteY22" fmla="*/ 7411 h 10128"/>
                <a:gd name="connsiteX23" fmla="*/ 3042 w 10000"/>
                <a:gd name="connsiteY23" fmla="*/ 7900 h 10128"/>
                <a:gd name="connsiteX24" fmla="*/ 3106 w 10000"/>
                <a:gd name="connsiteY24" fmla="*/ 8079 h 10128"/>
                <a:gd name="connsiteX25" fmla="*/ 3464 w 10000"/>
                <a:gd name="connsiteY25" fmla="*/ 8497 h 10128"/>
                <a:gd name="connsiteX26" fmla="*/ 3464 w 10000"/>
                <a:gd name="connsiteY26" fmla="*/ 8812 h 10128"/>
                <a:gd name="connsiteX27" fmla="*/ 3990 w 10000"/>
                <a:gd name="connsiteY27" fmla="*/ 9152 h 10128"/>
                <a:gd name="connsiteX28" fmla="*/ 4279 w 10000"/>
                <a:gd name="connsiteY28" fmla="*/ 8791 h 10128"/>
                <a:gd name="connsiteX29" fmla="*/ 4637 w 10000"/>
                <a:gd name="connsiteY29" fmla="*/ 9062 h 10128"/>
                <a:gd name="connsiteX30" fmla="*/ 4922 w 10000"/>
                <a:gd name="connsiteY30" fmla="*/ 8655 h 10128"/>
                <a:gd name="connsiteX31" fmla="*/ 5246 w 10000"/>
                <a:gd name="connsiteY31" fmla="*/ 9302 h 10128"/>
                <a:gd name="connsiteX32" fmla="*/ 5704 w 10000"/>
                <a:gd name="connsiteY32" fmla="*/ 9662 h 10128"/>
                <a:gd name="connsiteX33" fmla="*/ 5754 w 10000"/>
                <a:gd name="connsiteY33" fmla="*/ 9978 h 10128"/>
                <a:gd name="connsiteX34" fmla="*/ 5942 w 10000"/>
                <a:gd name="connsiteY34" fmla="*/ 10019 h 10128"/>
                <a:gd name="connsiteX35" fmla="*/ 6212 w 10000"/>
                <a:gd name="connsiteY35" fmla="*/ 9725 h 10128"/>
                <a:gd name="connsiteX36" fmla="*/ 6554 w 10000"/>
                <a:gd name="connsiteY36" fmla="*/ 9905 h 10128"/>
                <a:gd name="connsiteX37" fmla="*/ 6671 w 10000"/>
                <a:gd name="connsiteY37" fmla="*/ 9750 h 10128"/>
                <a:gd name="connsiteX38" fmla="*/ 6793 w 10000"/>
                <a:gd name="connsiteY38" fmla="*/ 9725 h 10128"/>
                <a:gd name="connsiteX39" fmla="*/ 7026 w 10000"/>
                <a:gd name="connsiteY39" fmla="*/ 10128 h 10128"/>
                <a:gd name="connsiteX40" fmla="*/ 7248 w 10000"/>
                <a:gd name="connsiteY40" fmla="*/ 9792 h 10128"/>
                <a:gd name="connsiteX41" fmla="*/ 7518 w 10000"/>
                <a:gd name="connsiteY41" fmla="*/ 9814 h 10128"/>
                <a:gd name="connsiteX42" fmla="*/ 7724 w 10000"/>
                <a:gd name="connsiteY42" fmla="*/ 9635 h 10128"/>
                <a:gd name="connsiteX43" fmla="*/ 8013 w 10000"/>
                <a:gd name="connsiteY43" fmla="*/ 9814 h 10128"/>
                <a:gd name="connsiteX44" fmla="*/ 8387 w 10000"/>
                <a:gd name="connsiteY44" fmla="*/ 9260 h 10128"/>
                <a:gd name="connsiteX45" fmla="*/ 8519 w 10000"/>
                <a:gd name="connsiteY45" fmla="*/ 9260 h 10128"/>
                <a:gd name="connsiteX46" fmla="*/ 8759 w 10000"/>
                <a:gd name="connsiteY46" fmla="*/ 8812 h 10128"/>
                <a:gd name="connsiteX47" fmla="*/ 9775 w 10000"/>
                <a:gd name="connsiteY47" fmla="*/ 8791 h 10128"/>
                <a:gd name="connsiteX48" fmla="*/ 10000 w 10000"/>
                <a:gd name="connsiteY48" fmla="*/ 8609 h 10128"/>
                <a:gd name="connsiteX49" fmla="*/ 9983 w 10000"/>
                <a:gd name="connsiteY49" fmla="*/ 8389 h 10128"/>
                <a:gd name="connsiteX50" fmla="*/ 9915 w 10000"/>
                <a:gd name="connsiteY50" fmla="*/ 7900 h 10128"/>
                <a:gd name="connsiteX51" fmla="*/ 9490 w 10000"/>
                <a:gd name="connsiteY51" fmla="*/ 7739 h 10128"/>
                <a:gd name="connsiteX52" fmla="*/ 9287 w 10000"/>
                <a:gd name="connsiteY52" fmla="*/ 6960 h 10128"/>
                <a:gd name="connsiteX53" fmla="*/ 9168 w 10000"/>
                <a:gd name="connsiteY53" fmla="*/ 6870 h 10128"/>
                <a:gd name="connsiteX54" fmla="*/ 9137 w 10000"/>
                <a:gd name="connsiteY54" fmla="*/ 6315 h 10128"/>
                <a:gd name="connsiteX55" fmla="*/ 8984 w 10000"/>
                <a:gd name="connsiteY55" fmla="*/ 6289 h 10128"/>
                <a:gd name="connsiteX56" fmla="*/ 8927 w 10000"/>
                <a:gd name="connsiteY56" fmla="*/ 6005 h 10128"/>
                <a:gd name="connsiteX57" fmla="*/ 8673 w 10000"/>
                <a:gd name="connsiteY57" fmla="*/ 5934 h 10128"/>
                <a:gd name="connsiteX58" fmla="*/ 8588 w 10000"/>
                <a:gd name="connsiteY58" fmla="*/ 5492 h 10128"/>
                <a:gd name="connsiteX59" fmla="*/ 8166 w 10000"/>
                <a:gd name="connsiteY59" fmla="*/ 5067 h 10128"/>
                <a:gd name="connsiteX60" fmla="*/ 7705 w 10000"/>
                <a:gd name="connsiteY60" fmla="*/ 4998 h 10128"/>
                <a:gd name="connsiteX61" fmla="*/ 7827 w 10000"/>
                <a:gd name="connsiteY61" fmla="*/ 4509 h 10128"/>
                <a:gd name="connsiteX62" fmla="*/ 7794 w 10000"/>
                <a:gd name="connsiteY62" fmla="*/ 4151 h 10128"/>
                <a:gd name="connsiteX63" fmla="*/ 8183 w 10000"/>
                <a:gd name="connsiteY63" fmla="*/ 4176 h 10128"/>
                <a:gd name="connsiteX64" fmla="*/ 8267 w 10000"/>
                <a:gd name="connsiteY64" fmla="*/ 4283 h 10128"/>
                <a:gd name="connsiteX65" fmla="*/ 8504 w 10000"/>
                <a:gd name="connsiteY65" fmla="*/ 4059 h 10128"/>
                <a:gd name="connsiteX66" fmla="*/ 8573 w 10000"/>
                <a:gd name="connsiteY66" fmla="*/ 3262 h 10128"/>
                <a:gd name="connsiteX67" fmla="*/ 8472 w 10000"/>
                <a:gd name="connsiteY67" fmla="*/ 2657 h 10128"/>
                <a:gd name="connsiteX68" fmla="*/ 8759 w 10000"/>
                <a:gd name="connsiteY68" fmla="*/ 2167 h 10128"/>
                <a:gd name="connsiteX69" fmla="*/ 5129 w 10000"/>
                <a:gd name="connsiteY69" fmla="*/ 2678 h 10128"/>
                <a:gd name="connsiteX0" fmla="*/ 8310 w 10000"/>
                <a:gd name="connsiteY0" fmla="*/ 1552 h 10065"/>
                <a:gd name="connsiteX1" fmla="*/ 5698 w 10000"/>
                <a:gd name="connsiteY1" fmla="*/ 215 h 10065"/>
                <a:gd name="connsiteX2" fmla="*/ 2083 w 10000"/>
                <a:gd name="connsiteY2" fmla="*/ 187 h 10065"/>
                <a:gd name="connsiteX3" fmla="*/ 913 w 10000"/>
                <a:gd name="connsiteY3" fmla="*/ 2044 h 10065"/>
                <a:gd name="connsiteX4" fmla="*/ 208 w 10000"/>
                <a:gd name="connsiteY4" fmla="*/ 2478 h 10065"/>
                <a:gd name="connsiteX5" fmla="*/ 1 w 10000"/>
                <a:gd name="connsiteY5" fmla="*/ 3352 h 10065"/>
                <a:gd name="connsiteX6" fmla="*/ 140 w 10000"/>
                <a:gd name="connsiteY6" fmla="*/ 3507 h 10065"/>
                <a:gd name="connsiteX7" fmla="*/ 37 w 10000"/>
                <a:gd name="connsiteY7" fmla="*/ 3749 h 10065"/>
                <a:gd name="connsiteX8" fmla="*/ 615 w 10000"/>
                <a:gd name="connsiteY8" fmla="*/ 3820 h 10065"/>
                <a:gd name="connsiteX9" fmla="*/ 615 w 10000"/>
                <a:gd name="connsiteY9" fmla="*/ 3975 h 10065"/>
                <a:gd name="connsiteX10" fmla="*/ 595 w 10000"/>
                <a:gd name="connsiteY10" fmla="*/ 4333 h 10065"/>
                <a:gd name="connsiteX11" fmla="*/ 1206 w 10000"/>
                <a:gd name="connsiteY11" fmla="*/ 4464 h 10065"/>
                <a:gd name="connsiteX12" fmla="*/ 1206 w 10000"/>
                <a:gd name="connsiteY12" fmla="*/ 4762 h 10065"/>
                <a:gd name="connsiteX13" fmla="*/ 1530 w 10000"/>
                <a:gd name="connsiteY13" fmla="*/ 4980 h 10065"/>
                <a:gd name="connsiteX14" fmla="*/ 1428 w 10000"/>
                <a:gd name="connsiteY14" fmla="*/ 5312 h 10065"/>
                <a:gd name="connsiteX15" fmla="*/ 1882 w 10000"/>
                <a:gd name="connsiteY15" fmla="*/ 5604 h 10065"/>
                <a:gd name="connsiteX16" fmla="*/ 2158 w 10000"/>
                <a:gd name="connsiteY16" fmla="*/ 6138 h 10065"/>
                <a:gd name="connsiteX17" fmla="*/ 2411 w 10000"/>
                <a:gd name="connsiteY17" fmla="*/ 6343 h 10065"/>
                <a:gd name="connsiteX18" fmla="*/ 2310 w 10000"/>
                <a:gd name="connsiteY18" fmla="*/ 6522 h 10065"/>
                <a:gd name="connsiteX19" fmla="*/ 2446 w 10000"/>
                <a:gd name="connsiteY19" fmla="*/ 6719 h 10065"/>
                <a:gd name="connsiteX20" fmla="*/ 2426 w 10000"/>
                <a:gd name="connsiteY20" fmla="*/ 7005 h 10065"/>
                <a:gd name="connsiteX21" fmla="*/ 2688 w 10000"/>
                <a:gd name="connsiteY21" fmla="*/ 7034 h 10065"/>
                <a:gd name="connsiteX22" fmla="*/ 2972 w 10000"/>
                <a:gd name="connsiteY22" fmla="*/ 7348 h 10065"/>
                <a:gd name="connsiteX23" fmla="*/ 3042 w 10000"/>
                <a:gd name="connsiteY23" fmla="*/ 7837 h 10065"/>
                <a:gd name="connsiteX24" fmla="*/ 3106 w 10000"/>
                <a:gd name="connsiteY24" fmla="*/ 8016 h 10065"/>
                <a:gd name="connsiteX25" fmla="*/ 3464 w 10000"/>
                <a:gd name="connsiteY25" fmla="*/ 8434 h 10065"/>
                <a:gd name="connsiteX26" fmla="*/ 3464 w 10000"/>
                <a:gd name="connsiteY26" fmla="*/ 8749 h 10065"/>
                <a:gd name="connsiteX27" fmla="*/ 3990 w 10000"/>
                <a:gd name="connsiteY27" fmla="*/ 9089 h 10065"/>
                <a:gd name="connsiteX28" fmla="*/ 4279 w 10000"/>
                <a:gd name="connsiteY28" fmla="*/ 8728 h 10065"/>
                <a:gd name="connsiteX29" fmla="*/ 4637 w 10000"/>
                <a:gd name="connsiteY29" fmla="*/ 8999 h 10065"/>
                <a:gd name="connsiteX30" fmla="*/ 4922 w 10000"/>
                <a:gd name="connsiteY30" fmla="*/ 8592 h 10065"/>
                <a:gd name="connsiteX31" fmla="*/ 5246 w 10000"/>
                <a:gd name="connsiteY31" fmla="*/ 9239 h 10065"/>
                <a:gd name="connsiteX32" fmla="*/ 5704 w 10000"/>
                <a:gd name="connsiteY32" fmla="*/ 9599 h 10065"/>
                <a:gd name="connsiteX33" fmla="*/ 5754 w 10000"/>
                <a:gd name="connsiteY33" fmla="*/ 9915 h 10065"/>
                <a:gd name="connsiteX34" fmla="*/ 5942 w 10000"/>
                <a:gd name="connsiteY34" fmla="*/ 9956 h 10065"/>
                <a:gd name="connsiteX35" fmla="*/ 6212 w 10000"/>
                <a:gd name="connsiteY35" fmla="*/ 9662 h 10065"/>
                <a:gd name="connsiteX36" fmla="*/ 6554 w 10000"/>
                <a:gd name="connsiteY36" fmla="*/ 9842 h 10065"/>
                <a:gd name="connsiteX37" fmla="*/ 6671 w 10000"/>
                <a:gd name="connsiteY37" fmla="*/ 9687 h 10065"/>
                <a:gd name="connsiteX38" fmla="*/ 6793 w 10000"/>
                <a:gd name="connsiteY38" fmla="*/ 9662 h 10065"/>
                <a:gd name="connsiteX39" fmla="*/ 7026 w 10000"/>
                <a:gd name="connsiteY39" fmla="*/ 10065 h 10065"/>
                <a:gd name="connsiteX40" fmla="*/ 7248 w 10000"/>
                <a:gd name="connsiteY40" fmla="*/ 9729 h 10065"/>
                <a:gd name="connsiteX41" fmla="*/ 7518 w 10000"/>
                <a:gd name="connsiteY41" fmla="*/ 9751 h 10065"/>
                <a:gd name="connsiteX42" fmla="*/ 7724 w 10000"/>
                <a:gd name="connsiteY42" fmla="*/ 9572 h 10065"/>
                <a:gd name="connsiteX43" fmla="*/ 8013 w 10000"/>
                <a:gd name="connsiteY43" fmla="*/ 9751 h 10065"/>
                <a:gd name="connsiteX44" fmla="*/ 8387 w 10000"/>
                <a:gd name="connsiteY44" fmla="*/ 9197 h 10065"/>
                <a:gd name="connsiteX45" fmla="*/ 8519 w 10000"/>
                <a:gd name="connsiteY45" fmla="*/ 9197 h 10065"/>
                <a:gd name="connsiteX46" fmla="*/ 8759 w 10000"/>
                <a:gd name="connsiteY46" fmla="*/ 8749 h 10065"/>
                <a:gd name="connsiteX47" fmla="*/ 9775 w 10000"/>
                <a:gd name="connsiteY47" fmla="*/ 8728 h 10065"/>
                <a:gd name="connsiteX48" fmla="*/ 10000 w 10000"/>
                <a:gd name="connsiteY48" fmla="*/ 8546 h 10065"/>
                <a:gd name="connsiteX49" fmla="*/ 9983 w 10000"/>
                <a:gd name="connsiteY49" fmla="*/ 8326 h 10065"/>
                <a:gd name="connsiteX50" fmla="*/ 9915 w 10000"/>
                <a:gd name="connsiteY50" fmla="*/ 7837 h 10065"/>
                <a:gd name="connsiteX51" fmla="*/ 9490 w 10000"/>
                <a:gd name="connsiteY51" fmla="*/ 7676 h 10065"/>
                <a:gd name="connsiteX52" fmla="*/ 9287 w 10000"/>
                <a:gd name="connsiteY52" fmla="*/ 6897 h 10065"/>
                <a:gd name="connsiteX53" fmla="*/ 9168 w 10000"/>
                <a:gd name="connsiteY53" fmla="*/ 6807 h 10065"/>
                <a:gd name="connsiteX54" fmla="*/ 9137 w 10000"/>
                <a:gd name="connsiteY54" fmla="*/ 6252 h 10065"/>
                <a:gd name="connsiteX55" fmla="*/ 8984 w 10000"/>
                <a:gd name="connsiteY55" fmla="*/ 6226 h 10065"/>
                <a:gd name="connsiteX56" fmla="*/ 8927 w 10000"/>
                <a:gd name="connsiteY56" fmla="*/ 5942 h 10065"/>
                <a:gd name="connsiteX57" fmla="*/ 8673 w 10000"/>
                <a:gd name="connsiteY57" fmla="*/ 5871 h 10065"/>
                <a:gd name="connsiteX58" fmla="*/ 8588 w 10000"/>
                <a:gd name="connsiteY58" fmla="*/ 5429 h 10065"/>
                <a:gd name="connsiteX59" fmla="*/ 8166 w 10000"/>
                <a:gd name="connsiteY59" fmla="*/ 5004 h 10065"/>
                <a:gd name="connsiteX60" fmla="*/ 7705 w 10000"/>
                <a:gd name="connsiteY60" fmla="*/ 4935 h 10065"/>
                <a:gd name="connsiteX61" fmla="*/ 7827 w 10000"/>
                <a:gd name="connsiteY61" fmla="*/ 4446 h 10065"/>
                <a:gd name="connsiteX62" fmla="*/ 7794 w 10000"/>
                <a:gd name="connsiteY62" fmla="*/ 4088 h 10065"/>
                <a:gd name="connsiteX63" fmla="*/ 8183 w 10000"/>
                <a:gd name="connsiteY63" fmla="*/ 4113 h 10065"/>
                <a:gd name="connsiteX64" fmla="*/ 8267 w 10000"/>
                <a:gd name="connsiteY64" fmla="*/ 4220 h 10065"/>
                <a:gd name="connsiteX65" fmla="*/ 8504 w 10000"/>
                <a:gd name="connsiteY65" fmla="*/ 3996 h 10065"/>
                <a:gd name="connsiteX66" fmla="*/ 8573 w 10000"/>
                <a:gd name="connsiteY66" fmla="*/ 3199 h 10065"/>
                <a:gd name="connsiteX67" fmla="*/ 8472 w 10000"/>
                <a:gd name="connsiteY67" fmla="*/ 2594 h 10065"/>
                <a:gd name="connsiteX68" fmla="*/ 8759 w 10000"/>
                <a:gd name="connsiteY68" fmla="*/ 2104 h 10065"/>
                <a:gd name="connsiteX69" fmla="*/ 8310 w 10000"/>
                <a:gd name="connsiteY69" fmla="*/ 1552 h 10065"/>
                <a:gd name="connsiteX0" fmla="*/ 8310 w 10000"/>
                <a:gd name="connsiteY0" fmla="*/ 1552 h 10065"/>
                <a:gd name="connsiteX1" fmla="*/ 5698 w 10000"/>
                <a:gd name="connsiteY1" fmla="*/ 215 h 10065"/>
                <a:gd name="connsiteX2" fmla="*/ 2083 w 10000"/>
                <a:gd name="connsiteY2" fmla="*/ 187 h 10065"/>
                <a:gd name="connsiteX3" fmla="*/ 913 w 10000"/>
                <a:gd name="connsiteY3" fmla="*/ 2044 h 10065"/>
                <a:gd name="connsiteX4" fmla="*/ 208 w 10000"/>
                <a:gd name="connsiteY4" fmla="*/ 2478 h 10065"/>
                <a:gd name="connsiteX5" fmla="*/ 1 w 10000"/>
                <a:gd name="connsiteY5" fmla="*/ 3352 h 10065"/>
                <a:gd name="connsiteX6" fmla="*/ 140 w 10000"/>
                <a:gd name="connsiteY6" fmla="*/ 3507 h 10065"/>
                <a:gd name="connsiteX7" fmla="*/ 37 w 10000"/>
                <a:gd name="connsiteY7" fmla="*/ 3749 h 10065"/>
                <a:gd name="connsiteX8" fmla="*/ 615 w 10000"/>
                <a:gd name="connsiteY8" fmla="*/ 3820 h 10065"/>
                <a:gd name="connsiteX9" fmla="*/ 615 w 10000"/>
                <a:gd name="connsiteY9" fmla="*/ 3975 h 10065"/>
                <a:gd name="connsiteX10" fmla="*/ 595 w 10000"/>
                <a:gd name="connsiteY10" fmla="*/ 4333 h 10065"/>
                <a:gd name="connsiteX11" fmla="*/ 1206 w 10000"/>
                <a:gd name="connsiteY11" fmla="*/ 4464 h 10065"/>
                <a:gd name="connsiteX12" fmla="*/ 1206 w 10000"/>
                <a:gd name="connsiteY12" fmla="*/ 4762 h 10065"/>
                <a:gd name="connsiteX13" fmla="*/ 1530 w 10000"/>
                <a:gd name="connsiteY13" fmla="*/ 4980 h 10065"/>
                <a:gd name="connsiteX14" fmla="*/ 1428 w 10000"/>
                <a:gd name="connsiteY14" fmla="*/ 5312 h 10065"/>
                <a:gd name="connsiteX15" fmla="*/ 1882 w 10000"/>
                <a:gd name="connsiteY15" fmla="*/ 5604 h 10065"/>
                <a:gd name="connsiteX16" fmla="*/ 2158 w 10000"/>
                <a:gd name="connsiteY16" fmla="*/ 6138 h 10065"/>
                <a:gd name="connsiteX17" fmla="*/ 2411 w 10000"/>
                <a:gd name="connsiteY17" fmla="*/ 6343 h 10065"/>
                <a:gd name="connsiteX18" fmla="*/ 2310 w 10000"/>
                <a:gd name="connsiteY18" fmla="*/ 6522 h 10065"/>
                <a:gd name="connsiteX19" fmla="*/ 2446 w 10000"/>
                <a:gd name="connsiteY19" fmla="*/ 6719 h 10065"/>
                <a:gd name="connsiteX20" fmla="*/ 2426 w 10000"/>
                <a:gd name="connsiteY20" fmla="*/ 7005 h 10065"/>
                <a:gd name="connsiteX21" fmla="*/ 2688 w 10000"/>
                <a:gd name="connsiteY21" fmla="*/ 7034 h 10065"/>
                <a:gd name="connsiteX22" fmla="*/ 2972 w 10000"/>
                <a:gd name="connsiteY22" fmla="*/ 7348 h 10065"/>
                <a:gd name="connsiteX23" fmla="*/ 3042 w 10000"/>
                <a:gd name="connsiteY23" fmla="*/ 7837 h 10065"/>
                <a:gd name="connsiteX24" fmla="*/ 3106 w 10000"/>
                <a:gd name="connsiteY24" fmla="*/ 8016 h 10065"/>
                <a:gd name="connsiteX25" fmla="*/ 3464 w 10000"/>
                <a:gd name="connsiteY25" fmla="*/ 8434 h 10065"/>
                <a:gd name="connsiteX26" fmla="*/ 3464 w 10000"/>
                <a:gd name="connsiteY26" fmla="*/ 8749 h 10065"/>
                <a:gd name="connsiteX27" fmla="*/ 3990 w 10000"/>
                <a:gd name="connsiteY27" fmla="*/ 9089 h 10065"/>
                <a:gd name="connsiteX28" fmla="*/ 4279 w 10000"/>
                <a:gd name="connsiteY28" fmla="*/ 8728 h 10065"/>
                <a:gd name="connsiteX29" fmla="*/ 4637 w 10000"/>
                <a:gd name="connsiteY29" fmla="*/ 8999 h 10065"/>
                <a:gd name="connsiteX30" fmla="*/ 4922 w 10000"/>
                <a:gd name="connsiteY30" fmla="*/ 8592 h 10065"/>
                <a:gd name="connsiteX31" fmla="*/ 5246 w 10000"/>
                <a:gd name="connsiteY31" fmla="*/ 9239 h 10065"/>
                <a:gd name="connsiteX32" fmla="*/ 5704 w 10000"/>
                <a:gd name="connsiteY32" fmla="*/ 9599 h 10065"/>
                <a:gd name="connsiteX33" fmla="*/ 5754 w 10000"/>
                <a:gd name="connsiteY33" fmla="*/ 9915 h 10065"/>
                <a:gd name="connsiteX34" fmla="*/ 5942 w 10000"/>
                <a:gd name="connsiteY34" fmla="*/ 9956 h 10065"/>
                <a:gd name="connsiteX35" fmla="*/ 6212 w 10000"/>
                <a:gd name="connsiteY35" fmla="*/ 9662 h 10065"/>
                <a:gd name="connsiteX36" fmla="*/ 6554 w 10000"/>
                <a:gd name="connsiteY36" fmla="*/ 9842 h 10065"/>
                <a:gd name="connsiteX37" fmla="*/ 6671 w 10000"/>
                <a:gd name="connsiteY37" fmla="*/ 9687 h 10065"/>
                <a:gd name="connsiteX38" fmla="*/ 6793 w 10000"/>
                <a:gd name="connsiteY38" fmla="*/ 9662 h 10065"/>
                <a:gd name="connsiteX39" fmla="*/ 7026 w 10000"/>
                <a:gd name="connsiteY39" fmla="*/ 10065 h 10065"/>
                <a:gd name="connsiteX40" fmla="*/ 7248 w 10000"/>
                <a:gd name="connsiteY40" fmla="*/ 9729 h 10065"/>
                <a:gd name="connsiteX41" fmla="*/ 7518 w 10000"/>
                <a:gd name="connsiteY41" fmla="*/ 9751 h 10065"/>
                <a:gd name="connsiteX42" fmla="*/ 7724 w 10000"/>
                <a:gd name="connsiteY42" fmla="*/ 9572 h 10065"/>
                <a:gd name="connsiteX43" fmla="*/ 8013 w 10000"/>
                <a:gd name="connsiteY43" fmla="*/ 9751 h 10065"/>
                <a:gd name="connsiteX44" fmla="*/ 8387 w 10000"/>
                <a:gd name="connsiteY44" fmla="*/ 9197 h 10065"/>
                <a:gd name="connsiteX45" fmla="*/ 8519 w 10000"/>
                <a:gd name="connsiteY45" fmla="*/ 9197 h 10065"/>
                <a:gd name="connsiteX46" fmla="*/ 8759 w 10000"/>
                <a:gd name="connsiteY46" fmla="*/ 8749 h 10065"/>
                <a:gd name="connsiteX47" fmla="*/ 9775 w 10000"/>
                <a:gd name="connsiteY47" fmla="*/ 8728 h 10065"/>
                <a:gd name="connsiteX48" fmla="*/ 10000 w 10000"/>
                <a:gd name="connsiteY48" fmla="*/ 8546 h 10065"/>
                <a:gd name="connsiteX49" fmla="*/ 9983 w 10000"/>
                <a:gd name="connsiteY49" fmla="*/ 8326 h 10065"/>
                <a:gd name="connsiteX50" fmla="*/ 9915 w 10000"/>
                <a:gd name="connsiteY50" fmla="*/ 7837 h 10065"/>
                <a:gd name="connsiteX51" fmla="*/ 9490 w 10000"/>
                <a:gd name="connsiteY51" fmla="*/ 7676 h 10065"/>
                <a:gd name="connsiteX52" fmla="*/ 9287 w 10000"/>
                <a:gd name="connsiteY52" fmla="*/ 6897 h 10065"/>
                <a:gd name="connsiteX53" fmla="*/ 9168 w 10000"/>
                <a:gd name="connsiteY53" fmla="*/ 6807 h 10065"/>
                <a:gd name="connsiteX54" fmla="*/ 9137 w 10000"/>
                <a:gd name="connsiteY54" fmla="*/ 6252 h 10065"/>
                <a:gd name="connsiteX55" fmla="*/ 8984 w 10000"/>
                <a:gd name="connsiteY55" fmla="*/ 6226 h 10065"/>
                <a:gd name="connsiteX56" fmla="*/ 8927 w 10000"/>
                <a:gd name="connsiteY56" fmla="*/ 5942 h 10065"/>
                <a:gd name="connsiteX57" fmla="*/ 8673 w 10000"/>
                <a:gd name="connsiteY57" fmla="*/ 5871 h 10065"/>
                <a:gd name="connsiteX58" fmla="*/ 8588 w 10000"/>
                <a:gd name="connsiteY58" fmla="*/ 5429 h 10065"/>
                <a:gd name="connsiteX59" fmla="*/ 8166 w 10000"/>
                <a:gd name="connsiteY59" fmla="*/ 5004 h 10065"/>
                <a:gd name="connsiteX60" fmla="*/ 7705 w 10000"/>
                <a:gd name="connsiteY60" fmla="*/ 4935 h 10065"/>
                <a:gd name="connsiteX61" fmla="*/ 7827 w 10000"/>
                <a:gd name="connsiteY61" fmla="*/ 4446 h 10065"/>
                <a:gd name="connsiteX62" fmla="*/ 7794 w 10000"/>
                <a:gd name="connsiteY62" fmla="*/ 4088 h 10065"/>
                <a:gd name="connsiteX63" fmla="*/ 8183 w 10000"/>
                <a:gd name="connsiteY63" fmla="*/ 4113 h 10065"/>
                <a:gd name="connsiteX64" fmla="*/ 8267 w 10000"/>
                <a:gd name="connsiteY64" fmla="*/ 4220 h 10065"/>
                <a:gd name="connsiteX65" fmla="*/ 8504 w 10000"/>
                <a:gd name="connsiteY65" fmla="*/ 3996 h 10065"/>
                <a:gd name="connsiteX66" fmla="*/ 8573 w 10000"/>
                <a:gd name="connsiteY66" fmla="*/ 3199 h 10065"/>
                <a:gd name="connsiteX67" fmla="*/ 8472 w 10000"/>
                <a:gd name="connsiteY67" fmla="*/ 2594 h 10065"/>
                <a:gd name="connsiteX68" fmla="*/ 8759 w 10000"/>
                <a:gd name="connsiteY68" fmla="*/ 2104 h 10065"/>
                <a:gd name="connsiteX69" fmla="*/ 8310 w 10000"/>
                <a:gd name="connsiteY69" fmla="*/ 1552 h 10065"/>
                <a:gd name="connsiteX0" fmla="*/ 8310 w 10000"/>
                <a:gd name="connsiteY0" fmla="*/ 1365 h 9878"/>
                <a:gd name="connsiteX1" fmla="*/ 5698 w 10000"/>
                <a:gd name="connsiteY1" fmla="*/ 28 h 9878"/>
                <a:gd name="connsiteX2" fmla="*/ 2083 w 10000"/>
                <a:gd name="connsiteY2" fmla="*/ 0 h 9878"/>
                <a:gd name="connsiteX3" fmla="*/ 913 w 10000"/>
                <a:gd name="connsiteY3" fmla="*/ 1857 h 9878"/>
                <a:gd name="connsiteX4" fmla="*/ 208 w 10000"/>
                <a:gd name="connsiteY4" fmla="*/ 2291 h 9878"/>
                <a:gd name="connsiteX5" fmla="*/ 1 w 10000"/>
                <a:gd name="connsiteY5" fmla="*/ 3165 h 9878"/>
                <a:gd name="connsiteX6" fmla="*/ 140 w 10000"/>
                <a:gd name="connsiteY6" fmla="*/ 3320 h 9878"/>
                <a:gd name="connsiteX7" fmla="*/ 37 w 10000"/>
                <a:gd name="connsiteY7" fmla="*/ 3562 h 9878"/>
                <a:gd name="connsiteX8" fmla="*/ 615 w 10000"/>
                <a:gd name="connsiteY8" fmla="*/ 3633 h 9878"/>
                <a:gd name="connsiteX9" fmla="*/ 615 w 10000"/>
                <a:gd name="connsiteY9" fmla="*/ 3788 h 9878"/>
                <a:gd name="connsiteX10" fmla="*/ 595 w 10000"/>
                <a:gd name="connsiteY10" fmla="*/ 4146 h 9878"/>
                <a:gd name="connsiteX11" fmla="*/ 1206 w 10000"/>
                <a:gd name="connsiteY11" fmla="*/ 4277 h 9878"/>
                <a:gd name="connsiteX12" fmla="*/ 1206 w 10000"/>
                <a:gd name="connsiteY12" fmla="*/ 4575 h 9878"/>
                <a:gd name="connsiteX13" fmla="*/ 1530 w 10000"/>
                <a:gd name="connsiteY13" fmla="*/ 4793 h 9878"/>
                <a:gd name="connsiteX14" fmla="*/ 1428 w 10000"/>
                <a:gd name="connsiteY14" fmla="*/ 5125 h 9878"/>
                <a:gd name="connsiteX15" fmla="*/ 1882 w 10000"/>
                <a:gd name="connsiteY15" fmla="*/ 5417 h 9878"/>
                <a:gd name="connsiteX16" fmla="*/ 2158 w 10000"/>
                <a:gd name="connsiteY16" fmla="*/ 5951 h 9878"/>
                <a:gd name="connsiteX17" fmla="*/ 2411 w 10000"/>
                <a:gd name="connsiteY17" fmla="*/ 6156 h 9878"/>
                <a:gd name="connsiteX18" fmla="*/ 2310 w 10000"/>
                <a:gd name="connsiteY18" fmla="*/ 6335 h 9878"/>
                <a:gd name="connsiteX19" fmla="*/ 2446 w 10000"/>
                <a:gd name="connsiteY19" fmla="*/ 6532 h 9878"/>
                <a:gd name="connsiteX20" fmla="*/ 2426 w 10000"/>
                <a:gd name="connsiteY20" fmla="*/ 6818 h 9878"/>
                <a:gd name="connsiteX21" fmla="*/ 2688 w 10000"/>
                <a:gd name="connsiteY21" fmla="*/ 6847 h 9878"/>
                <a:gd name="connsiteX22" fmla="*/ 2972 w 10000"/>
                <a:gd name="connsiteY22" fmla="*/ 7161 h 9878"/>
                <a:gd name="connsiteX23" fmla="*/ 3042 w 10000"/>
                <a:gd name="connsiteY23" fmla="*/ 7650 h 9878"/>
                <a:gd name="connsiteX24" fmla="*/ 3106 w 10000"/>
                <a:gd name="connsiteY24" fmla="*/ 7829 h 9878"/>
                <a:gd name="connsiteX25" fmla="*/ 3464 w 10000"/>
                <a:gd name="connsiteY25" fmla="*/ 8247 h 9878"/>
                <a:gd name="connsiteX26" fmla="*/ 3464 w 10000"/>
                <a:gd name="connsiteY26" fmla="*/ 8562 h 9878"/>
                <a:gd name="connsiteX27" fmla="*/ 3990 w 10000"/>
                <a:gd name="connsiteY27" fmla="*/ 8902 h 9878"/>
                <a:gd name="connsiteX28" fmla="*/ 4279 w 10000"/>
                <a:gd name="connsiteY28" fmla="*/ 8541 h 9878"/>
                <a:gd name="connsiteX29" fmla="*/ 4637 w 10000"/>
                <a:gd name="connsiteY29" fmla="*/ 8812 h 9878"/>
                <a:gd name="connsiteX30" fmla="*/ 4922 w 10000"/>
                <a:gd name="connsiteY30" fmla="*/ 8405 h 9878"/>
                <a:gd name="connsiteX31" fmla="*/ 5246 w 10000"/>
                <a:gd name="connsiteY31" fmla="*/ 9052 h 9878"/>
                <a:gd name="connsiteX32" fmla="*/ 5704 w 10000"/>
                <a:gd name="connsiteY32" fmla="*/ 9412 h 9878"/>
                <a:gd name="connsiteX33" fmla="*/ 5754 w 10000"/>
                <a:gd name="connsiteY33" fmla="*/ 9728 h 9878"/>
                <a:gd name="connsiteX34" fmla="*/ 5942 w 10000"/>
                <a:gd name="connsiteY34" fmla="*/ 9769 h 9878"/>
                <a:gd name="connsiteX35" fmla="*/ 6212 w 10000"/>
                <a:gd name="connsiteY35" fmla="*/ 9475 h 9878"/>
                <a:gd name="connsiteX36" fmla="*/ 6554 w 10000"/>
                <a:gd name="connsiteY36" fmla="*/ 9655 h 9878"/>
                <a:gd name="connsiteX37" fmla="*/ 6671 w 10000"/>
                <a:gd name="connsiteY37" fmla="*/ 9500 h 9878"/>
                <a:gd name="connsiteX38" fmla="*/ 6793 w 10000"/>
                <a:gd name="connsiteY38" fmla="*/ 9475 h 9878"/>
                <a:gd name="connsiteX39" fmla="*/ 7026 w 10000"/>
                <a:gd name="connsiteY39" fmla="*/ 9878 h 9878"/>
                <a:gd name="connsiteX40" fmla="*/ 7248 w 10000"/>
                <a:gd name="connsiteY40" fmla="*/ 9542 h 9878"/>
                <a:gd name="connsiteX41" fmla="*/ 7518 w 10000"/>
                <a:gd name="connsiteY41" fmla="*/ 9564 h 9878"/>
                <a:gd name="connsiteX42" fmla="*/ 7724 w 10000"/>
                <a:gd name="connsiteY42" fmla="*/ 9385 h 9878"/>
                <a:gd name="connsiteX43" fmla="*/ 8013 w 10000"/>
                <a:gd name="connsiteY43" fmla="*/ 9564 h 9878"/>
                <a:gd name="connsiteX44" fmla="*/ 8387 w 10000"/>
                <a:gd name="connsiteY44" fmla="*/ 9010 h 9878"/>
                <a:gd name="connsiteX45" fmla="*/ 8519 w 10000"/>
                <a:gd name="connsiteY45" fmla="*/ 9010 h 9878"/>
                <a:gd name="connsiteX46" fmla="*/ 8759 w 10000"/>
                <a:gd name="connsiteY46" fmla="*/ 8562 h 9878"/>
                <a:gd name="connsiteX47" fmla="*/ 9775 w 10000"/>
                <a:gd name="connsiteY47" fmla="*/ 8541 h 9878"/>
                <a:gd name="connsiteX48" fmla="*/ 10000 w 10000"/>
                <a:gd name="connsiteY48" fmla="*/ 8359 h 9878"/>
                <a:gd name="connsiteX49" fmla="*/ 9983 w 10000"/>
                <a:gd name="connsiteY49" fmla="*/ 8139 h 9878"/>
                <a:gd name="connsiteX50" fmla="*/ 9915 w 10000"/>
                <a:gd name="connsiteY50" fmla="*/ 7650 h 9878"/>
                <a:gd name="connsiteX51" fmla="*/ 9490 w 10000"/>
                <a:gd name="connsiteY51" fmla="*/ 7489 h 9878"/>
                <a:gd name="connsiteX52" fmla="*/ 9287 w 10000"/>
                <a:gd name="connsiteY52" fmla="*/ 6710 h 9878"/>
                <a:gd name="connsiteX53" fmla="*/ 9168 w 10000"/>
                <a:gd name="connsiteY53" fmla="*/ 6620 h 9878"/>
                <a:gd name="connsiteX54" fmla="*/ 9137 w 10000"/>
                <a:gd name="connsiteY54" fmla="*/ 6065 h 9878"/>
                <a:gd name="connsiteX55" fmla="*/ 8984 w 10000"/>
                <a:gd name="connsiteY55" fmla="*/ 6039 h 9878"/>
                <a:gd name="connsiteX56" fmla="*/ 8927 w 10000"/>
                <a:gd name="connsiteY56" fmla="*/ 5755 h 9878"/>
                <a:gd name="connsiteX57" fmla="*/ 8673 w 10000"/>
                <a:gd name="connsiteY57" fmla="*/ 5684 h 9878"/>
                <a:gd name="connsiteX58" fmla="*/ 8588 w 10000"/>
                <a:gd name="connsiteY58" fmla="*/ 5242 h 9878"/>
                <a:gd name="connsiteX59" fmla="*/ 8166 w 10000"/>
                <a:gd name="connsiteY59" fmla="*/ 4817 h 9878"/>
                <a:gd name="connsiteX60" fmla="*/ 7705 w 10000"/>
                <a:gd name="connsiteY60" fmla="*/ 4748 h 9878"/>
                <a:gd name="connsiteX61" fmla="*/ 7827 w 10000"/>
                <a:gd name="connsiteY61" fmla="*/ 4259 h 9878"/>
                <a:gd name="connsiteX62" fmla="*/ 7794 w 10000"/>
                <a:gd name="connsiteY62" fmla="*/ 3901 h 9878"/>
                <a:gd name="connsiteX63" fmla="*/ 8183 w 10000"/>
                <a:gd name="connsiteY63" fmla="*/ 3926 h 9878"/>
                <a:gd name="connsiteX64" fmla="*/ 8267 w 10000"/>
                <a:gd name="connsiteY64" fmla="*/ 4033 h 9878"/>
                <a:gd name="connsiteX65" fmla="*/ 8504 w 10000"/>
                <a:gd name="connsiteY65" fmla="*/ 3809 h 9878"/>
                <a:gd name="connsiteX66" fmla="*/ 8573 w 10000"/>
                <a:gd name="connsiteY66" fmla="*/ 3012 h 9878"/>
                <a:gd name="connsiteX67" fmla="*/ 8472 w 10000"/>
                <a:gd name="connsiteY67" fmla="*/ 2407 h 9878"/>
                <a:gd name="connsiteX68" fmla="*/ 8759 w 10000"/>
                <a:gd name="connsiteY68" fmla="*/ 1917 h 9878"/>
                <a:gd name="connsiteX69" fmla="*/ 8310 w 10000"/>
                <a:gd name="connsiteY69" fmla="*/ 1365 h 9878"/>
                <a:gd name="connsiteX0" fmla="*/ 8310 w 10000"/>
                <a:gd name="connsiteY0" fmla="*/ 1382 h 10000"/>
                <a:gd name="connsiteX1" fmla="*/ 5698 w 10000"/>
                <a:gd name="connsiteY1" fmla="*/ 28 h 10000"/>
                <a:gd name="connsiteX2" fmla="*/ 2083 w 10000"/>
                <a:gd name="connsiteY2" fmla="*/ 0 h 10000"/>
                <a:gd name="connsiteX3" fmla="*/ 913 w 10000"/>
                <a:gd name="connsiteY3" fmla="*/ 1880 h 10000"/>
                <a:gd name="connsiteX4" fmla="*/ 208 w 10000"/>
                <a:gd name="connsiteY4" fmla="*/ 2319 h 10000"/>
                <a:gd name="connsiteX5" fmla="*/ 1 w 10000"/>
                <a:gd name="connsiteY5" fmla="*/ 3204 h 10000"/>
                <a:gd name="connsiteX6" fmla="*/ 140 w 10000"/>
                <a:gd name="connsiteY6" fmla="*/ 3361 h 10000"/>
                <a:gd name="connsiteX7" fmla="*/ 37 w 10000"/>
                <a:gd name="connsiteY7" fmla="*/ 3606 h 10000"/>
                <a:gd name="connsiteX8" fmla="*/ 615 w 10000"/>
                <a:gd name="connsiteY8" fmla="*/ 3678 h 10000"/>
                <a:gd name="connsiteX9" fmla="*/ 615 w 10000"/>
                <a:gd name="connsiteY9" fmla="*/ 3835 h 10000"/>
                <a:gd name="connsiteX10" fmla="*/ 595 w 10000"/>
                <a:gd name="connsiteY10" fmla="*/ 4197 h 10000"/>
                <a:gd name="connsiteX11" fmla="*/ 1206 w 10000"/>
                <a:gd name="connsiteY11" fmla="*/ 4330 h 10000"/>
                <a:gd name="connsiteX12" fmla="*/ 1206 w 10000"/>
                <a:gd name="connsiteY12" fmla="*/ 4632 h 10000"/>
                <a:gd name="connsiteX13" fmla="*/ 1530 w 10000"/>
                <a:gd name="connsiteY13" fmla="*/ 4852 h 10000"/>
                <a:gd name="connsiteX14" fmla="*/ 1428 w 10000"/>
                <a:gd name="connsiteY14" fmla="*/ 5188 h 10000"/>
                <a:gd name="connsiteX15" fmla="*/ 1882 w 10000"/>
                <a:gd name="connsiteY15" fmla="*/ 5484 h 10000"/>
                <a:gd name="connsiteX16" fmla="*/ 2158 w 10000"/>
                <a:gd name="connsiteY16" fmla="*/ 6024 h 10000"/>
                <a:gd name="connsiteX17" fmla="*/ 2411 w 10000"/>
                <a:gd name="connsiteY17" fmla="*/ 6232 h 10000"/>
                <a:gd name="connsiteX18" fmla="*/ 2310 w 10000"/>
                <a:gd name="connsiteY18" fmla="*/ 6413 h 10000"/>
                <a:gd name="connsiteX19" fmla="*/ 2446 w 10000"/>
                <a:gd name="connsiteY19" fmla="*/ 6613 h 10000"/>
                <a:gd name="connsiteX20" fmla="*/ 2426 w 10000"/>
                <a:gd name="connsiteY20" fmla="*/ 6902 h 10000"/>
                <a:gd name="connsiteX21" fmla="*/ 2688 w 10000"/>
                <a:gd name="connsiteY21" fmla="*/ 6932 h 10000"/>
                <a:gd name="connsiteX22" fmla="*/ 2972 w 10000"/>
                <a:gd name="connsiteY22" fmla="*/ 7249 h 10000"/>
                <a:gd name="connsiteX23" fmla="*/ 3042 w 10000"/>
                <a:gd name="connsiteY23" fmla="*/ 7744 h 10000"/>
                <a:gd name="connsiteX24" fmla="*/ 3106 w 10000"/>
                <a:gd name="connsiteY24" fmla="*/ 7926 h 10000"/>
                <a:gd name="connsiteX25" fmla="*/ 3464 w 10000"/>
                <a:gd name="connsiteY25" fmla="*/ 8349 h 10000"/>
                <a:gd name="connsiteX26" fmla="*/ 3464 w 10000"/>
                <a:gd name="connsiteY26" fmla="*/ 8668 h 10000"/>
                <a:gd name="connsiteX27" fmla="*/ 3990 w 10000"/>
                <a:gd name="connsiteY27" fmla="*/ 9012 h 10000"/>
                <a:gd name="connsiteX28" fmla="*/ 4279 w 10000"/>
                <a:gd name="connsiteY28" fmla="*/ 8646 h 10000"/>
                <a:gd name="connsiteX29" fmla="*/ 4637 w 10000"/>
                <a:gd name="connsiteY29" fmla="*/ 8921 h 10000"/>
                <a:gd name="connsiteX30" fmla="*/ 4922 w 10000"/>
                <a:gd name="connsiteY30" fmla="*/ 8509 h 10000"/>
                <a:gd name="connsiteX31" fmla="*/ 5246 w 10000"/>
                <a:gd name="connsiteY31" fmla="*/ 9164 h 10000"/>
                <a:gd name="connsiteX32" fmla="*/ 5704 w 10000"/>
                <a:gd name="connsiteY32" fmla="*/ 9528 h 10000"/>
                <a:gd name="connsiteX33" fmla="*/ 5754 w 10000"/>
                <a:gd name="connsiteY33" fmla="*/ 9848 h 10000"/>
                <a:gd name="connsiteX34" fmla="*/ 5942 w 10000"/>
                <a:gd name="connsiteY34" fmla="*/ 9890 h 10000"/>
                <a:gd name="connsiteX35" fmla="*/ 6212 w 10000"/>
                <a:gd name="connsiteY35" fmla="*/ 9592 h 10000"/>
                <a:gd name="connsiteX36" fmla="*/ 6554 w 10000"/>
                <a:gd name="connsiteY36" fmla="*/ 9774 h 10000"/>
                <a:gd name="connsiteX37" fmla="*/ 6671 w 10000"/>
                <a:gd name="connsiteY37" fmla="*/ 9617 h 10000"/>
                <a:gd name="connsiteX38" fmla="*/ 6793 w 10000"/>
                <a:gd name="connsiteY38" fmla="*/ 9592 h 10000"/>
                <a:gd name="connsiteX39" fmla="*/ 7026 w 10000"/>
                <a:gd name="connsiteY39" fmla="*/ 10000 h 10000"/>
                <a:gd name="connsiteX40" fmla="*/ 7248 w 10000"/>
                <a:gd name="connsiteY40" fmla="*/ 9660 h 10000"/>
                <a:gd name="connsiteX41" fmla="*/ 7518 w 10000"/>
                <a:gd name="connsiteY41" fmla="*/ 9682 h 10000"/>
                <a:gd name="connsiteX42" fmla="*/ 7724 w 10000"/>
                <a:gd name="connsiteY42" fmla="*/ 9501 h 10000"/>
                <a:gd name="connsiteX43" fmla="*/ 8013 w 10000"/>
                <a:gd name="connsiteY43" fmla="*/ 9682 h 10000"/>
                <a:gd name="connsiteX44" fmla="*/ 8387 w 10000"/>
                <a:gd name="connsiteY44" fmla="*/ 9121 h 10000"/>
                <a:gd name="connsiteX45" fmla="*/ 8519 w 10000"/>
                <a:gd name="connsiteY45" fmla="*/ 9121 h 10000"/>
                <a:gd name="connsiteX46" fmla="*/ 8759 w 10000"/>
                <a:gd name="connsiteY46" fmla="*/ 8668 h 10000"/>
                <a:gd name="connsiteX47" fmla="*/ 9775 w 10000"/>
                <a:gd name="connsiteY47" fmla="*/ 8646 h 10000"/>
                <a:gd name="connsiteX48" fmla="*/ 10000 w 10000"/>
                <a:gd name="connsiteY48" fmla="*/ 8462 h 10000"/>
                <a:gd name="connsiteX49" fmla="*/ 9983 w 10000"/>
                <a:gd name="connsiteY49" fmla="*/ 8240 h 10000"/>
                <a:gd name="connsiteX50" fmla="*/ 9915 w 10000"/>
                <a:gd name="connsiteY50" fmla="*/ 7744 h 10000"/>
                <a:gd name="connsiteX51" fmla="*/ 9490 w 10000"/>
                <a:gd name="connsiteY51" fmla="*/ 7581 h 10000"/>
                <a:gd name="connsiteX52" fmla="*/ 9287 w 10000"/>
                <a:gd name="connsiteY52" fmla="*/ 6793 h 10000"/>
                <a:gd name="connsiteX53" fmla="*/ 9168 w 10000"/>
                <a:gd name="connsiteY53" fmla="*/ 6702 h 10000"/>
                <a:gd name="connsiteX54" fmla="*/ 9137 w 10000"/>
                <a:gd name="connsiteY54" fmla="*/ 6140 h 10000"/>
                <a:gd name="connsiteX55" fmla="*/ 8984 w 10000"/>
                <a:gd name="connsiteY55" fmla="*/ 6114 h 10000"/>
                <a:gd name="connsiteX56" fmla="*/ 8927 w 10000"/>
                <a:gd name="connsiteY56" fmla="*/ 5826 h 10000"/>
                <a:gd name="connsiteX57" fmla="*/ 8673 w 10000"/>
                <a:gd name="connsiteY57" fmla="*/ 5754 h 10000"/>
                <a:gd name="connsiteX58" fmla="*/ 8588 w 10000"/>
                <a:gd name="connsiteY58" fmla="*/ 5307 h 10000"/>
                <a:gd name="connsiteX59" fmla="*/ 8166 w 10000"/>
                <a:gd name="connsiteY59" fmla="*/ 4876 h 10000"/>
                <a:gd name="connsiteX60" fmla="*/ 7705 w 10000"/>
                <a:gd name="connsiteY60" fmla="*/ 4807 h 10000"/>
                <a:gd name="connsiteX61" fmla="*/ 7827 w 10000"/>
                <a:gd name="connsiteY61" fmla="*/ 4312 h 10000"/>
                <a:gd name="connsiteX62" fmla="*/ 7794 w 10000"/>
                <a:gd name="connsiteY62" fmla="*/ 3949 h 10000"/>
                <a:gd name="connsiteX63" fmla="*/ 8183 w 10000"/>
                <a:gd name="connsiteY63" fmla="*/ 3974 h 10000"/>
                <a:gd name="connsiteX64" fmla="*/ 8267 w 10000"/>
                <a:gd name="connsiteY64" fmla="*/ 4083 h 10000"/>
                <a:gd name="connsiteX65" fmla="*/ 8504 w 10000"/>
                <a:gd name="connsiteY65" fmla="*/ 3856 h 10000"/>
                <a:gd name="connsiteX66" fmla="*/ 8573 w 10000"/>
                <a:gd name="connsiteY66" fmla="*/ 3049 h 10000"/>
                <a:gd name="connsiteX67" fmla="*/ 8472 w 10000"/>
                <a:gd name="connsiteY67" fmla="*/ 2437 h 10000"/>
                <a:gd name="connsiteX68" fmla="*/ 8759 w 10000"/>
                <a:gd name="connsiteY68" fmla="*/ 1941 h 10000"/>
                <a:gd name="connsiteX69" fmla="*/ 8310 w 10000"/>
                <a:gd name="connsiteY69" fmla="*/ 1382 h 10000"/>
                <a:gd name="connsiteX0" fmla="*/ 8321 w 10011"/>
                <a:gd name="connsiteY0" fmla="*/ 1520 h 10138"/>
                <a:gd name="connsiteX1" fmla="*/ 5709 w 10011"/>
                <a:gd name="connsiteY1" fmla="*/ 166 h 10138"/>
                <a:gd name="connsiteX2" fmla="*/ 2094 w 10011"/>
                <a:gd name="connsiteY2" fmla="*/ 138 h 10138"/>
                <a:gd name="connsiteX3" fmla="*/ 1936 w 10011"/>
                <a:gd name="connsiteY3" fmla="*/ 2101 h 10138"/>
                <a:gd name="connsiteX4" fmla="*/ 219 w 10011"/>
                <a:gd name="connsiteY4" fmla="*/ 2457 h 10138"/>
                <a:gd name="connsiteX5" fmla="*/ 12 w 10011"/>
                <a:gd name="connsiteY5" fmla="*/ 3342 h 10138"/>
                <a:gd name="connsiteX6" fmla="*/ 151 w 10011"/>
                <a:gd name="connsiteY6" fmla="*/ 3499 h 10138"/>
                <a:gd name="connsiteX7" fmla="*/ 48 w 10011"/>
                <a:gd name="connsiteY7" fmla="*/ 3744 h 10138"/>
                <a:gd name="connsiteX8" fmla="*/ 626 w 10011"/>
                <a:gd name="connsiteY8" fmla="*/ 3816 h 10138"/>
                <a:gd name="connsiteX9" fmla="*/ 626 w 10011"/>
                <a:gd name="connsiteY9" fmla="*/ 3973 h 10138"/>
                <a:gd name="connsiteX10" fmla="*/ 606 w 10011"/>
                <a:gd name="connsiteY10" fmla="*/ 4335 h 10138"/>
                <a:gd name="connsiteX11" fmla="*/ 1217 w 10011"/>
                <a:gd name="connsiteY11" fmla="*/ 4468 h 10138"/>
                <a:gd name="connsiteX12" fmla="*/ 1217 w 10011"/>
                <a:gd name="connsiteY12" fmla="*/ 4770 h 10138"/>
                <a:gd name="connsiteX13" fmla="*/ 1541 w 10011"/>
                <a:gd name="connsiteY13" fmla="*/ 4990 h 10138"/>
                <a:gd name="connsiteX14" fmla="*/ 1439 w 10011"/>
                <a:gd name="connsiteY14" fmla="*/ 5326 h 10138"/>
                <a:gd name="connsiteX15" fmla="*/ 1893 w 10011"/>
                <a:gd name="connsiteY15" fmla="*/ 5622 h 10138"/>
                <a:gd name="connsiteX16" fmla="*/ 2169 w 10011"/>
                <a:gd name="connsiteY16" fmla="*/ 6162 h 10138"/>
                <a:gd name="connsiteX17" fmla="*/ 2422 w 10011"/>
                <a:gd name="connsiteY17" fmla="*/ 6370 h 10138"/>
                <a:gd name="connsiteX18" fmla="*/ 2321 w 10011"/>
                <a:gd name="connsiteY18" fmla="*/ 6551 h 10138"/>
                <a:gd name="connsiteX19" fmla="*/ 2457 w 10011"/>
                <a:gd name="connsiteY19" fmla="*/ 6751 h 10138"/>
                <a:gd name="connsiteX20" fmla="*/ 2437 w 10011"/>
                <a:gd name="connsiteY20" fmla="*/ 7040 h 10138"/>
                <a:gd name="connsiteX21" fmla="*/ 2699 w 10011"/>
                <a:gd name="connsiteY21" fmla="*/ 7070 h 10138"/>
                <a:gd name="connsiteX22" fmla="*/ 2983 w 10011"/>
                <a:gd name="connsiteY22" fmla="*/ 7387 h 10138"/>
                <a:gd name="connsiteX23" fmla="*/ 3053 w 10011"/>
                <a:gd name="connsiteY23" fmla="*/ 7882 h 10138"/>
                <a:gd name="connsiteX24" fmla="*/ 3117 w 10011"/>
                <a:gd name="connsiteY24" fmla="*/ 8064 h 10138"/>
                <a:gd name="connsiteX25" fmla="*/ 3475 w 10011"/>
                <a:gd name="connsiteY25" fmla="*/ 8487 h 10138"/>
                <a:gd name="connsiteX26" fmla="*/ 3475 w 10011"/>
                <a:gd name="connsiteY26" fmla="*/ 8806 h 10138"/>
                <a:gd name="connsiteX27" fmla="*/ 4001 w 10011"/>
                <a:gd name="connsiteY27" fmla="*/ 9150 h 10138"/>
                <a:gd name="connsiteX28" fmla="*/ 4290 w 10011"/>
                <a:gd name="connsiteY28" fmla="*/ 8784 h 10138"/>
                <a:gd name="connsiteX29" fmla="*/ 4648 w 10011"/>
                <a:gd name="connsiteY29" fmla="*/ 9059 h 10138"/>
                <a:gd name="connsiteX30" fmla="*/ 4933 w 10011"/>
                <a:gd name="connsiteY30" fmla="*/ 8647 h 10138"/>
                <a:gd name="connsiteX31" fmla="*/ 5257 w 10011"/>
                <a:gd name="connsiteY31" fmla="*/ 9302 h 10138"/>
                <a:gd name="connsiteX32" fmla="*/ 5715 w 10011"/>
                <a:gd name="connsiteY32" fmla="*/ 9666 h 10138"/>
                <a:gd name="connsiteX33" fmla="*/ 5765 w 10011"/>
                <a:gd name="connsiteY33" fmla="*/ 9986 h 10138"/>
                <a:gd name="connsiteX34" fmla="*/ 5953 w 10011"/>
                <a:gd name="connsiteY34" fmla="*/ 10028 h 10138"/>
                <a:gd name="connsiteX35" fmla="*/ 6223 w 10011"/>
                <a:gd name="connsiteY35" fmla="*/ 9730 h 10138"/>
                <a:gd name="connsiteX36" fmla="*/ 6565 w 10011"/>
                <a:gd name="connsiteY36" fmla="*/ 9912 h 10138"/>
                <a:gd name="connsiteX37" fmla="*/ 6682 w 10011"/>
                <a:gd name="connsiteY37" fmla="*/ 9755 h 10138"/>
                <a:gd name="connsiteX38" fmla="*/ 6804 w 10011"/>
                <a:gd name="connsiteY38" fmla="*/ 9730 h 10138"/>
                <a:gd name="connsiteX39" fmla="*/ 7037 w 10011"/>
                <a:gd name="connsiteY39" fmla="*/ 10138 h 10138"/>
                <a:gd name="connsiteX40" fmla="*/ 7259 w 10011"/>
                <a:gd name="connsiteY40" fmla="*/ 9798 h 10138"/>
                <a:gd name="connsiteX41" fmla="*/ 7529 w 10011"/>
                <a:gd name="connsiteY41" fmla="*/ 9820 h 10138"/>
                <a:gd name="connsiteX42" fmla="*/ 7735 w 10011"/>
                <a:gd name="connsiteY42" fmla="*/ 9639 h 10138"/>
                <a:gd name="connsiteX43" fmla="*/ 8024 w 10011"/>
                <a:gd name="connsiteY43" fmla="*/ 9820 h 10138"/>
                <a:gd name="connsiteX44" fmla="*/ 8398 w 10011"/>
                <a:gd name="connsiteY44" fmla="*/ 9259 h 10138"/>
                <a:gd name="connsiteX45" fmla="*/ 8530 w 10011"/>
                <a:gd name="connsiteY45" fmla="*/ 9259 h 10138"/>
                <a:gd name="connsiteX46" fmla="*/ 8770 w 10011"/>
                <a:gd name="connsiteY46" fmla="*/ 8806 h 10138"/>
                <a:gd name="connsiteX47" fmla="*/ 9786 w 10011"/>
                <a:gd name="connsiteY47" fmla="*/ 8784 h 10138"/>
                <a:gd name="connsiteX48" fmla="*/ 10011 w 10011"/>
                <a:gd name="connsiteY48" fmla="*/ 8600 h 10138"/>
                <a:gd name="connsiteX49" fmla="*/ 9994 w 10011"/>
                <a:gd name="connsiteY49" fmla="*/ 8378 h 10138"/>
                <a:gd name="connsiteX50" fmla="*/ 9926 w 10011"/>
                <a:gd name="connsiteY50" fmla="*/ 7882 h 10138"/>
                <a:gd name="connsiteX51" fmla="*/ 9501 w 10011"/>
                <a:gd name="connsiteY51" fmla="*/ 7719 h 10138"/>
                <a:gd name="connsiteX52" fmla="*/ 9298 w 10011"/>
                <a:gd name="connsiteY52" fmla="*/ 6931 h 10138"/>
                <a:gd name="connsiteX53" fmla="*/ 9179 w 10011"/>
                <a:gd name="connsiteY53" fmla="*/ 6840 h 10138"/>
                <a:gd name="connsiteX54" fmla="*/ 9148 w 10011"/>
                <a:gd name="connsiteY54" fmla="*/ 6278 h 10138"/>
                <a:gd name="connsiteX55" fmla="*/ 8995 w 10011"/>
                <a:gd name="connsiteY55" fmla="*/ 6252 h 10138"/>
                <a:gd name="connsiteX56" fmla="*/ 8938 w 10011"/>
                <a:gd name="connsiteY56" fmla="*/ 5964 h 10138"/>
                <a:gd name="connsiteX57" fmla="*/ 8684 w 10011"/>
                <a:gd name="connsiteY57" fmla="*/ 5892 h 10138"/>
                <a:gd name="connsiteX58" fmla="*/ 8599 w 10011"/>
                <a:gd name="connsiteY58" fmla="*/ 5445 h 10138"/>
                <a:gd name="connsiteX59" fmla="*/ 8177 w 10011"/>
                <a:gd name="connsiteY59" fmla="*/ 5014 h 10138"/>
                <a:gd name="connsiteX60" fmla="*/ 7716 w 10011"/>
                <a:gd name="connsiteY60" fmla="*/ 4945 h 10138"/>
                <a:gd name="connsiteX61" fmla="*/ 7838 w 10011"/>
                <a:gd name="connsiteY61" fmla="*/ 4450 h 10138"/>
                <a:gd name="connsiteX62" fmla="*/ 7805 w 10011"/>
                <a:gd name="connsiteY62" fmla="*/ 4087 h 10138"/>
                <a:gd name="connsiteX63" fmla="*/ 8194 w 10011"/>
                <a:gd name="connsiteY63" fmla="*/ 4112 h 10138"/>
                <a:gd name="connsiteX64" fmla="*/ 8278 w 10011"/>
                <a:gd name="connsiteY64" fmla="*/ 4221 h 10138"/>
                <a:gd name="connsiteX65" fmla="*/ 8515 w 10011"/>
                <a:gd name="connsiteY65" fmla="*/ 3994 h 10138"/>
                <a:gd name="connsiteX66" fmla="*/ 8584 w 10011"/>
                <a:gd name="connsiteY66" fmla="*/ 3187 h 10138"/>
                <a:gd name="connsiteX67" fmla="*/ 8483 w 10011"/>
                <a:gd name="connsiteY67" fmla="*/ 2575 h 10138"/>
                <a:gd name="connsiteX68" fmla="*/ 8770 w 10011"/>
                <a:gd name="connsiteY68" fmla="*/ 2079 h 10138"/>
                <a:gd name="connsiteX69" fmla="*/ 8321 w 10011"/>
                <a:gd name="connsiteY69" fmla="*/ 1520 h 10138"/>
                <a:gd name="connsiteX0" fmla="*/ 8321 w 10011"/>
                <a:gd name="connsiteY0" fmla="*/ 1520 h 10138"/>
                <a:gd name="connsiteX1" fmla="*/ 5709 w 10011"/>
                <a:gd name="connsiteY1" fmla="*/ 166 h 10138"/>
                <a:gd name="connsiteX2" fmla="*/ 2094 w 10011"/>
                <a:gd name="connsiteY2" fmla="*/ 138 h 10138"/>
                <a:gd name="connsiteX3" fmla="*/ 1936 w 10011"/>
                <a:gd name="connsiteY3" fmla="*/ 2101 h 10138"/>
                <a:gd name="connsiteX4" fmla="*/ 219 w 10011"/>
                <a:gd name="connsiteY4" fmla="*/ 2457 h 10138"/>
                <a:gd name="connsiteX5" fmla="*/ 12 w 10011"/>
                <a:gd name="connsiteY5" fmla="*/ 3342 h 10138"/>
                <a:gd name="connsiteX6" fmla="*/ 151 w 10011"/>
                <a:gd name="connsiteY6" fmla="*/ 3499 h 10138"/>
                <a:gd name="connsiteX7" fmla="*/ 48 w 10011"/>
                <a:gd name="connsiteY7" fmla="*/ 3744 h 10138"/>
                <a:gd name="connsiteX8" fmla="*/ 626 w 10011"/>
                <a:gd name="connsiteY8" fmla="*/ 3816 h 10138"/>
                <a:gd name="connsiteX9" fmla="*/ 626 w 10011"/>
                <a:gd name="connsiteY9" fmla="*/ 3973 h 10138"/>
                <a:gd name="connsiteX10" fmla="*/ 606 w 10011"/>
                <a:gd name="connsiteY10" fmla="*/ 4335 h 10138"/>
                <a:gd name="connsiteX11" fmla="*/ 1217 w 10011"/>
                <a:gd name="connsiteY11" fmla="*/ 4468 h 10138"/>
                <a:gd name="connsiteX12" fmla="*/ 1217 w 10011"/>
                <a:gd name="connsiteY12" fmla="*/ 4770 h 10138"/>
                <a:gd name="connsiteX13" fmla="*/ 1541 w 10011"/>
                <a:gd name="connsiteY13" fmla="*/ 4990 h 10138"/>
                <a:gd name="connsiteX14" fmla="*/ 1439 w 10011"/>
                <a:gd name="connsiteY14" fmla="*/ 5326 h 10138"/>
                <a:gd name="connsiteX15" fmla="*/ 1893 w 10011"/>
                <a:gd name="connsiteY15" fmla="*/ 5622 h 10138"/>
                <a:gd name="connsiteX16" fmla="*/ 2169 w 10011"/>
                <a:gd name="connsiteY16" fmla="*/ 6162 h 10138"/>
                <a:gd name="connsiteX17" fmla="*/ 2422 w 10011"/>
                <a:gd name="connsiteY17" fmla="*/ 6370 h 10138"/>
                <a:gd name="connsiteX18" fmla="*/ 2321 w 10011"/>
                <a:gd name="connsiteY18" fmla="*/ 6551 h 10138"/>
                <a:gd name="connsiteX19" fmla="*/ 2457 w 10011"/>
                <a:gd name="connsiteY19" fmla="*/ 6751 h 10138"/>
                <a:gd name="connsiteX20" fmla="*/ 2437 w 10011"/>
                <a:gd name="connsiteY20" fmla="*/ 7040 h 10138"/>
                <a:gd name="connsiteX21" fmla="*/ 2699 w 10011"/>
                <a:gd name="connsiteY21" fmla="*/ 7070 h 10138"/>
                <a:gd name="connsiteX22" fmla="*/ 2983 w 10011"/>
                <a:gd name="connsiteY22" fmla="*/ 7387 h 10138"/>
                <a:gd name="connsiteX23" fmla="*/ 3053 w 10011"/>
                <a:gd name="connsiteY23" fmla="*/ 7882 h 10138"/>
                <a:gd name="connsiteX24" fmla="*/ 3117 w 10011"/>
                <a:gd name="connsiteY24" fmla="*/ 8064 h 10138"/>
                <a:gd name="connsiteX25" fmla="*/ 3475 w 10011"/>
                <a:gd name="connsiteY25" fmla="*/ 8487 h 10138"/>
                <a:gd name="connsiteX26" fmla="*/ 3475 w 10011"/>
                <a:gd name="connsiteY26" fmla="*/ 8806 h 10138"/>
                <a:gd name="connsiteX27" fmla="*/ 4001 w 10011"/>
                <a:gd name="connsiteY27" fmla="*/ 9150 h 10138"/>
                <a:gd name="connsiteX28" fmla="*/ 4290 w 10011"/>
                <a:gd name="connsiteY28" fmla="*/ 8784 h 10138"/>
                <a:gd name="connsiteX29" fmla="*/ 4648 w 10011"/>
                <a:gd name="connsiteY29" fmla="*/ 9059 h 10138"/>
                <a:gd name="connsiteX30" fmla="*/ 4933 w 10011"/>
                <a:gd name="connsiteY30" fmla="*/ 8647 h 10138"/>
                <a:gd name="connsiteX31" fmla="*/ 5257 w 10011"/>
                <a:gd name="connsiteY31" fmla="*/ 9302 h 10138"/>
                <a:gd name="connsiteX32" fmla="*/ 5715 w 10011"/>
                <a:gd name="connsiteY32" fmla="*/ 9666 h 10138"/>
                <a:gd name="connsiteX33" fmla="*/ 5765 w 10011"/>
                <a:gd name="connsiteY33" fmla="*/ 9986 h 10138"/>
                <a:gd name="connsiteX34" fmla="*/ 5953 w 10011"/>
                <a:gd name="connsiteY34" fmla="*/ 10028 h 10138"/>
                <a:gd name="connsiteX35" fmla="*/ 6223 w 10011"/>
                <a:gd name="connsiteY35" fmla="*/ 9730 h 10138"/>
                <a:gd name="connsiteX36" fmla="*/ 6565 w 10011"/>
                <a:gd name="connsiteY36" fmla="*/ 9912 h 10138"/>
                <a:gd name="connsiteX37" fmla="*/ 6682 w 10011"/>
                <a:gd name="connsiteY37" fmla="*/ 9755 h 10138"/>
                <a:gd name="connsiteX38" fmla="*/ 6804 w 10011"/>
                <a:gd name="connsiteY38" fmla="*/ 9730 h 10138"/>
                <a:gd name="connsiteX39" fmla="*/ 7037 w 10011"/>
                <a:gd name="connsiteY39" fmla="*/ 10138 h 10138"/>
                <a:gd name="connsiteX40" fmla="*/ 7259 w 10011"/>
                <a:gd name="connsiteY40" fmla="*/ 9798 h 10138"/>
                <a:gd name="connsiteX41" fmla="*/ 7529 w 10011"/>
                <a:gd name="connsiteY41" fmla="*/ 9820 h 10138"/>
                <a:gd name="connsiteX42" fmla="*/ 7735 w 10011"/>
                <a:gd name="connsiteY42" fmla="*/ 9639 h 10138"/>
                <a:gd name="connsiteX43" fmla="*/ 8024 w 10011"/>
                <a:gd name="connsiteY43" fmla="*/ 9820 h 10138"/>
                <a:gd name="connsiteX44" fmla="*/ 8398 w 10011"/>
                <a:gd name="connsiteY44" fmla="*/ 9259 h 10138"/>
                <a:gd name="connsiteX45" fmla="*/ 8530 w 10011"/>
                <a:gd name="connsiteY45" fmla="*/ 9259 h 10138"/>
                <a:gd name="connsiteX46" fmla="*/ 8770 w 10011"/>
                <a:gd name="connsiteY46" fmla="*/ 8806 h 10138"/>
                <a:gd name="connsiteX47" fmla="*/ 9786 w 10011"/>
                <a:gd name="connsiteY47" fmla="*/ 8784 h 10138"/>
                <a:gd name="connsiteX48" fmla="*/ 10011 w 10011"/>
                <a:gd name="connsiteY48" fmla="*/ 8600 h 10138"/>
                <a:gd name="connsiteX49" fmla="*/ 9994 w 10011"/>
                <a:gd name="connsiteY49" fmla="*/ 8378 h 10138"/>
                <a:gd name="connsiteX50" fmla="*/ 9926 w 10011"/>
                <a:gd name="connsiteY50" fmla="*/ 7882 h 10138"/>
                <a:gd name="connsiteX51" fmla="*/ 9501 w 10011"/>
                <a:gd name="connsiteY51" fmla="*/ 7719 h 10138"/>
                <a:gd name="connsiteX52" fmla="*/ 9298 w 10011"/>
                <a:gd name="connsiteY52" fmla="*/ 6931 h 10138"/>
                <a:gd name="connsiteX53" fmla="*/ 9179 w 10011"/>
                <a:gd name="connsiteY53" fmla="*/ 6840 h 10138"/>
                <a:gd name="connsiteX54" fmla="*/ 9148 w 10011"/>
                <a:gd name="connsiteY54" fmla="*/ 6278 h 10138"/>
                <a:gd name="connsiteX55" fmla="*/ 8995 w 10011"/>
                <a:gd name="connsiteY55" fmla="*/ 6252 h 10138"/>
                <a:gd name="connsiteX56" fmla="*/ 8938 w 10011"/>
                <a:gd name="connsiteY56" fmla="*/ 5964 h 10138"/>
                <a:gd name="connsiteX57" fmla="*/ 8684 w 10011"/>
                <a:gd name="connsiteY57" fmla="*/ 5892 h 10138"/>
                <a:gd name="connsiteX58" fmla="*/ 8599 w 10011"/>
                <a:gd name="connsiteY58" fmla="*/ 5445 h 10138"/>
                <a:gd name="connsiteX59" fmla="*/ 8177 w 10011"/>
                <a:gd name="connsiteY59" fmla="*/ 5014 h 10138"/>
                <a:gd name="connsiteX60" fmla="*/ 7716 w 10011"/>
                <a:gd name="connsiteY60" fmla="*/ 4945 h 10138"/>
                <a:gd name="connsiteX61" fmla="*/ 7838 w 10011"/>
                <a:gd name="connsiteY61" fmla="*/ 4450 h 10138"/>
                <a:gd name="connsiteX62" fmla="*/ 7805 w 10011"/>
                <a:gd name="connsiteY62" fmla="*/ 4087 h 10138"/>
                <a:gd name="connsiteX63" fmla="*/ 8194 w 10011"/>
                <a:gd name="connsiteY63" fmla="*/ 4112 h 10138"/>
                <a:gd name="connsiteX64" fmla="*/ 8278 w 10011"/>
                <a:gd name="connsiteY64" fmla="*/ 4221 h 10138"/>
                <a:gd name="connsiteX65" fmla="*/ 8515 w 10011"/>
                <a:gd name="connsiteY65" fmla="*/ 3994 h 10138"/>
                <a:gd name="connsiteX66" fmla="*/ 8584 w 10011"/>
                <a:gd name="connsiteY66" fmla="*/ 3187 h 10138"/>
                <a:gd name="connsiteX67" fmla="*/ 8483 w 10011"/>
                <a:gd name="connsiteY67" fmla="*/ 2575 h 10138"/>
                <a:gd name="connsiteX68" fmla="*/ 8770 w 10011"/>
                <a:gd name="connsiteY68" fmla="*/ 2079 h 10138"/>
                <a:gd name="connsiteX69" fmla="*/ 8321 w 10011"/>
                <a:gd name="connsiteY69" fmla="*/ 1520 h 10138"/>
                <a:gd name="connsiteX0" fmla="*/ 8321 w 10011"/>
                <a:gd name="connsiteY0" fmla="*/ 1520 h 10138"/>
                <a:gd name="connsiteX1" fmla="*/ 5709 w 10011"/>
                <a:gd name="connsiteY1" fmla="*/ 166 h 10138"/>
                <a:gd name="connsiteX2" fmla="*/ 2094 w 10011"/>
                <a:gd name="connsiteY2" fmla="*/ 138 h 10138"/>
                <a:gd name="connsiteX3" fmla="*/ 1936 w 10011"/>
                <a:gd name="connsiteY3" fmla="*/ 2101 h 10138"/>
                <a:gd name="connsiteX4" fmla="*/ 219 w 10011"/>
                <a:gd name="connsiteY4" fmla="*/ 2457 h 10138"/>
                <a:gd name="connsiteX5" fmla="*/ 12 w 10011"/>
                <a:gd name="connsiteY5" fmla="*/ 3342 h 10138"/>
                <a:gd name="connsiteX6" fmla="*/ 151 w 10011"/>
                <a:gd name="connsiteY6" fmla="*/ 3499 h 10138"/>
                <a:gd name="connsiteX7" fmla="*/ 48 w 10011"/>
                <a:gd name="connsiteY7" fmla="*/ 3744 h 10138"/>
                <a:gd name="connsiteX8" fmla="*/ 626 w 10011"/>
                <a:gd name="connsiteY8" fmla="*/ 3816 h 10138"/>
                <a:gd name="connsiteX9" fmla="*/ 626 w 10011"/>
                <a:gd name="connsiteY9" fmla="*/ 3973 h 10138"/>
                <a:gd name="connsiteX10" fmla="*/ 606 w 10011"/>
                <a:gd name="connsiteY10" fmla="*/ 4335 h 10138"/>
                <a:gd name="connsiteX11" fmla="*/ 1217 w 10011"/>
                <a:gd name="connsiteY11" fmla="*/ 4468 h 10138"/>
                <a:gd name="connsiteX12" fmla="*/ 1217 w 10011"/>
                <a:gd name="connsiteY12" fmla="*/ 4770 h 10138"/>
                <a:gd name="connsiteX13" fmla="*/ 1541 w 10011"/>
                <a:gd name="connsiteY13" fmla="*/ 4990 h 10138"/>
                <a:gd name="connsiteX14" fmla="*/ 1439 w 10011"/>
                <a:gd name="connsiteY14" fmla="*/ 5326 h 10138"/>
                <a:gd name="connsiteX15" fmla="*/ 1893 w 10011"/>
                <a:gd name="connsiteY15" fmla="*/ 5622 h 10138"/>
                <a:gd name="connsiteX16" fmla="*/ 2169 w 10011"/>
                <a:gd name="connsiteY16" fmla="*/ 6162 h 10138"/>
                <a:gd name="connsiteX17" fmla="*/ 2422 w 10011"/>
                <a:gd name="connsiteY17" fmla="*/ 6370 h 10138"/>
                <a:gd name="connsiteX18" fmla="*/ 2321 w 10011"/>
                <a:gd name="connsiteY18" fmla="*/ 6551 h 10138"/>
                <a:gd name="connsiteX19" fmla="*/ 2457 w 10011"/>
                <a:gd name="connsiteY19" fmla="*/ 6751 h 10138"/>
                <a:gd name="connsiteX20" fmla="*/ 2437 w 10011"/>
                <a:gd name="connsiteY20" fmla="*/ 7040 h 10138"/>
                <a:gd name="connsiteX21" fmla="*/ 2699 w 10011"/>
                <a:gd name="connsiteY21" fmla="*/ 7070 h 10138"/>
                <a:gd name="connsiteX22" fmla="*/ 2983 w 10011"/>
                <a:gd name="connsiteY22" fmla="*/ 7387 h 10138"/>
                <a:gd name="connsiteX23" fmla="*/ 3053 w 10011"/>
                <a:gd name="connsiteY23" fmla="*/ 7882 h 10138"/>
                <a:gd name="connsiteX24" fmla="*/ 3117 w 10011"/>
                <a:gd name="connsiteY24" fmla="*/ 8064 h 10138"/>
                <a:gd name="connsiteX25" fmla="*/ 3475 w 10011"/>
                <a:gd name="connsiteY25" fmla="*/ 8487 h 10138"/>
                <a:gd name="connsiteX26" fmla="*/ 3475 w 10011"/>
                <a:gd name="connsiteY26" fmla="*/ 8806 h 10138"/>
                <a:gd name="connsiteX27" fmla="*/ 4001 w 10011"/>
                <a:gd name="connsiteY27" fmla="*/ 9150 h 10138"/>
                <a:gd name="connsiteX28" fmla="*/ 4290 w 10011"/>
                <a:gd name="connsiteY28" fmla="*/ 8784 h 10138"/>
                <a:gd name="connsiteX29" fmla="*/ 4648 w 10011"/>
                <a:gd name="connsiteY29" fmla="*/ 9059 h 10138"/>
                <a:gd name="connsiteX30" fmla="*/ 4933 w 10011"/>
                <a:gd name="connsiteY30" fmla="*/ 8647 h 10138"/>
                <a:gd name="connsiteX31" fmla="*/ 5257 w 10011"/>
                <a:gd name="connsiteY31" fmla="*/ 9302 h 10138"/>
                <a:gd name="connsiteX32" fmla="*/ 5715 w 10011"/>
                <a:gd name="connsiteY32" fmla="*/ 9666 h 10138"/>
                <a:gd name="connsiteX33" fmla="*/ 5765 w 10011"/>
                <a:gd name="connsiteY33" fmla="*/ 9986 h 10138"/>
                <a:gd name="connsiteX34" fmla="*/ 5953 w 10011"/>
                <a:gd name="connsiteY34" fmla="*/ 10028 h 10138"/>
                <a:gd name="connsiteX35" fmla="*/ 6223 w 10011"/>
                <a:gd name="connsiteY35" fmla="*/ 9730 h 10138"/>
                <a:gd name="connsiteX36" fmla="*/ 6565 w 10011"/>
                <a:gd name="connsiteY36" fmla="*/ 9912 h 10138"/>
                <a:gd name="connsiteX37" fmla="*/ 6682 w 10011"/>
                <a:gd name="connsiteY37" fmla="*/ 9755 h 10138"/>
                <a:gd name="connsiteX38" fmla="*/ 6804 w 10011"/>
                <a:gd name="connsiteY38" fmla="*/ 9730 h 10138"/>
                <a:gd name="connsiteX39" fmla="*/ 7037 w 10011"/>
                <a:gd name="connsiteY39" fmla="*/ 10138 h 10138"/>
                <a:gd name="connsiteX40" fmla="*/ 7259 w 10011"/>
                <a:gd name="connsiteY40" fmla="*/ 9798 h 10138"/>
                <a:gd name="connsiteX41" fmla="*/ 7529 w 10011"/>
                <a:gd name="connsiteY41" fmla="*/ 9820 h 10138"/>
                <a:gd name="connsiteX42" fmla="*/ 7735 w 10011"/>
                <a:gd name="connsiteY42" fmla="*/ 9639 h 10138"/>
                <a:gd name="connsiteX43" fmla="*/ 8024 w 10011"/>
                <a:gd name="connsiteY43" fmla="*/ 9820 h 10138"/>
                <a:gd name="connsiteX44" fmla="*/ 8398 w 10011"/>
                <a:gd name="connsiteY44" fmla="*/ 9259 h 10138"/>
                <a:gd name="connsiteX45" fmla="*/ 8530 w 10011"/>
                <a:gd name="connsiteY45" fmla="*/ 9259 h 10138"/>
                <a:gd name="connsiteX46" fmla="*/ 8770 w 10011"/>
                <a:gd name="connsiteY46" fmla="*/ 8806 h 10138"/>
                <a:gd name="connsiteX47" fmla="*/ 9786 w 10011"/>
                <a:gd name="connsiteY47" fmla="*/ 8784 h 10138"/>
                <a:gd name="connsiteX48" fmla="*/ 10011 w 10011"/>
                <a:gd name="connsiteY48" fmla="*/ 8600 h 10138"/>
                <a:gd name="connsiteX49" fmla="*/ 9994 w 10011"/>
                <a:gd name="connsiteY49" fmla="*/ 8378 h 10138"/>
                <a:gd name="connsiteX50" fmla="*/ 9926 w 10011"/>
                <a:gd name="connsiteY50" fmla="*/ 7882 h 10138"/>
                <a:gd name="connsiteX51" fmla="*/ 9501 w 10011"/>
                <a:gd name="connsiteY51" fmla="*/ 7719 h 10138"/>
                <a:gd name="connsiteX52" fmla="*/ 9298 w 10011"/>
                <a:gd name="connsiteY52" fmla="*/ 6931 h 10138"/>
                <a:gd name="connsiteX53" fmla="*/ 9179 w 10011"/>
                <a:gd name="connsiteY53" fmla="*/ 6840 h 10138"/>
                <a:gd name="connsiteX54" fmla="*/ 9148 w 10011"/>
                <a:gd name="connsiteY54" fmla="*/ 6278 h 10138"/>
                <a:gd name="connsiteX55" fmla="*/ 8995 w 10011"/>
                <a:gd name="connsiteY55" fmla="*/ 6252 h 10138"/>
                <a:gd name="connsiteX56" fmla="*/ 8938 w 10011"/>
                <a:gd name="connsiteY56" fmla="*/ 5964 h 10138"/>
                <a:gd name="connsiteX57" fmla="*/ 8684 w 10011"/>
                <a:gd name="connsiteY57" fmla="*/ 5892 h 10138"/>
                <a:gd name="connsiteX58" fmla="*/ 8599 w 10011"/>
                <a:gd name="connsiteY58" fmla="*/ 5445 h 10138"/>
                <a:gd name="connsiteX59" fmla="*/ 8177 w 10011"/>
                <a:gd name="connsiteY59" fmla="*/ 5014 h 10138"/>
                <a:gd name="connsiteX60" fmla="*/ 7716 w 10011"/>
                <a:gd name="connsiteY60" fmla="*/ 4945 h 10138"/>
                <a:gd name="connsiteX61" fmla="*/ 7838 w 10011"/>
                <a:gd name="connsiteY61" fmla="*/ 4450 h 10138"/>
                <a:gd name="connsiteX62" fmla="*/ 7805 w 10011"/>
                <a:gd name="connsiteY62" fmla="*/ 4087 h 10138"/>
                <a:gd name="connsiteX63" fmla="*/ 8194 w 10011"/>
                <a:gd name="connsiteY63" fmla="*/ 4112 h 10138"/>
                <a:gd name="connsiteX64" fmla="*/ 8278 w 10011"/>
                <a:gd name="connsiteY64" fmla="*/ 4221 h 10138"/>
                <a:gd name="connsiteX65" fmla="*/ 8515 w 10011"/>
                <a:gd name="connsiteY65" fmla="*/ 3994 h 10138"/>
                <a:gd name="connsiteX66" fmla="*/ 8584 w 10011"/>
                <a:gd name="connsiteY66" fmla="*/ 3187 h 10138"/>
                <a:gd name="connsiteX67" fmla="*/ 8483 w 10011"/>
                <a:gd name="connsiteY67" fmla="*/ 2575 h 10138"/>
                <a:gd name="connsiteX68" fmla="*/ 8770 w 10011"/>
                <a:gd name="connsiteY68" fmla="*/ 2079 h 10138"/>
                <a:gd name="connsiteX69" fmla="*/ 8321 w 10011"/>
                <a:gd name="connsiteY69" fmla="*/ 1520 h 10138"/>
                <a:gd name="connsiteX0" fmla="*/ 8507 w 10197"/>
                <a:gd name="connsiteY0" fmla="*/ 1520 h 10138"/>
                <a:gd name="connsiteX1" fmla="*/ 5895 w 10197"/>
                <a:gd name="connsiteY1" fmla="*/ 166 h 10138"/>
                <a:gd name="connsiteX2" fmla="*/ 2280 w 10197"/>
                <a:gd name="connsiteY2" fmla="*/ 138 h 10138"/>
                <a:gd name="connsiteX3" fmla="*/ 2122 w 10197"/>
                <a:gd name="connsiteY3" fmla="*/ 2101 h 10138"/>
                <a:gd name="connsiteX4" fmla="*/ 3442 w 10197"/>
                <a:gd name="connsiteY4" fmla="*/ 3864 h 10138"/>
                <a:gd name="connsiteX5" fmla="*/ 198 w 10197"/>
                <a:gd name="connsiteY5" fmla="*/ 3342 h 10138"/>
                <a:gd name="connsiteX6" fmla="*/ 337 w 10197"/>
                <a:gd name="connsiteY6" fmla="*/ 3499 h 10138"/>
                <a:gd name="connsiteX7" fmla="*/ 234 w 10197"/>
                <a:gd name="connsiteY7" fmla="*/ 3744 h 10138"/>
                <a:gd name="connsiteX8" fmla="*/ 812 w 10197"/>
                <a:gd name="connsiteY8" fmla="*/ 3816 h 10138"/>
                <a:gd name="connsiteX9" fmla="*/ 812 w 10197"/>
                <a:gd name="connsiteY9" fmla="*/ 3973 h 10138"/>
                <a:gd name="connsiteX10" fmla="*/ 792 w 10197"/>
                <a:gd name="connsiteY10" fmla="*/ 4335 h 10138"/>
                <a:gd name="connsiteX11" fmla="*/ 1403 w 10197"/>
                <a:gd name="connsiteY11" fmla="*/ 4468 h 10138"/>
                <a:gd name="connsiteX12" fmla="*/ 1403 w 10197"/>
                <a:gd name="connsiteY12" fmla="*/ 4770 h 10138"/>
                <a:gd name="connsiteX13" fmla="*/ 1727 w 10197"/>
                <a:gd name="connsiteY13" fmla="*/ 4990 h 10138"/>
                <a:gd name="connsiteX14" fmla="*/ 1625 w 10197"/>
                <a:gd name="connsiteY14" fmla="*/ 5326 h 10138"/>
                <a:gd name="connsiteX15" fmla="*/ 2079 w 10197"/>
                <a:gd name="connsiteY15" fmla="*/ 5622 h 10138"/>
                <a:gd name="connsiteX16" fmla="*/ 2355 w 10197"/>
                <a:gd name="connsiteY16" fmla="*/ 6162 h 10138"/>
                <a:gd name="connsiteX17" fmla="*/ 2608 w 10197"/>
                <a:gd name="connsiteY17" fmla="*/ 6370 h 10138"/>
                <a:gd name="connsiteX18" fmla="*/ 2507 w 10197"/>
                <a:gd name="connsiteY18" fmla="*/ 6551 h 10138"/>
                <a:gd name="connsiteX19" fmla="*/ 2643 w 10197"/>
                <a:gd name="connsiteY19" fmla="*/ 6751 h 10138"/>
                <a:gd name="connsiteX20" fmla="*/ 2623 w 10197"/>
                <a:gd name="connsiteY20" fmla="*/ 7040 h 10138"/>
                <a:gd name="connsiteX21" fmla="*/ 2885 w 10197"/>
                <a:gd name="connsiteY21" fmla="*/ 7070 h 10138"/>
                <a:gd name="connsiteX22" fmla="*/ 3169 w 10197"/>
                <a:gd name="connsiteY22" fmla="*/ 7387 h 10138"/>
                <a:gd name="connsiteX23" fmla="*/ 3239 w 10197"/>
                <a:gd name="connsiteY23" fmla="*/ 7882 h 10138"/>
                <a:gd name="connsiteX24" fmla="*/ 3303 w 10197"/>
                <a:gd name="connsiteY24" fmla="*/ 8064 h 10138"/>
                <a:gd name="connsiteX25" fmla="*/ 3661 w 10197"/>
                <a:gd name="connsiteY25" fmla="*/ 8487 h 10138"/>
                <a:gd name="connsiteX26" fmla="*/ 3661 w 10197"/>
                <a:gd name="connsiteY26" fmla="*/ 8806 h 10138"/>
                <a:gd name="connsiteX27" fmla="*/ 4187 w 10197"/>
                <a:gd name="connsiteY27" fmla="*/ 9150 h 10138"/>
                <a:gd name="connsiteX28" fmla="*/ 4476 w 10197"/>
                <a:gd name="connsiteY28" fmla="*/ 8784 h 10138"/>
                <a:gd name="connsiteX29" fmla="*/ 4834 w 10197"/>
                <a:gd name="connsiteY29" fmla="*/ 9059 h 10138"/>
                <a:gd name="connsiteX30" fmla="*/ 5119 w 10197"/>
                <a:gd name="connsiteY30" fmla="*/ 8647 h 10138"/>
                <a:gd name="connsiteX31" fmla="*/ 5443 w 10197"/>
                <a:gd name="connsiteY31" fmla="*/ 9302 h 10138"/>
                <a:gd name="connsiteX32" fmla="*/ 5901 w 10197"/>
                <a:gd name="connsiteY32" fmla="*/ 9666 h 10138"/>
                <a:gd name="connsiteX33" fmla="*/ 5951 w 10197"/>
                <a:gd name="connsiteY33" fmla="*/ 9986 h 10138"/>
                <a:gd name="connsiteX34" fmla="*/ 6139 w 10197"/>
                <a:gd name="connsiteY34" fmla="*/ 10028 h 10138"/>
                <a:gd name="connsiteX35" fmla="*/ 6409 w 10197"/>
                <a:gd name="connsiteY35" fmla="*/ 9730 h 10138"/>
                <a:gd name="connsiteX36" fmla="*/ 6751 w 10197"/>
                <a:gd name="connsiteY36" fmla="*/ 9912 h 10138"/>
                <a:gd name="connsiteX37" fmla="*/ 6868 w 10197"/>
                <a:gd name="connsiteY37" fmla="*/ 9755 h 10138"/>
                <a:gd name="connsiteX38" fmla="*/ 6990 w 10197"/>
                <a:gd name="connsiteY38" fmla="*/ 9730 h 10138"/>
                <a:gd name="connsiteX39" fmla="*/ 7223 w 10197"/>
                <a:gd name="connsiteY39" fmla="*/ 10138 h 10138"/>
                <a:gd name="connsiteX40" fmla="*/ 7445 w 10197"/>
                <a:gd name="connsiteY40" fmla="*/ 9798 h 10138"/>
                <a:gd name="connsiteX41" fmla="*/ 7715 w 10197"/>
                <a:gd name="connsiteY41" fmla="*/ 9820 h 10138"/>
                <a:gd name="connsiteX42" fmla="*/ 7921 w 10197"/>
                <a:gd name="connsiteY42" fmla="*/ 9639 h 10138"/>
                <a:gd name="connsiteX43" fmla="*/ 8210 w 10197"/>
                <a:gd name="connsiteY43" fmla="*/ 9820 h 10138"/>
                <a:gd name="connsiteX44" fmla="*/ 8584 w 10197"/>
                <a:gd name="connsiteY44" fmla="*/ 9259 h 10138"/>
                <a:gd name="connsiteX45" fmla="*/ 8716 w 10197"/>
                <a:gd name="connsiteY45" fmla="*/ 9259 h 10138"/>
                <a:gd name="connsiteX46" fmla="*/ 8956 w 10197"/>
                <a:gd name="connsiteY46" fmla="*/ 8806 h 10138"/>
                <a:gd name="connsiteX47" fmla="*/ 9972 w 10197"/>
                <a:gd name="connsiteY47" fmla="*/ 8784 h 10138"/>
                <a:gd name="connsiteX48" fmla="*/ 10197 w 10197"/>
                <a:gd name="connsiteY48" fmla="*/ 8600 h 10138"/>
                <a:gd name="connsiteX49" fmla="*/ 10180 w 10197"/>
                <a:gd name="connsiteY49" fmla="*/ 8378 h 10138"/>
                <a:gd name="connsiteX50" fmla="*/ 10112 w 10197"/>
                <a:gd name="connsiteY50" fmla="*/ 7882 h 10138"/>
                <a:gd name="connsiteX51" fmla="*/ 9687 w 10197"/>
                <a:gd name="connsiteY51" fmla="*/ 7719 h 10138"/>
                <a:gd name="connsiteX52" fmla="*/ 9484 w 10197"/>
                <a:gd name="connsiteY52" fmla="*/ 6931 h 10138"/>
                <a:gd name="connsiteX53" fmla="*/ 9365 w 10197"/>
                <a:gd name="connsiteY53" fmla="*/ 6840 h 10138"/>
                <a:gd name="connsiteX54" fmla="*/ 9334 w 10197"/>
                <a:gd name="connsiteY54" fmla="*/ 6278 h 10138"/>
                <a:gd name="connsiteX55" fmla="*/ 9181 w 10197"/>
                <a:gd name="connsiteY55" fmla="*/ 6252 h 10138"/>
                <a:gd name="connsiteX56" fmla="*/ 9124 w 10197"/>
                <a:gd name="connsiteY56" fmla="*/ 5964 h 10138"/>
                <a:gd name="connsiteX57" fmla="*/ 8870 w 10197"/>
                <a:gd name="connsiteY57" fmla="*/ 5892 h 10138"/>
                <a:gd name="connsiteX58" fmla="*/ 8785 w 10197"/>
                <a:gd name="connsiteY58" fmla="*/ 5445 h 10138"/>
                <a:gd name="connsiteX59" fmla="*/ 8363 w 10197"/>
                <a:gd name="connsiteY59" fmla="*/ 5014 h 10138"/>
                <a:gd name="connsiteX60" fmla="*/ 7902 w 10197"/>
                <a:gd name="connsiteY60" fmla="*/ 4945 h 10138"/>
                <a:gd name="connsiteX61" fmla="*/ 8024 w 10197"/>
                <a:gd name="connsiteY61" fmla="*/ 4450 h 10138"/>
                <a:gd name="connsiteX62" fmla="*/ 7991 w 10197"/>
                <a:gd name="connsiteY62" fmla="*/ 4087 h 10138"/>
                <a:gd name="connsiteX63" fmla="*/ 8380 w 10197"/>
                <a:gd name="connsiteY63" fmla="*/ 4112 h 10138"/>
                <a:gd name="connsiteX64" fmla="*/ 8464 w 10197"/>
                <a:gd name="connsiteY64" fmla="*/ 4221 h 10138"/>
                <a:gd name="connsiteX65" fmla="*/ 8701 w 10197"/>
                <a:gd name="connsiteY65" fmla="*/ 3994 h 10138"/>
                <a:gd name="connsiteX66" fmla="*/ 8770 w 10197"/>
                <a:gd name="connsiteY66" fmla="*/ 3187 h 10138"/>
                <a:gd name="connsiteX67" fmla="*/ 8669 w 10197"/>
                <a:gd name="connsiteY67" fmla="*/ 2575 h 10138"/>
                <a:gd name="connsiteX68" fmla="*/ 8956 w 10197"/>
                <a:gd name="connsiteY68" fmla="*/ 2079 h 10138"/>
                <a:gd name="connsiteX69" fmla="*/ 8507 w 10197"/>
                <a:gd name="connsiteY69" fmla="*/ 1520 h 10138"/>
                <a:gd name="connsiteX0" fmla="*/ 8507 w 10197"/>
                <a:gd name="connsiteY0" fmla="*/ 1520 h 10138"/>
                <a:gd name="connsiteX1" fmla="*/ 5895 w 10197"/>
                <a:gd name="connsiteY1" fmla="*/ 166 h 10138"/>
                <a:gd name="connsiteX2" fmla="*/ 2280 w 10197"/>
                <a:gd name="connsiteY2" fmla="*/ 138 h 10138"/>
                <a:gd name="connsiteX3" fmla="*/ 2122 w 10197"/>
                <a:gd name="connsiteY3" fmla="*/ 2101 h 10138"/>
                <a:gd name="connsiteX4" fmla="*/ 3442 w 10197"/>
                <a:gd name="connsiteY4" fmla="*/ 3864 h 10138"/>
                <a:gd name="connsiteX5" fmla="*/ 198 w 10197"/>
                <a:gd name="connsiteY5" fmla="*/ 3342 h 10138"/>
                <a:gd name="connsiteX6" fmla="*/ 337 w 10197"/>
                <a:gd name="connsiteY6" fmla="*/ 3499 h 10138"/>
                <a:gd name="connsiteX7" fmla="*/ 234 w 10197"/>
                <a:gd name="connsiteY7" fmla="*/ 3744 h 10138"/>
                <a:gd name="connsiteX8" fmla="*/ 812 w 10197"/>
                <a:gd name="connsiteY8" fmla="*/ 3816 h 10138"/>
                <a:gd name="connsiteX9" fmla="*/ 812 w 10197"/>
                <a:gd name="connsiteY9" fmla="*/ 3973 h 10138"/>
                <a:gd name="connsiteX10" fmla="*/ 792 w 10197"/>
                <a:gd name="connsiteY10" fmla="*/ 4335 h 10138"/>
                <a:gd name="connsiteX11" fmla="*/ 1403 w 10197"/>
                <a:gd name="connsiteY11" fmla="*/ 4468 h 10138"/>
                <a:gd name="connsiteX12" fmla="*/ 1403 w 10197"/>
                <a:gd name="connsiteY12" fmla="*/ 4770 h 10138"/>
                <a:gd name="connsiteX13" fmla="*/ 1727 w 10197"/>
                <a:gd name="connsiteY13" fmla="*/ 4990 h 10138"/>
                <a:gd name="connsiteX14" fmla="*/ 1625 w 10197"/>
                <a:gd name="connsiteY14" fmla="*/ 5326 h 10138"/>
                <a:gd name="connsiteX15" fmla="*/ 2079 w 10197"/>
                <a:gd name="connsiteY15" fmla="*/ 5622 h 10138"/>
                <a:gd name="connsiteX16" fmla="*/ 2355 w 10197"/>
                <a:gd name="connsiteY16" fmla="*/ 6162 h 10138"/>
                <a:gd name="connsiteX17" fmla="*/ 2608 w 10197"/>
                <a:gd name="connsiteY17" fmla="*/ 6370 h 10138"/>
                <a:gd name="connsiteX18" fmla="*/ 2507 w 10197"/>
                <a:gd name="connsiteY18" fmla="*/ 6551 h 10138"/>
                <a:gd name="connsiteX19" fmla="*/ 2643 w 10197"/>
                <a:gd name="connsiteY19" fmla="*/ 6751 h 10138"/>
                <a:gd name="connsiteX20" fmla="*/ 2623 w 10197"/>
                <a:gd name="connsiteY20" fmla="*/ 7040 h 10138"/>
                <a:gd name="connsiteX21" fmla="*/ 2885 w 10197"/>
                <a:gd name="connsiteY21" fmla="*/ 7070 h 10138"/>
                <a:gd name="connsiteX22" fmla="*/ 3169 w 10197"/>
                <a:gd name="connsiteY22" fmla="*/ 7387 h 10138"/>
                <a:gd name="connsiteX23" fmla="*/ 3239 w 10197"/>
                <a:gd name="connsiteY23" fmla="*/ 7882 h 10138"/>
                <a:gd name="connsiteX24" fmla="*/ 3303 w 10197"/>
                <a:gd name="connsiteY24" fmla="*/ 8064 h 10138"/>
                <a:gd name="connsiteX25" fmla="*/ 3661 w 10197"/>
                <a:gd name="connsiteY25" fmla="*/ 8487 h 10138"/>
                <a:gd name="connsiteX26" fmla="*/ 3661 w 10197"/>
                <a:gd name="connsiteY26" fmla="*/ 8806 h 10138"/>
                <a:gd name="connsiteX27" fmla="*/ 4187 w 10197"/>
                <a:gd name="connsiteY27" fmla="*/ 9150 h 10138"/>
                <a:gd name="connsiteX28" fmla="*/ 4476 w 10197"/>
                <a:gd name="connsiteY28" fmla="*/ 8784 h 10138"/>
                <a:gd name="connsiteX29" fmla="*/ 4834 w 10197"/>
                <a:gd name="connsiteY29" fmla="*/ 9059 h 10138"/>
                <a:gd name="connsiteX30" fmla="*/ 5119 w 10197"/>
                <a:gd name="connsiteY30" fmla="*/ 8647 h 10138"/>
                <a:gd name="connsiteX31" fmla="*/ 5443 w 10197"/>
                <a:gd name="connsiteY31" fmla="*/ 9302 h 10138"/>
                <a:gd name="connsiteX32" fmla="*/ 5901 w 10197"/>
                <a:gd name="connsiteY32" fmla="*/ 9666 h 10138"/>
                <a:gd name="connsiteX33" fmla="*/ 5951 w 10197"/>
                <a:gd name="connsiteY33" fmla="*/ 9986 h 10138"/>
                <a:gd name="connsiteX34" fmla="*/ 6139 w 10197"/>
                <a:gd name="connsiteY34" fmla="*/ 10028 h 10138"/>
                <a:gd name="connsiteX35" fmla="*/ 6409 w 10197"/>
                <a:gd name="connsiteY35" fmla="*/ 9730 h 10138"/>
                <a:gd name="connsiteX36" fmla="*/ 6751 w 10197"/>
                <a:gd name="connsiteY36" fmla="*/ 9912 h 10138"/>
                <a:gd name="connsiteX37" fmla="*/ 6868 w 10197"/>
                <a:gd name="connsiteY37" fmla="*/ 9755 h 10138"/>
                <a:gd name="connsiteX38" fmla="*/ 6990 w 10197"/>
                <a:gd name="connsiteY38" fmla="*/ 9730 h 10138"/>
                <a:gd name="connsiteX39" fmla="*/ 7223 w 10197"/>
                <a:gd name="connsiteY39" fmla="*/ 10138 h 10138"/>
                <a:gd name="connsiteX40" fmla="*/ 7445 w 10197"/>
                <a:gd name="connsiteY40" fmla="*/ 9798 h 10138"/>
                <a:gd name="connsiteX41" fmla="*/ 7715 w 10197"/>
                <a:gd name="connsiteY41" fmla="*/ 9820 h 10138"/>
                <a:gd name="connsiteX42" fmla="*/ 7921 w 10197"/>
                <a:gd name="connsiteY42" fmla="*/ 9639 h 10138"/>
                <a:gd name="connsiteX43" fmla="*/ 8210 w 10197"/>
                <a:gd name="connsiteY43" fmla="*/ 9820 h 10138"/>
                <a:gd name="connsiteX44" fmla="*/ 8584 w 10197"/>
                <a:gd name="connsiteY44" fmla="*/ 9259 h 10138"/>
                <a:gd name="connsiteX45" fmla="*/ 8716 w 10197"/>
                <a:gd name="connsiteY45" fmla="*/ 9259 h 10138"/>
                <a:gd name="connsiteX46" fmla="*/ 8956 w 10197"/>
                <a:gd name="connsiteY46" fmla="*/ 8806 h 10138"/>
                <a:gd name="connsiteX47" fmla="*/ 9972 w 10197"/>
                <a:gd name="connsiteY47" fmla="*/ 8784 h 10138"/>
                <a:gd name="connsiteX48" fmla="*/ 10197 w 10197"/>
                <a:gd name="connsiteY48" fmla="*/ 8600 h 10138"/>
                <a:gd name="connsiteX49" fmla="*/ 10180 w 10197"/>
                <a:gd name="connsiteY49" fmla="*/ 8378 h 10138"/>
                <a:gd name="connsiteX50" fmla="*/ 10112 w 10197"/>
                <a:gd name="connsiteY50" fmla="*/ 7882 h 10138"/>
                <a:gd name="connsiteX51" fmla="*/ 9687 w 10197"/>
                <a:gd name="connsiteY51" fmla="*/ 7719 h 10138"/>
                <a:gd name="connsiteX52" fmla="*/ 9484 w 10197"/>
                <a:gd name="connsiteY52" fmla="*/ 6931 h 10138"/>
                <a:gd name="connsiteX53" fmla="*/ 9365 w 10197"/>
                <a:gd name="connsiteY53" fmla="*/ 6840 h 10138"/>
                <a:gd name="connsiteX54" fmla="*/ 9334 w 10197"/>
                <a:gd name="connsiteY54" fmla="*/ 6278 h 10138"/>
                <a:gd name="connsiteX55" fmla="*/ 9181 w 10197"/>
                <a:gd name="connsiteY55" fmla="*/ 6252 h 10138"/>
                <a:gd name="connsiteX56" fmla="*/ 9124 w 10197"/>
                <a:gd name="connsiteY56" fmla="*/ 5964 h 10138"/>
                <a:gd name="connsiteX57" fmla="*/ 8870 w 10197"/>
                <a:gd name="connsiteY57" fmla="*/ 5892 h 10138"/>
                <a:gd name="connsiteX58" fmla="*/ 8785 w 10197"/>
                <a:gd name="connsiteY58" fmla="*/ 5445 h 10138"/>
                <a:gd name="connsiteX59" fmla="*/ 8363 w 10197"/>
                <a:gd name="connsiteY59" fmla="*/ 5014 h 10138"/>
                <a:gd name="connsiteX60" fmla="*/ 7902 w 10197"/>
                <a:gd name="connsiteY60" fmla="*/ 4945 h 10138"/>
                <a:gd name="connsiteX61" fmla="*/ 8024 w 10197"/>
                <a:gd name="connsiteY61" fmla="*/ 4450 h 10138"/>
                <a:gd name="connsiteX62" fmla="*/ 7991 w 10197"/>
                <a:gd name="connsiteY62" fmla="*/ 4087 h 10138"/>
                <a:gd name="connsiteX63" fmla="*/ 8380 w 10197"/>
                <a:gd name="connsiteY63" fmla="*/ 4112 h 10138"/>
                <a:gd name="connsiteX64" fmla="*/ 8464 w 10197"/>
                <a:gd name="connsiteY64" fmla="*/ 4221 h 10138"/>
                <a:gd name="connsiteX65" fmla="*/ 8701 w 10197"/>
                <a:gd name="connsiteY65" fmla="*/ 3994 h 10138"/>
                <a:gd name="connsiteX66" fmla="*/ 8770 w 10197"/>
                <a:gd name="connsiteY66" fmla="*/ 3187 h 10138"/>
                <a:gd name="connsiteX67" fmla="*/ 8669 w 10197"/>
                <a:gd name="connsiteY67" fmla="*/ 2575 h 10138"/>
                <a:gd name="connsiteX68" fmla="*/ 8956 w 10197"/>
                <a:gd name="connsiteY68" fmla="*/ 2079 h 10138"/>
                <a:gd name="connsiteX69" fmla="*/ 8507 w 10197"/>
                <a:gd name="connsiteY69" fmla="*/ 1520 h 10138"/>
                <a:gd name="connsiteX0" fmla="*/ 8321 w 10011"/>
                <a:gd name="connsiteY0" fmla="*/ 1520 h 10138"/>
                <a:gd name="connsiteX1" fmla="*/ 5709 w 10011"/>
                <a:gd name="connsiteY1" fmla="*/ 166 h 10138"/>
                <a:gd name="connsiteX2" fmla="*/ 2094 w 10011"/>
                <a:gd name="connsiteY2" fmla="*/ 138 h 10138"/>
                <a:gd name="connsiteX3" fmla="*/ 1936 w 10011"/>
                <a:gd name="connsiteY3" fmla="*/ 2101 h 10138"/>
                <a:gd name="connsiteX4" fmla="*/ 509 w 10011"/>
                <a:gd name="connsiteY4" fmla="*/ 3202 h 10138"/>
                <a:gd name="connsiteX5" fmla="*/ 12 w 10011"/>
                <a:gd name="connsiteY5" fmla="*/ 3342 h 10138"/>
                <a:gd name="connsiteX6" fmla="*/ 151 w 10011"/>
                <a:gd name="connsiteY6" fmla="*/ 3499 h 10138"/>
                <a:gd name="connsiteX7" fmla="*/ 48 w 10011"/>
                <a:gd name="connsiteY7" fmla="*/ 3744 h 10138"/>
                <a:gd name="connsiteX8" fmla="*/ 626 w 10011"/>
                <a:gd name="connsiteY8" fmla="*/ 3816 h 10138"/>
                <a:gd name="connsiteX9" fmla="*/ 626 w 10011"/>
                <a:gd name="connsiteY9" fmla="*/ 3973 h 10138"/>
                <a:gd name="connsiteX10" fmla="*/ 606 w 10011"/>
                <a:gd name="connsiteY10" fmla="*/ 4335 h 10138"/>
                <a:gd name="connsiteX11" fmla="*/ 1217 w 10011"/>
                <a:gd name="connsiteY11" fmla="*/ 4468 h 10138"/>
                <a:gd name="connsiteX12" fmla="*/ 1217 w 10011"/>
                <a:gd name="connsiteY12" fmla="*/ 4770 h 10138"/>
                <a:gd name="connsiteX13" fmla="*/ 1541 w 10011"/>
                <a:gd name="connsiteY13" fmla="*/ 4990 h 10138"/>
                <a:gd name="connsiteX14" fmla="*/ 1439 w 10011"/>
                <a:gd name="connsiteY14" fmla="*/ 5326 h 10138"/>
                <a:gd name="connsiteX15" fmla="*/ 1893 w 10011"/>
                <a:gd name="connsiteY15" fmla="*/ 5622 h 10138"/>
                <a:gd name="connsiteX16" fmla="*/ 2169 w 10011"/>
                <a:gd name="connsiteY16" fmla="*/ 6162 h 10138"/>
                <a:gd name="connsiteX17" fmla="*/ 2422 w 10011"/>
                <a:gd name="connsiteY17" fmla="*/ 6370 h 10138"/>
                <a:gd name="connsiteX18" fmla="*/ 2321 w 10011"/>
                <a:gd name="connsiteY18" fmla="*/ 6551 h 10138"/>
                <a:gd name="connsiteX19" fmla="*/ 2457 w 10011"/>
                <a:gd name="connsiteY19" fmla="*/ 6751 h 10138"/>
                <a:gd name="connsiteX20" fmla="*/ 2437 w 10011"/>
                <a:gd name="connsiteY20" fmla="*/ 7040 h 10138"/>
                <a:gd name="connsiteX21" fmla="*/ 2699 w 10011"/>
                <a:gd name="connsiteY21" fmla="*/ 7070 h 10138"/>
                <a:gd name="connsiteX22" fmla="*/ 2983 w 10011"/>
                <a:gd name="connsiteY22" fmla="*/ 7387 h 10138"/>
                <a:gd name="connsiteX23" fmla="*/ 3053 w 10011"/>
                <a:gd name="connsiteY23" fmla="*/ 7882 h 10138"/>
                <a:gd name="connsiteX24" fmla="*/ 3117 w 10011"/>
                <a:gd name="connsiteY24" fmla="*/ 8064 h 10138"/>
                <a:gd name="connsiteX25" fmla="*/ 3475 w 10011"/>
                <a:gd name="connsiteY25" fmla="*/ 8487 h 10138"/>
                <a:gd name="connsiteX26" fmla="*/ 3475 w 10011"/>
                <a:gd name="connsiteY26" fmla="*/ 8806 h 10138"/>
                <a:gd name="connsiteX27" fmla="*/ 4001 w 10011"/>
                <a:gd name="connsiteY27" fmla="*/ 9150 h 10138"/>
                <a:gd name="connsiteX28" fmla="*/ 4290 w 10011"/>
                <a:gd name="connsiteY28" fmla="*/ 8784 h 10138"/>
                <a:gd name="connsiteX29" fmla="*/ 4648 w 10011"/>
                <a:gd name="connsiteY29" fmla="*/ 9059 h 10138"/>
                <a:gd name="connsiteX30" fmla="*/ 4933 w 10011"/>
                <a:gd name="connsiteY30" fmla="*/ 8647 h 10138"/>
                <a:gd name="connsiteX31" fmla="*/ 5257 w 10011"/>
                <a:gd name="connsiteY31" fmla="*/ 9302 h 10138"/>
                <a:gd name="connsiteX32" fmla="*/ 5715 w 10011"/>
                <a:gd name="connsiteY32" fmla="*/ 9666 h 10138"/>
                <a:gd name="connsiteX33" fmla="*/ 5765 w 10011"/>
                <a:gd name="connsiteY33" fmla="*/ 9986 h 10138"/>
                <a:gd name="connsiteX34" fmla="*/ 5953 w 10011"/>
                <a:gd name="connsiteY34" fmla="*/ 10028 h 10138"/>
                <a:gd name="connsiteX35" fmla="*/ 6223 w 10011"/>
                <a:gd name="connsiteY35" fmla="*/ 9730 h 10138"/>
                <a:gd name="connsiteX36" fmla="*/ 6565 w 10011"/>
                <a:gd name="connsiteY36" fmla="*/ 9912 h 10138"/>
                <a:gd name="connsiteX37" fmla="*/ 6682 w 10011"/>
                <a:gd name="connsiteY37" fmla="*/ 9755 h 10138"/>
                <a:gd name="connsiteX38" fmla="*/ 6804 w 10011"/>
                <a:gd name="connsiteY38" fmla="*/ 9730 h 10138"/>
                <a:gd name="connsiteX39" fmla="*/ 7037 w 10011"/>
                <a:gd name="connsiteY39" fmla="*/ 10138 h 10138"/>
                <a:gd name="connsiteX40" fmla="*/ 7259 w 10011"/>
                <a:gd name="connsiteY40" fmla="*/ 9798 h 10138"/>
                <a:gd name="connsiteX41" fmla="*/ 7529 w 10011"/>
                <a:gd name="connsiteY41" fmla="*/ 9820 h 10138"/>
                <a:gd name="connsiteX42" fmla="*/ 7735 w 10011"/>
                <a:gd name="connsiteY42" fmla="*/ 9639 h 10138"/>
                <a:gd name="connsiteX43" fmla="*/ 8024 w 10011"/>
                <a:gd name="connsiteY43" fmla="*/ 9820 h 10138"/>
                <a:gd name="connsiteX44" fmla="*/ 8398 w 10011"/>
                <a:gd name="connsiteY44" fmla="*/ 9259 h 10138"/>
                <a:gd name="connsiteX45" fmla="*/ 8530 w 10011"/>
                <a:gd name="connsiteY45" fmla="*/ 9259 h 10138"/>
                <a:gd name="connsiteX46" fmla="*/ 8770 w 10011"/>
                <a:gd name="connsiteY46" fmla="*/ 8806 h 10138"/>
                <a:gd name="connsiteX47" fmla="*/ 9786 w 10011"/>
                <a:gd name="connsiteY47" fmla="*/ 8784 h 10138"/>
                <a:gd name="connsiteX48" fmla="*/ 10011 w 10011"/>
                <a:gd name="connsiteY48" fmla="*/ 8600 h 10138"/>
                <a:gd name="connsiteX49" fmla="*/ 9994 w 10011"/>
                <a:gd name="connsiteY49" fmla="*/ 8378 h 10138"/>
                <a:gd name="connsiteX50" fmla="*/ 9926 w 10011"/>
                <a:gd name="connsiteY50" fmla="*/ 7882 h 10138"/>
                <a:gd name="connsiteX51" fmla="*/ 9501 w 10011"/>
                <a:gd name="connsiteY51" fmla="*/ 7719 h 10138"/>
                <a:gd name="connsiteX52" fmla="*/ 9298 w 10011"/>
                <a:gd name="connsiteY52" fmla="*/ 6931 h 10138"/>
                <a:gd name="connsiteX53" fmla="*/ 9179 w 10011"/>
                <a:gd name="connsiteY53" fmla="*/ 6840 h 10138"/>
                <a:gd name="connsiteX54" fmla="*/ 9148 w 10011"/>
                <a:gd name="connsiteY54" fmla="*/ 6278 h 10138"/>
                <a:gd name="connsiteX55" fmla="*/ 8995 w 10011"/>
                <a:gd name="connsiteY55" fmla="*/ 6252 h 10138"/>
                <a:gd name="connsiteX56" fmla="*/ 8938 w 10011"/>
                <a:gd name="connsiteY56" fmla="*/ 5964 h 10138"/>
                <a:gd name="connsiteX57" fmla="*/ 8684 w 10011"/>
                <a:gd name="connsiteY57" fmla="*/ 5892 h 10138"/>
                <a:gd name="connsiteX58" fmla="*/ 8599 w 10011"/>
                <a:gd name="connsiteY58" fmla="*/ 5445 h 10138"/>
                <a:gd name="connsiteX59" fmla="*/ 8177 w 10011"/>
                <a:gd name="connsiteY59" fmla="*/ 5014 h 10138"/>
                <a:gd name="connsiteX60" fmla="*/ 7716 w 10011"/>
                <a:gd name="connsiteY60" fmla="*/ 4945 h 10138"/>
                <a:gd name="connsiteX61" fmla="*/ 7838 w 10011"/>
                <a:gd name="connsiteY61" fmla="*/ 4450 h 10138"/>
                <a:gd name="connsiteX62" fmla="*/ 7805 w 10011"/>
                <a:gd name="connsiteY62" fmla="*/ 4087 h 10138"/>
                <a:gd name="connsiteX63" fmla="*/ 8194 w 10011"/>
                <a:gd name="connsiteY63" fmla="*/ 4112 h 10138"/>
                <a:gd name="connsiteX64" fmla="*/ 8278 w 10011"/>
                <a:gd name="connsiteY64" fmla="*/ 4221 h 10138"/>
                <a:gd name="connsiteX65" fmla="*/ 8515 w 10011"/>
                <a:gd name="connsiteY65" fmla="*/ 3994 h 10138"/>
                <a:gd name="connsiteX66" fmla="*/ 8584 w 10011"/>
                <a:gd name="connsiteY66" fmla="*/ 3187 h 10138"/>
                <a:gd name="connsiteX67" fmla="*/ 8483 w 10011"/>
                <a:gd name="connsiteY67" fmla="*/ 2575 h 10138"/>
                <a:gd name="connsiteX68" fmla="*/ 8770 w 10011"/>
                <a:gd name="connsiteY68" fmla="*/ 2079 h 10138"/>
                <a:gd name="connsiteX69" fmla="*/ 8321 w 10011"/>
                <a:gd name="connsiteY69" fmla="*/ 1520 h 10138"/>
                <a:gd name="connsiteX0" fmla="*/ 8321 w 10011"/>
                <a:gd name="connsiteY0" fmla="*/ 1630 h 10248"/>
                <a:gd name="connsiteX1" fmla="*/ 5709 w 10011"/>
                <a:gd name="connsiteY1" fmla="*/ 276 h 10248"/>
                <a:gd name="connsiteX2" fmla="*/ 2094 w 10011"/>
                <a:gd name="connsiteY2" fmla="*/ 248 h 10248"/>
                <a:gd name="connsiteX3" fmla="*/ 2008 w 10011"/>
                <a:gd name="connsiteY3" fmla="*/ 3701 h 10248"/>
                <a:gd name="connsiteX4" fmla="*/ 509 w 10011"/>
                <a:gd name="connsiteY4" fmla="*/ 3312 h 10248"/>
                <a:gd name="connsiteX5" fmla="*/ 12 w 10011"/>
                <a:gd name="connsiteY5" fmla="*/ 3452 h 10248"/>
                <a:gd name="connsiteX6" fmla="*/ 151 w 10011"/>
                <a:gd name="connsiteY6" fmla="*/ 3609 h 10248"/>
                <a:gd name="connsiteX7" fmla="*/ 48 w 10011"/>
                <a:gd name="connsiteY7" fmla="*/ 3854 h 10248"/>
                <a:gd name="connsiteX8" fmla="*/ 626 w 10011"/>
                <a:gd name="connsiteY8" fmla="*/ 3926 h 10248"/>
                <a:gd name="connsiteX9" fmla="*/ 626 w 10011"/>
                <a:gd name="connsiteY9" fmla="*/ 4083 h 10248"/>
                <a:gd name="connsiteX10" fmla="*/ 606 w 10011"/>
                <a:gd name="connsiteY10" fmla="*/ 4445 h 10248"/>
                <a:gd name="connsiteX11" fmla="*/ 1217 w 10011"/>
                <a:gd name="connsiteY11" fmla="*/ 4578 h 10248"/>
                <a:gd name="connsiteX12" fmla="*/ 1217 w 10011"/>
                <a:gd name="connsiteY12" fmla="*/ 4880 h 10248"/>
                <a:gd name="connsiteX13" fmla="*/ 1541 w 10011"/>
                <a:gd name="connsiteY13" fmla="*/ 5100 h 10248"/>
                <a:gd name="connsiteX14" fmla="*/ 1439 w 10011"/>
                <a:gd name="connsiteY14" fmla="*/ 5436 h 10248"/>
                <a:gd name="connsiteX15" fmla="*/ 1893 w 10011"/>
                <a:gd name="connsiteY15" fmla="*/ 5732 h 10248"/>
                <a:gd name="connsiteX16" fmla="*/ 2169 w 10011"/>
                <a:gd name="connsiteY16" fmla="*/ 6272 h 10248"/>
                <a:gd name="connsiteX17" fmla="*/ 2422 w 10011"/>
                <a:gd name="connsiteY17" fmla="*/ 6480 h 10248"/>
                <a:gd name="connsiteX18" fmla="*/ 2321 w 10011"/>
                <a:gd name="connsiteY18" fmla="*/ 6661 h 10248"/>
                <a:gd name="connsiteX19" fmla="*/ 2457 w 10011"/>
                <a:gd name="connsiteY19" fmla="*/ 6861 h 10248"/>
                <a:gd name="connsiteX20" fmla="*/ 2437 w 10011"/>
                <a:gd name="connsiteY20" fmla="*/ 7150 h 10248"/>
                <a:gd name="connsiteX21" fmla="*/ 2699 w 10011"/>
                <a:gd name="connsiteY21" fmla="*/ 7180 h 10248"/>
                <a:gd name="connsiteX22" fmla="*/ 2983 w 10011"/>
                <a:gd name="connsiteY22" fmla="*/ 7497 h 10248"/>
                <a:gd name="connsiteX23" fmla="*/ 3053 w 10011"/>
                <a:gd name="connsiteY23" fmla="*/ 7992 h 10248"/>
                <a:gd name="connsiteX24" fmla="*/ 3117 w 10011"/>
                <a:gd name="connsiteY24" fmla="*/ 8174 h 10248"/>
                <a:gd name="connsiteX25" fmla="*/ 3475 w 10011"/>
                <a:gd name="connsiteY25" fmla="*/ 8597 h 10248"/>
                <a:gd name="connsiteX26" fmla="*/ 3475 w 10011"/>
                <a:gd name="connsiteY26" fmla="*/ 8916 h 10248"/>
                <a:gd name="connsiteX27" fmla="*/ 4001 w 10011"/>
                <a:gd name="connsiteY27" fmla="*/ 9260 h 10248"/>
                <a:gd name="connsiteX28" fmla="*/ 4290 w 10011"/>
                <a:gd name="connsiteY28" fmla="*/ 8894 h 10248"/>
                <a:gd name="connsiteX29" fmla="*/ 4648 w 10011"/>
                <a:gd name="connsiteY29" fmla="*/ 9169 h 10248"/>
                <a:gd name="connsiteX30" fmla="*/ 4933 w 10011"/>
                <a:gd name="connsiteY30" fmla="*/ 8757 h 10248"/>
                <a:gd name="connsiteX31" fmla="*/ 5257 w 10011"/>
                <a:gd name="connsiteY31" fmla="*/ 9412 h 10248"/>
                <a:gd name="connsiteX32" fmla="*/ 5715 w 10011"/>
                <a:gd name="connsiteY32" fmla="*/ 9776 h 10248"/>
                <a:gd name="connsiteX33" fmla="*/ 5765 w 10011"/>
                <a:gd name="connsiteY33" fmla="*/ 10096 h 10248"/>
                <a:gd name="connsiteX34" fmla="*/ 5953 w 10011"/>
                <a:gd name="connsiteY34" fmla="*/ 10138 h 10248"/>
                <a:gd name="connsiteX35" fmla="*/ 6223 w 10011"/>
                <a:gd name="connsiteY35" fmla="*/ 9840 h 10248"/>
                <a:gd name="connsiteX36" fmla="*/ 6565 w 10011"/>
                <a:gd name="connsiteY36" fmla="*/ 10022 h 10248"/>
                <a:gd name="connsiteX37" fmla="*/ 6682 w 10011"/>
                <a:gd name="connsiteY37" fmla="*/ 9865 h 10248"/>
                <a:gd name="connsiteX38" fmla="*/ 6804 w 10011"/>
                <a:gd name="connsiteY38" fmla="*/ 9840 h 10248"/>
                <a:gd name="connsiteX39" fmla="*/ 7037 w 10011"/>
                <a:gd name="connsiteY39" fmla="*/ 10248 h 10248"/>
                <a:gd name="connsiteX40" fmla="*/ 7259 w 10011"/>
                <a:gd name="connsiteY40" fmla="*/ 9908 h 10248"/>
                <a:gd name="connsiteX41" fmla="*/ 7529 w 10011"/>
                <a:gd name="connsiteY41" fmla="*/ 9930 h 10248"/>
                <a:gd name="connsiteX42" fmla="*/ 7735 w 10011"/>
                <a:gd name="connsiteY42" fmla="*/ 9749 h 10248"/>
                <a:gd name="connsiteX43" fmla="*/ 8024 w 10011"/>
                <a:gd name="connsiteY43" fmla="*/ 9930 h 10248"/>
                <a:gd name="connsiteX44" fmla="*/ 8398 w 10011"/>
                <a:gd name="connsiteY44" fmla="*/ 9369 h 10248"/>
                <a:gd name="connsiteX45" fmla="*/ 8530 w 10011"/>
                <a:gd name="connsiteY45" fmla="*/ 9369 h 10248"/>
                <a:gd name="connsiteX46" fmla="*/ 8770 w 10011"/>
                <a:gd name="connsiteY46" fmla="*/ 8916 h 10248"/>
                <a:gd name="connsiteX47" fmla="*/ 9786 w 10011"/>
                <a:gd name="connsiteY47" fmla="*/ 8894 h 10248"/>
                <a:gd name="connsiteX48" fmla="*/ 10011 w 10011"/>
                <a:gd name="connsiteY48" fmla="*/ 8710 h 10248"/>
                <a:gd name="connsiteX49" fmla="*/ 9994 w 10011"/>
                <a:gd name="connsiteY49" fmla="*/ 8488 h 10248"/>
                <a:gd name="connsiteX50" fmla="*/ 9926 w 10011"/>
                <a:gd name="connsiteY50" fmla="*/ 7992 h 10248"/>
                <a:gd name="connsiteX51" fmla="*/ 9501 w 10011"/>
                <a:gd name="connsiteY51" fmla="*/ 7829 h 10248"/>
                <a:gd name="connsiteX52" fmla="*/ 9298 w 10011"/>
                <a:gd name="connsiteY52" fmla="*/ 7041 h 10248"/>
                <a:gd name="connsiteX53" fmla="*/ 9179 w 10011"/>
                <a:gd name="connsiteY53" fmla="*/ 6950 h 10248"/>
                <a:gd name="connsiteX54" fmla="*/ 9148 w 10011"/>
                <a:gd name="connsiteY54" fmla="*/ 6388 h 10248"/>
                <a:gd name="connsiteX55" fmla="*/ 8995 w 10011"/>
                <a:gd name="connsiteY55" fmla="*/ 6362 h 10248"/>
                <a:gd name="connsiteX56" fmla="*/ 8938 w 10011"/>
                <a:gd name="connsiteY56" fmla="*/ 6074 h 10248"/>
                <a:gd name="connsiteX57" fmla="*/ 8684 w 10011"/>
                <a:gd name="connsiteY57" fmla="*/ 6002 h 10248"/>
                <a:gd name="connsiteX58" fmla="*/ 8599 w 10011"/>
                <a:gd name="connsiteY58" fmla="*/ 5555 h 10248"/>
                <a:gd name="connsiteX59" fmla="*/ 8177 w 10011"/>
                <a:gd name="connsiteY59" fmla="*/ 5124 h 10248"/>
                <a:gd name="connsiteX60" fmla="*/ 7716 w 10011"/>
                <a:gd name="connsiteY60" fmla="*/ 5055 h 10248"/>
                <a:gd name="connsiteX61" fmla="*/ 7838 w 10011"/>
                <a:gd name="connsiteY61" fmla="*/ 4560 h 10248"/>
                <a:gd name="connsiteX62" fmla="*/ 7805 w 10011"/>
                <a:gd name="connsiteY62" fmla="*/ 4197 h 10248"/>
                <a:gd name="connsiteX63" fmla="*/ 8194 w 10011"/>
                <a:gd name="connsiteY63" fmla="*/ 4222 h 10248"/>
                <a:gd name="connsiteX64" fmla="*/ 8278 w 10011"/>
                <a:gd name="connsiteY64" fmla="*/ 4331 h 10248"/>
                <a:gd name="connsiteX65" fmla="*/ 8515 w 10011"/>
                <a:gd name="connsiteY65" fmla="*/ 4104 h 10248"/>
                <a:gd name="connsiteX66" fmla="*/ 8584 w 10011"/>
                <a:gd name="connsiteY66" fmla="*/ 3297 h 10248"/>
                <a:gd name="connsiteX67" fmla="*/ 8483 w 10011"/>
                <a:gd name="connsiteY67" fmla="*/ 2685 h 10248"/>
                <a:gd name="connsiteX68" fmla="*/ 8770 w 10011"/>
                <a:gd name="connsiteY68" fmla="*/ 2189 h 10248"/>
                <a:gd name="connsiteX69" fmla="*/ 8321 w 10011"/>
                <a:gd name="connsiteY69" fmla="*/ 1630 h 10248"/>
                <a:gd name="connsiteX0" fmla="*/ 8321 w 10011"/>
                <a:gd name="connsiteY0" fmla="*/ 1557 h 10175"/>
                <a:gd name="connsiteX1" fmla="*/ 5709 w 10011"/>
                <a:gd name="connsiteY1" fmla="*/ 203 h 10175"/>
                <a:gd name="connsiteX2" fmla="*/ 2094 w 10011"/>
                <a:gd name="connsiteY2" fmla="*/ 175 h 10175"/>
                <a:gd name="connsiteX3" fmla="*/ 1213 w 10011"/>
                <a:gd name="connsiteY3" fmla="*/ 2635 h 10175"/>
                <a:gd name="connsiteX4" fmla="*/ 509 w 10011"/>
                <a:gd name="connsiteY4" fmla="*/ 3239 h 10175"/>
                <a:gd name="connsiteX5" fmla="*/ 12 w 10011"/>
                <a:gd name="connsiteY5" fmla="*/ 3379 h 10175"/>
                <a:gd name="connsiteX6" fmla="*/ 151 w 10011"/>
                <a:gd name="connsiteY6" fmla="*/ 3536 h 10175"/>
                <a:gd name="connsiteX7" fmla="*/ 48 w 10011"/>
                <a:gd name="connsiteY7" fmla="*/ 3781 h 10175"/>
                <a:gd name="connsiteX8" fmla="*/ 626 w 10011"/>
                <a:gd name="connsiteY8" fmla="*/ 3853 h 10175"/>
                <a:gd name="connsiteX9" fmla="*/ 626 w 10011"/>
                <a:gd name="connsiteY9" fmla="*/ 4010 h 10175"/>
                <a:gd name="connsiteX10" fmla="*/ 606 w 10011"/>
                <a:gd name="connsiteY10" fmla="*/ 4372 h 10175"/>
                <a:gd name="connsiteX11" fmla="*/ 1217 w 10011"/>
                <a:gd name="connsiteY11" fmla="*/ 4505 h 10175"/>
                <a:gd name="connsiteX12" fmla="*/ 1217 w 10011"/>
                <a:gd name="connsiteY12" fmla="*/ 4807 h 10175"/>
                <a:gd name="connsiteX13" fmla="*/ 1541 w 10011"/>
                <a:gd name="connsiteY13" fmla="*/ 5027 h 10175"/>
                <a:gd name="connsiteX14" fmla="*/ 1439 w 10011"/>
                <a:gd name="connsiteY14" fmla="*/ 5363 h 10175"/>
                <a:gd name="connsiteX15" fmla="*/ 1893 w 10011"/>
                <a:gd name="connsiteY15" fmla="*/ 5659 h 10175"/>
                <a:gd name="connsiteX16" fmla="*/ 2169 w 10011"/>
                <a:gd name="connsiteY16" fmla="*/ 6199 h 10175"/>
                <a:gd name="connsiteX17" fmla="*/ 2422 w 10011"/>
                <a:gd name="connsiteY17" fmla="*/ 6407 h 10175"/>
                <a:gd name="connsiteX18" fmla="*/ 2321 w 10011"/>
                <a:gd name="connsiteY18" fmla="*/ 6588 h 10175"/>
                <a:gd name="connsiteX19" fmla="*/ 2457 w 10011"/>
                <a:gd name="connsiteY19" fmla="*/ 6788 h 10175"/>
                <a:gd name="connsiteX20" fmla="*/ 2437 w 10011"/>
                <a:gd name="connsiteY20" fmla="*/ 7077 h 10175"/>
                <a:gd name="connsiteX21" fmla="*/ 2699 w 10011"/>
                <a:gd name="connsiteY21" fmla="*/ 7107 h 10175"/>
                <a:gd name="connsiteX22" fmla="*/ 2983 w 10011"/>
                <a:gd name="connsiteY22" fmla="*/ 7424 h 10175"/>
                <a:gd name="connsiteX23" fmla="*/ 3053 w 10011"/>
                <a:gd name="connsiteY23" fmla="*/ 7919 h 10175"/>
                <a:gd name="connsiteX24" fmla="*/ 3117 w 10011"/>
                <a:gd name="connsiteY24" fmla="*/ 8101 h 10175"/>
                <a:gd name="connsiteX25" fmla="*/ 3475 w 10011"/>
                <a:gd name="connsiteY25" fmla="*/ 8524 h 10175"/>
                <a:gd name="connsiteX26" fmla="*/ 3475 w 10011"/>
                <a:gd name="connsiteY26" fmla="*/ 8843 h 10175"/>
                <a:gd name="connsiteX27" fmla="*/ 4001 w 10011"/>
                <a:gd name="connsiteY27" fmla="*/ 9187 h 10175"/>
                <a:gd name="connsiteX28" fmla="*/ 4290 w 10011"/>
                <a:gd name="connsiteY28" fmla="*/ 8821 h 10175"/>
                <a:gd name="connsiteX29" fmla="*/ 4648 w 10011"/>
                <a:gd name="connsiteY29" fmla="*/ 9096 h 10175"/>
                <a:gd name="connsiteX30" fmla="*/ 4933 w 10011"/>
                <a:gd name="connsiteY30" fmla="*/ 8684 h 10175"/>
                <a:gd name="connsiteX31" fmla="*/ 5257 w 10011"/>
                <a:gd name="connsiteY31" fmla="*/ 9339 h 10175"/>
                <a:gd name="connsiteX32" fmla="*/ 5715 w 10011"/>
                <a:gd name="connsiteY32" fmla="*/ 9703 h 10175"/>
                <a:gd name="connsiteX33" fmla="*/ 5765 w 10011"/>
                <a:gd name="connsiteY33" fmla="*/ 10023 h 10175"/>
                <a:gd name="connsiteX34" fmla="*/ 5953 w 10011"/>
                <a:gd name="connsiteY34" fmla="*/ 10065 h 10175"/>
                <a:gd name="connsiteX35" fmla="*/ 6223 w 10011"/>
                <a:gd name="connsiteY35" fmla="*/ 9767 h 10175"/>
                <a:gd name="connsiteX36" fmla="*/ 6565 w 10011"/>
                <a:gd name="connsiteY36" fmla="*/ 9949 h 10175"/>
                <a:gd name="connsiteX37" fmla="*/ 6682 w 10011"/>
                <a:gd name="connsiteY37" fmla="*/ 9792 h 10175"/>
                <a:gd name="connsiteX38" fmla="*/ 6804 w 10011"/>
                <a:gd name="connsiteY38" fmla="*/ 9767 h 10175"/>
                <a:gd name="connsiteX39" fmla="*/ 7037 w 10011"/>
                <a:gd name="connsiteY39" fmla="*/ 10175 h 10175"/>
                <a:gd name="connsiteX40" fmla="*/ 7259 w 10011"/>
                <a:gd name="connsiteY40" fmla="*/ 9835 h 10175"/>
                <a:gd name="connsiteX41" fmla="*/ 7529 w 10011"/>
                <a:gd name="connsiteY41" fmla="*/ 9857 h 10175"/>
                <a:gd name="connsiteX42" fmla="*/ 7735 w 10011"/>
                <a:gd name="connsiteY42" fmla="*/ 9676 h 10175"/>
                <a:gd name="connsiteX43" fmla="*/ 8024 w 10011"/>
                <a:gd name="connsiteY43" fmla="*/ 9857 h 10175"/>
                <a:gd name="connsiteX44" fmla="*/ 8398 w 10011"/>
                <a:gd name="connsiteY44" fmla="*/ 9296 h 10175"/>
                <a:gd name="connsiteX45" fmla="*/ 8530 w 10011"/>
                <a:gd name="connsiteY45" fmla="*/ 9296 h 10175"/>
                <a:gd name="connsiteX46" fmla="*/ 8770 w 10011"/>
                <a:gd name="connsiteY46" fmla="*/ 8843 h 10175"/>
                <a:gd name="connsiteX47" fmla="*/ 9786 w 10011"/>
                <a:gd name="connsiteY47" fmla="*/ 8821 h 10175"/>
                <a:gd name="connsiteX48" fmla="*/ 10011 w 10011"/>
                <a:gd name="connsiteY48" fmla="*/ 8637 h 10175"/>
                <a:gd name="connsiteX49" fmla="*/ 9994 w 10011"/>
                <a:gd name="connsiteY49" fmla="*/ 8415 h 10175"/>
                <a:gd name="connsiteX50" fmla="*/ 9926 w 10011"/>
                <a:gd name="connsiteY50" fmla="*/ 7919 h 10175"/>
                <a:gd name="connsiteX51" fmla="*/ 9501 w 10011"/>
                <a:gd name="connsiteY51" fmla="*/ 7756 h 10175"/>
                <a:gd name="connsiteX52" fmla="*/ 9298 w 10011"/>
                <a:gd name="connsiteY52" fmla="*/ 6968 h 10175"/>
                <a:gd name="connsiteX53" fmla="*/ 9179 w 10011"/>
                <a:gd name="connsiteY53" fmla="*/ 6877 h 10175"/>
                <a:gd name="connsiteX54" fmla="*/ 9148 w 10011"/>
                <a:gd name="connsiteY54" fmla="*/ 6315 h 10175"/>
                <a:gd name="connsiteX55" fmla="*/ 8995 w 10011"/>
                <a:gd name="connsiteY55" fmla="*/ 6289 h 10175"/>
                <a:gd name="connsiteX56" fmla="*/ 8938 w 10011"/>
                <a:gd name="connsiteY56" fmla="*/ 6001 h 10175"/>
                <a:gd name="connsiteX57" fmla="*/ 8684 w 10011"/>
                <a:gd name="connsiteY57" fmla="*/ 5929 h 10175"/>
                <a:gd name="connsiteX58" fmla="*/ 8599 w 10011"/>
                <a:gd name="connsiteY58" fmla="*/ 5482 h 10175"/>
                <a:gd name="connsiteX59" fmla="*/ 8177 w 10011"/>
                <a:gd name="connsiteY59" fmla="*/ 5051 h 10175"/>
                <a:gd name="connsiteX60" fmla="*/ 7716 w 10011"/>
                <a:gd name="connsiteY60" fmla="*/ 4982 h 10175"/>
                <a:gd name="connsiteX61" fmla="*/ 7838 w 10011"/>
                <a:gd name="connsiteY61" fmla="*/ 4487 h 10175"/>
                <a:gd name="connsiteX62" fmla="*/ 7805 w 10011"/>
                <a:gd name="connsiteY62" fmla="*/ 4124 h 10175"/>
                <a:gd name="connsiteX63" fmla="*/ 8194 w 10011"/>
                <a:gd name="connsiteY63" fmla="*/ 4149 h 10175"/>
                <a:gd name="connsiteX64" fmla="*/ 8278 w 10011"/>
                <a:gd name="connsiteY64" fmla="*/ 4258 h 10175"/>
                <a:gd name="connsiteX65" fmla="*/ 8515 w 10011"/>
                <a:gd name="connsiteY65" fmla="*/ 4031 h 10175"/>
                <a:gd name="connsiteX66" fmla="*/ 8584 w 10011"/>
                <a:gd name="connsiteY66" fmla="*/ 3224 h 10175"/>
                <a:gd name="connsiteX67" fmla="*/ 8483 w 10011"/>
                <a:gd name="connsiteY67" fmla="*/ 2612 h 10175"/>
                <a:gd name="connsiteX68" fmla="*/ 8770 w 10011"/>
                <a:gd name="connsiteY68" fmla="*/ 2116 h 10175"/>
                <a:gd name="connsiteX69" fmla="*/ 8321 w 10011"/>
                <a:gd name="connsiteY69" fmla="*/ 1557 h 10175"/>
                <a:gd name="connsiteX0" fmla="*/ 8321 w 10011"/>
                <a:gd name="connsiteY0" fmla="*/ 1557 h 10175"/>
                <a:gd name="connsiteX1" fmla="*/ 5709 w 10011"/>
                <a:gd name="connsiteY1" fmla="*/ 203 h 10175"/>
                <a:gd name="connsiteX2" fmla="*/ 2094 w 10011"/>
                <a:gd name="connsiteY2" fmla="*/ 175 h 10175"/>
                <a:gd name="connsiteX3" fmla="*/ 1213 w 10011"/>
                <a:gd name="connsiteY3" fmla="*/ 2635 h 10175"/>
                <a:gd name="connsiteX4" fmla="*/ 509 w 10011"/>
                <a:gd name="connsiteY4" fmla="*/ 3239 h 10175"/>
                <a:gd name="connsiteX5" fmla="*/ 12 w 10011"/>
                <a:gd name="connsiteY5" fmla="*/ 3379 h 10175"/>
                <a:gd name="connsiteX6" fmla="*/ 151 w 10011"/>
                <a:gd name="connsiteY6" fmla="*/ 3536 h 10175"/>
                <a:gd name="connsiteX7" fmla="*/ 48 w 10011"/>
                <a:gd name="connsiteY7" fmla="*/ 3781 h 10175"/>
                <a:gd name="connsiteX8" fmla="*/ 626 w 10011"/>
                <a:gd name="connsiteY8" fmla="*/ 3853 h 10175"/>
                <a:gd name="connsiteX9" fmla="*/ 626 w 10011"/>
                <a:gd name="connsiteY9" fmla="*/ 4010 h 10175"/>
                <a:gd name="connsiteX10" fmla="*/ 606 w 10011"/>
                <a:gd name="connsiteY10" fmla="*/ 4372 h 10175"/>
                <a:gd name="connsiteX11" fmla="*/ 1217 w 10011"/>
                <a:gd name="connsiteY11" fmla="*/ 4505 h 10175"/>
                <a:gd name="connsiteX12" fmla="*/ 1217 w 10011"/>
                <a:gd name="connsiteY12" fmla="*/ 4807 h 10175"/>
                <a:gd name="connsiteX13" fmla="*/ 1541 w 10011"/>
                <a:gd name="connsiteY13" fmla="*/ 5027 h 10175"/>
                <a:gd name="connsiteX14" fmla="*/ 1439 w 10011"/>
                <a:gd name="connsiteY14" fmla="*/ 5363 h 10175"/>
                <a:gd name="connsiteX15" fmla="*/ 1893 w 10011"/>
                <a:gd name="connsiteY15" fmla="*/ 5659 h 10175"/>
                <a:gd name="connsiteX16" fmla="*/ 2169 w 10011"/>
                <a:gd name="connsiteY16" fmla="*/ 6199 h 10175"/>
                <a:gd name="connsiteX17" fmla="*/ 2422 w 10011"/>
                <a:gd name="connsiteY17" fmla="*/ 6407 h 10175"/>
                <a:gd name="connsiteX18" fmla="*/ 2321 w 10011"/>
                <a:gd name="connsiteY18" fmla="*/ 6588 h 10175"/>
                <a:gd name="connsiteX19" fmla="*/ 2457 w 10011"/>
                <a:gd name="connsiteY19" fmla="*/ 6788 h 10175"/>
                <a:gd name="connsiteX20" fmla="*/ 2437 w 10011"/>
                <a:gd name="connsiteY20" fmla="*/ 7077 h 10175"/>
                <a:gd name="connsiteX21" fmla="*/ 2699 w 10011"/>
                <a:gd name="connsiteY21" fmla="*/ 7107 h 10175"/>
                <a:gd name="connsiteX22" fmla="*/ 2983 w 10011"/>
                <a:gd name="connsiteY22" fmla="*/ 7424 h 10175"/>
                <a:gd name="connsiteX23" fmla="*/ 3053 w 10011"/>
                <a:gd name="connsiteY23" fmla="*/ 7919 h 10175"/>
                <a:gd name="connsiteX24" fmla="*/ 3117 w 10011"/>
                <a:gd name="connsiteY24" fmla="*/ 8101 h 10175"/>
                <a:gd name="connsiteX25" fmla="*/ 3475 w 10011"/>
                <a:gd name="connsiteY25" fmla="*/ 8524 h 10175"/>
                <a:gd name="connsiteX26" fmla="*/ 3475 w 10011"/>
                <a:gd name="connsiteY26" fmla="*/ 8843 h 10175"/>
                <a:gd name="connsiteX27" fmla="*/ 4001 w 10011"/>
                <a:gd name="connsiteY27" fmla="*/ 9187 h 10175"/>
                <a:gd name="connsiteX28" fmla="*/ 4290 w 10011"/>
                <a:gd name="connsiteY28" fmla="*/ 8821 h 10175"/>
                <a:gd name="connsiteX29" fmla="*/ 4648 w 10011"/>
                <a:gd name="connsiteY29" fmla="*/ 9096 h 10175"/>
                <a:gd name="connsiteX30" fmla="*/ 4933 w 10011"/>
                <a:gd name="connsiteY30" fmla="*/ 8684 h 10175"/>
                <a:gd name="connsiteX31" fmla="*/ 5257 w 10011"/>
                <a:gd name="connsiteY31" fmla="*/ 9339 h 10175"/>
                <a:gd name="connsiteX32" fmla="*/ 5715 w 10011"/>
                <a:gd name="connsiteY32" fmla="*/ 9703 h 10175"/>
                <a:gd name="connsiteX33" fmla="*/ 5765 w 10011"/>
                <a:gd name="connsiteY33" fmla="*/ 10023 h 10175"/>
                <a:gd name="connsiteX34" fmla="*/ 5953 w 10011"/>
                <a:gd name="connsiteY34" fmla="*/ 10065 h 10175"/>
                <a:gd name="connsiteX35" fmla="*/ 6223 w 10011"/>
                <a:gd name="connsiteY35" fmla="*/ 9767 h 10175"/>
                <a:gd name="connsiteX36" fmla="*/ 6565 w 10011"/>
                <a:gd name="connsiteY36" fmla="*/ 9949 h 10175"/>
                <a:gd name="connsiteX37" fmla="*/ 6682 w 10011"/>
                <a:gd name="connsiteY37" fmla="*/ 9792 h 10175"/>
                <a:gd name="connsiteX38" fmla="*/ 6804 w 10011"/>
                <a:gd name="connsiteY38" fmla="*/ 9767 h 10175"/>
                <a:gd name="connsiteX39" fmla="*/ 7037 w 10011"/>
                <a:gd name="connsiteY39" fmla="*/ 10175 h 10175"/>
                <a:gd name="connsiteX40" fmla="*/ 7259 w 10011"/>
                <a:gd name="connsiteY40" fmla="*/ 9835 h 10175"/>
                <a:gd name="connsiteX41" fmla="*/ 7529 w 10011"/>
                <a:gd name="connsiteY41" fmla="*/ 9857 h 10175"/>
                <a:gd name="connsiteX42" fmla="*/ 7735 w 10011"/>
                <a:gd name="connsiteY42" fmla="*/ 9676 h 10175"/>
                <a:gd name="connsiteX43" fmla="*/ 8024 w 10011"/>
                <a:gd name="connsiteY43" fmla="*/ 9857 h 10175"/>
                <a:gd name="connsiteX44" fmla="*/ 8398 w 10011"/>
                <a:gd name="connsiteY44" fmla="*/ 9296 h 10175"/>
                <a:gd name="connsiteX45" fmla="*/ 8530 w 10011"/>
                <a:gd name="connsiteY45" fmla="*/ 9296 h 10175"/>
                <a:gd name="connsiteX46" fmla="*/ 8770 w 10011"/>
                <a:gd name="connsiteY46" fmla="*/ 8843 h 10175"/>
                <a:gd name="connsiteX47" fmla="*/ 9786 w 10011"/>
                <a:gd name="connsiteY47" fmla="*/ 8821 h 10175"/>
                <a:gd name="connsiteX48" fmla="*/ 10011 w 10011"/>
                <a:gd name="connsiteY48" fmla="*/ 8637 h 10175"/>
                <a:gd name="connsiteX49" fmla="*/ 9994 w 10011"/>
                <a:gd name="connsiteY49" fmla="*/ 8415 h 10175"/>
                <a:gd name="connsiteX50" fmla="*/ 9926 w 10011"/>
                <a:gd name="connsiteY50" fmla="*/ 7919 h 10175"/>
                <a:gd name="connsiteX51" fmla="*/ 9501 w 10011"/>
                <a:gd name="connsiteY51" fmla="*/ 7756 h 10175"/>
                <a:gd name="connsiteX52" fmla="*/ 9298 w 10011"/>
                <a:gd name="connsiteY52" fmla="*/ 6968 h 10175"/>
                <a:gd name="connsiteX53" fmla="*/ 9179 w 10011"/>
                <a:gd name="connsiteY53" fmla="*/ 6877 h 10175"/>
                <a:gd name="connsiteX54" fmla="*/ 9148 w 10011"/>
                <a:gd name="connsiteY54" fmla="*/ 6315 h 10175"/>
                <a:gd name="connsiteX55" fmla="*/ 8995 w 10011"/>
                <a:gd name="connsiteY55" fmla="*/ 6289 h 10175"/>
                <a:gd name="connsiteX56" fmla="*/ 8938 w 10011"/>
                <a:gd name="connsiteY56" fmla="*/ 6001 h 10175"/>
                <a:gd name="connsiteX57" fmla="*/ 8684 w 10011"/>
                <a:gd name="connsiteY57" fmla="*/ 5929 h 10175"/>
                <a:gd name="connsiteX58" fmla="*/ 8599 w 10011"/>
                <a:gd name="connsiteY58" fmla="*/ 5482 h 10175"/>
                <a:gd name="connsiteX59" fmla="*/ 8177 w 10011"/>
                <a:gd name="connsiteY59" fmla="*/ 5051 h 10175"/>
                <a:gd name="connsiteX60" fmla="*/ 7716 w 10011"/>
                <a:gd name="connsiteY60" fmla="*/ 4982 h 10175"/>
                <a:gd name="connsiteX61" fmla="*/ 7838 w 10011"/>
                <a:gd name="connsiteY61" fmla="*/ 4487 h 10175"/>
                <a:gd name="connsiteX62" fmla="*/ 7805 w 10011"/>
                <a:gd name="connsiteY62" fmla="*/ 4124 h 10175"/>
                <a:gd name="connsiteX63" fmla="*/ 8194 w 10011"/>
                <a:gd name="connsiteY63" fmla="*/ 4149 h 10175"/>
                <a:gd name="connsiteX64" fmla="*/ 8278 w 10011"/>
                <a:gd name="connsiteY64" fmla="*/ 4258 h 10175"/>
                <a:gd name="connsiteX65" fmla="*/ 8515 w 10011"/>
                <a:gd name="connsiteY65" fmla="*/ 4031 h 10175"/>
                <a:gd name="connsiteX66" fmla="*/ 8584 w 10011"/>
                <a:gd name="connsiteY66" fmla="*/ 3224 h 10175"/>
                <a:gd name="connsiteX67" fmla="*/ 8483 w 10011"/>
                <a:gd name="connsiteY67" fmla="*/ 2612 h 10175"/>
                <a:gd name="connsiteX68" fmla="*/ 8770 w 10011"/>
                <a:gd name="connsiteY68" fmla="*/ 2116 h 10175"/>
                <a:gd name="connsiteX69" fmla="*/ 8321 w 10011"/>
                <a:gd name="connsiteY69" fmla="*/ 1557 h 10175"/>
                <a:gd name="connsiteX0" fmla="*/ 8321 w 10011"/>
                <a:gd name="connsiteY0" fmla="*/ 1557 h 10175"/>
                <a:gd name="connsiteX1" fmla="*/ 5709 w 10011"/>
                <a:gd name="connsiteY1" fmla="*/ 203 h 10175"/>
                <a:gd name="connsiteX2" fmla="*/ 2094 w 10011"/>
                <a:gd name="connsiteY2" fmla="*/ 175 h 10175"/>
                <a:gd name="connsiteX3" fmla="*/ 1213 w 10011"/>
                <a:gd name="connsiteY3" fmla="*/ 2635 h 10175"/>
                <a:gd name="connsiteX4" fmla="*/ 509 w 10011"/>
                <a:gd name="connsiteY4" fmla="*/ 2660 h 10175"/>
                <a:gd name="connsiteX5" fmla="*/ 12 w 10011"/>
                <a:gd name="connsiteY5" fmla="*/ 3379 h 10175"/>
                <a:gd name="connsiteX6" fmla="*/ 151 w 10011"/>
                <a:gd name="connsiteY6" fmla="*/ 3536 h 10175"/>
                <a:gd name="connsiteX7" fmla="*/ 48 w 10011"/>
                <a:gd name="connsiteY7" fmla="*/ 3781 h 10175"/>
                <a:gd name="connsiteX8" fmla="*/ 626 w 10011"/>
                <a:gd name="connsiteY8" fmla="*/ 3853 h 10175"/>
                <a:gd name="connsiteX9" fmla="*/ 626 w 10011"/>
                <a:gd name="connsiteY9" fmla="*/ 4010 h 10175"/>
                <a:gd name="connsiteX10" fmla="*/ 606 w 10011"/>
                <a:gd name="connsiteY10" fmla="*/ 4372 h 10175"/>
                <a:gd name="connsiteX11" fmla="*/ 1217 w 10011"/>
                <a:gd name="connsiteY11" fmla="*/ 4505 h 10175"/>
                <a:gd name="connsiteX12" fmla="*/ 1217 w 10011"/>
                <a:gd name="connsiteY12" fmla="*/ 4807 h 10175"/>
                <a:gd name="connsiteX13" fmla="*/ 1541 w 10011"/>
                <a:gd name="connsiteY13" fmla="*/ 5027 h 10175"/>
                <a:gd name="connsiteX14" fmla="*/ 1439 w 10011"/>
                <a:gd name="connsiteY14" fmla="*/ 5363 h 10175"/>
                <a:gd name="connsiteX15" fmla="*/ 1893 w 10011"/>
                <a:gd name="connsiteY15" fmla="*/ 5659 h 10175"/>
                <a:gd name="connsiteX16" fmla="*/ 2169 w 10011"/>
                <a:gd name="connsiteY16" fmla="*/ 6199 h 10175"/>
                <a:gd name="connsiteX17" fmla="*/ 2422 w 10011"/>
                <a:gd name="connsiteY17" fmla="*/ 6407 h 10175"/>
                <a:gd name="connsiteX18" fmla="*/ 2321 w 10011"/>
                <a:gd name="connsiteY18" fmla="*/ 6588 h 10175"/>
                <a:gd name="connsiteX19" fmla="*/ 2457 w 10011"/>
                <a:gd name="connsiteY19" fmla="*/ 6788 h 10175"/>
                <a:gd name="connsiteX20" fmla="*/ 2437 w 10011"/>
                <a:gd name="connsiteY20" fmla="*/ 7077 h 10175"/>
                <a:gd name="connsiteX21" fmla="*/ 2699 w 10011"/>
                <a:gd name="connsiteY21" fmla="*/ 7107 h 10175"/>
                <a:gd name="connsiteX22" fmla="*/ 2983 w 10011"/>
                <a:gd name="connsiteY22" fmla="*/ 7424 h 10175"/>
                <a:gd name="connsiteX23" fmla="*/ 3053 w 10011"/>
                <a:gd name="connsiteY23" fmla="*/ 7919 h 10175"/>
                <a:gd name="connsiteX24" fmla="*/ 3117 w 10011"/>
                <a:gd name="connsiteY24" fmla="*/ 8101 h 10175"/>
                <a:gd name="connsiteX25" fmla="*/ 3475 w 10011"/>
                <a:gd name="connsiteY25" fmla="*/ 8524 h 10175"/>
                <a:gd name="connsiteX26" fmla="*/ 3475 w 10011"/>
                <a:gd name="connsiteY26" fmla="*/ 8843 h 10175"/>
                <a:gd name="connsiteX27" fmla="*/ 4001 w 10011"/>
                <a:gd name="connsiteY27" fmla="*/ 9187 h 10175"/>
                <a:gd name="connsiteX28" fmla="*/ 4290 w 10011"/>
                <a:gd name="connsiteY28" fmla="*/ 8821 h 10175"/>
                <a:gd name="connsiteX29" fmla="*/ 4648 w 10011"/>
                <a:gd name="connsiteY29" fmla="*/ 9096 h 10175"/>
                <a:gd name="connsiteX30" fmla="*/ 4933 w 10011"/>
                <a:gd name="connsiteY30" fmla="*/ 8684 h 10175"/>
                <a:gd name="connsiteX31" fmla="*/ 5257 w 10011"/>
                <a:gd name="connsiteY31" fmla="*/ 9339 h 10175"/>
                <a:gd name="connsiteX32" fmla="*/ 5715 w 10011"/>
                <a:gd name="connsiteY32" fmla="*/ 9703 h 10175"/>
                <a:gd name="connsiteX33" fmla="*/ 5765 w 10011"/>
                <a:gd name="connsiteY33" fmla="*/ 10023 h 10175"/>
                <a:gd name="connsiteX34" fmla="*/ 5953 w 10011"/>
                <a:gd name="connsiteY34" fmla="*/ 10065 h 10175"/>
                <a:gd name="connsiteX35" fmla="*/ 6223 w 10011"/>
                <a:gd name="connsiteY35" fmla="*/ 9767 h 10175"/>
                <a:gd name="connsiteX36" fmla="*/ 6565 w 10011"/>
                <a:gd name="connsiteY36" fmla="*/ 9949 h 10175"/>
                <a:gd name="connsiteX37" fmla="*/ 6682 w 10011"/>
                <a:gd name="connsiteY37" fmla="*/ 9792 h 10175"/>
                <a:gd name="connsiteX38" fmla="*/ 6804 w 10011"/>
                <a:gd name="connsiteY38" fmla="*/ 9767 h 10175"/>
                <a:gd name="connsiteX39" fmla="*/ 7037 w 10011"/>
                <a:gd name="connsiteY39" fmla="*/ 10175 h 10175"/>
                <a:gd name="connsiteX40" fmla="*/ 7259 w 10011"/>
                <a:gd name="connsiteY40" fmla="*/ 9835 h 10175"/>
                <a:gd name="connsiteX41" fmla="*/ 7529 w 10011"/>
                <a:gd name="connsiteY41" fmla="*/ 9857 h 10175"/>
                <a:gd name="connsiteX42" fmla="*/ 7735 w 10011"/>
                <a:gd name="connsiteY42" fmla="*/ 9676 h 10175"/>
                <a:gd name="connsiteX43" fmla="*/ 8024 w 10011"/>
                <a:gd name="connsiteY43" fmla="*/ 9857 h 10175"/>
                <a:gd name="connsiteX44" fmla="*/ 8398 w 10011"/>
                <a:gd name="connsiteY44" fmla="*/ 9296 h 10175"/>
                <a:gd name="connsiteX45" fmla="*/ 8530 w 10011"/>
                <a:gd name="connsiteY45" fmla="*/ 9296 h 10175"/>
                <a:gd name="connsiteX46" fmla="*/ 8770 w 10011"/>
                <a:gd name="connsiteY46" fmla="*/ 8843 h 10175"/>
                <a:gd name="connsiteX47" fmla="*/ 9786 w 10011"/>
                <a:gd name="connsiteY47" fmla="*/ 8821 h 10175"/>
                <a:gd name="connsiteX48" fmla="*/ 10011 w 10011"/>
                <a:gd name="connsiteY48" fmla="*/ 8637 h 10175"/>
                <a:gd name="connsiteX49" fmla="*/ 9994 w 10011"/>
                <a:gd name="connsiteY49" fmla="*/ 8415 h 10175"/>
                <a:gd name="connsiteX50" fmla="*/ 9926 w 10011"/>
                <a:gd name="connsiteY50" fmla="*/ 7919 h 10175"/>
                <a:gd name="connsiteX51" fmla="*/ 9501 w 10011"/>
                <a:gd name="connsiteY51" fmla="*/ 7756 h 10175"/>
                <a:gd name="connsiteX52" fmla="*/ 9298 w 10011"/>
                <a:gd name="connsiteY52" fmla="*/ 6968 h 10175"/>
                <a:gd name="connsiteX53" fmla="*/ 9179 w 10011"/>
                <a:gd name="connsiteY53" fmla="*/ 6877 h 10175"/>
                <a:gd name="connsiteX54" fmla="*/ 9148 w 10011"/>
                <a:gd name="connsiteY54" fmla="*/ 6315 h 10175"/>
                <a:gd name="connsiteX55" fmla="*/ 8995 w 10011"/>
                <a:gd name="connsiteY55" fmla="*/ 6289 h 10175"/>
                <a:gd name="connsiteX56" fmla="*/ 8938 w 10011"/>
                <a:gd name="connsiteY56" fmla="*/ 6001 h 10175"/>
                <a:gd name="connsiteX57" fmla="*/ 8684 w 10011"/>
                <a:gd name="connsiteY57" fmla="*/ 5929 h 10175"/>
                <a:gd name="connsiteX58" fmla="*/ 8599 w 10011"/>
                <a:gd name="connsiteY58" fmla="*/ 5482 h 10175"/>
                <a:gd name="connsiteX59" fmla="*/ 8177 w 10011"/>
                <a:gd name="connsiteY59" fmla="*/ 5051 h 10175"/>
                <a:gd name="connsiteX60" fmla="*/ 7716 w 10011"/>
                <a:gd name="connsiteY60" fmla="*/ 4982 h 10175"/>
                <a:gd name="connsiteX61" fmla="*/ 7838 w 10011"/>
                <a:gd name="connsiteY61" fmla="*/ 4487 h 10175"/>
                <a:gd name="connsiteX62" fmla="*/ 7805 w 10011"/>
                <a:gd name="connsiteY62" fmla="*/ 4124 h 10175"/>
                <a:gd name="connsiteX63" fmla="*/ 8194 w 10011"/>
                <a:gd name="connsiteY63" fmla="*/ 4149 h 10175"/>
                <a:gd name="connsiteX64" fmla="*/ 8278 w 10011"/>
                <a:gd name="connsiteY64" fmla="*/ 4258 h 10175"/>
                <a:gd name="connsiteX65" fmla="*/ 8515 w 10011"/>
                <a:gd name="connsiteY65" fmla="*/ 4031 h 10175"/>
                <a:gd name="connsiteX66" fmla="*/ 8584 w 10011"/>
                <a:gd name="connsiteY66" fmla="*/ 3224 h 10175"/>
                <a:gd name="connsiteX67" fmla="*/ 8483 w 10011"/>
                <a:gd name="connsiteY67" fmla="*/ 2612 h 10175"/>
                <a:gd name="connsiteX68" fmla="*/ 8770 w 10011"/>
                <a:gd name="connsiteY68" fmla="*/ 2116 h 10175"/>
                <a:gd name="connsiteX69" fmla="*/ 8321 w 10011"/>
                <a:gd name="connsiteY69" fmla="*/ 1557 h 10175"/>
                <a:gd name="connsiteX0" fmla="*/ 8321 w 10011"/>
                <a:gd name="connsiteY0" fmla="*/ 1360 h 9978"/>
                <a:gd name="connsiteX1" fmla="*/ 5709 w 10011"/>
                <a:gd name="connsiteY1" fmla="*/ 6 h 9978"/>
                <a:gd name="connsiteX2" fmla="*/ 1877 w 10011"/>
                <a:gd name="connsiteY2" fmla="*/ 1882 h 9978"/>
                <a:gd name="connsiteX3" fmla="*/ 1213 w 10011"/>
                <a:gd name="connsiteY3" fmla="*/ 2438 h 9978"/>
                <a:gd name="connsiteX4" fmla="*/ 509 w 10011"/>
                <a:gd name="connsiteY4" fmla="*/ 2463 h 9978"/>
                <a:gd name="connsiteX5" fmla="*/ 12 w 10011"/>
                <a:gd name="connsiteY5" fmla="*/ 3182 h 9978"/>
                <a:gd name="connsiteX6" fmla="*/ 151 w 10011"/>
                <a:gd name="connsiteY6" fmla="*/ 3339 h 9978"/>
                <a:gd name="connsiteX7" fmla="*/ 48 w 10011"/>
                <a:gd name="connsiteY7" fmla="*/ 3584 h 9978"/>
                <a:gd name="connsiteX8" fmla="*/ 626 w 10011"/>
                <a:gd name="connsiteY8" fmla="*/ 3656 h 9978"/>
                <a:gd name="connsiteX9" fmla="*/ 626 w 10011"/>
                <a:gd name="connsiteY9" fmla="*/ 3813 h 9978"/>
                <a:gd name="connsiteX10" fmla="*/ 606 w 10011"/>
                <a:gd name="connsiteY10" fmla="*/ 4175 h 9978"/>
                <a:gd name="connsiteX11" fmla="*/ 1217 w 10011"/>
                <a:gd name="connsiteY11" fmla="*/ 4308 h 9978"/>
                <a:gd name="connsiteX12" fmla="*/ 1217 w 10011"/>
                <a:gd name="connsiteY12" fmla="*/ 4610 h 9978"/>
                <a:gd name="connsiteX13" fmla="*/ 1541 w 10011"/>
                <a:gd name="connsiteY13" fmla="*/ 4830 h 9978"/>
                <a:gd name="connsiteX14" fmla="*/ 1439 w 10011"/>
                <a:gd name="connsiteY14" fmla="*/ 5166 h 9978"/>
                <a:gd name="connsiteX15" fmla="*/ 1893 w 10011"/>
                <a:gd name="connsiteY15" fmla="*/ 5462 h 9978"/>
                <a:gd name="connsiteX16" fmla="*/ 2169 w 10011"/>
                <a:gd name="connsiteY16" fmla="*/ 6002 h 9978"/>
                <a:gd name="connsiteX17" fmla="*/ 2422 w 10011"/>
                <a:gd name="connsiteY17" fmla="*/ 6210 h 9978"/>
                <a:gd name="connsiteX18" fmla="*/ 2321 w 10011"/>
                <a:gd name="connsiteY18" fmla="*/ 6391 h 9978"/>
                <a:gd name="connsiteX19" fmla="*/ 2457 w 10011"/>
                <a:gd name="connsiteY19" fmla="*/ 6591 h 9978"/>
                <a:gd name="connsiteX20" fmla="*/ 2437 w 10011"/>
                <a:gd name="connsiteY20" fmla="*/ 6880 h 9978"/>
                <a:gd name="connsiteX21" fmla="*/ 2699 w 10011"/>
                <a:gd name="connsiteY21" fmla="*/ 6910 h 9978"/>
                <a:gd name="connsiteX22" fmla="*/ 2983 w 10011"/>
                <a:gd name="connsiteY22" fmla="*/ 7227 h 9978"/>
                <a:gd name="connsiteX23" fmla="*/ 3053 w 10011"/>
                <a:gd name="connsiteY23" fmla="*/ 7722 h 9978"/>
                <a:gd name="connsiteX24" fmla="*/ 3117 w 10011"/>
                <a:gd name="connsiteY24" fmla="*/ 7904 h 9978"/>
                <a:gd name="connsiteX25" fmla="*/ 3475 w 10011"/>
                <a:gd name="connsiteY25" fmla="*/ 8327 h 9978"/>
                <a:gd name="connsiteX26" fmla="*/ 3475 w 10011"/>
                <a:gd name="connsiteY26" fmla="*/ 8646 h 9978"/>
                <a:gd name="connsiteX27" fmla="*/ 4001 w 10011"/>
                <a:gd name="connsiteY27" fmla="*/ 8990 h 9978"/>
                <a:gd name="connsiteX28" fmla="*/ 4290 w 10011"/>
                <a:gd name="connsiteY28" fmla="*/ 8624 h 9978"/>
                <a:gd name="connsiteX29" fmla="*/ 4648 w 10011"/>
                <a:gd name="connsiteY29" fmla="*/ 8899 h 9978"/>
                <a:gd name="connsiteX30" fmla="*/ 4933 w 10011"/>
                <a:gd name="connsiteY30" fmla="*/ 8487 h 9978"/>
                <a:gd name="connsiteX31" fmla="*/ 5257 w 10011"/>
                <a:gd name="connsiteY31" fmla="*/ 9142 h 9978"/>
                <a:gd name="connsiteX32" fmla="*/ 5715 w 10011"/>
                <a:gd name="connsiteY32" fmla="*/ 9506 h 9978"/>
                <a:gd name="connsiteX33" fmla="*/ 5765 w 10011"/>
                <a:gd name="connsiteY33" fmla="*/ 9826 h 9978"/>
                <a:gd name="connsiteX34" fmla="*/ 5953 w 10011"/>
                <a:gd name="connsiteY34" fmla="*/ 9868 h 9978"/>
                <a:gd name="connsiteX35" fmla="*/ 6223 w 10011"/>
                <a:gd name="connsiteY35" fmla="*/ 9570 h 9978"/>
                <a:gd name="connsiteX36" fmla="*/ 6565 w 10011"/>
                <a:gd name="connsiteY36" fmla="*/ 9752 h 9978"/>
                <a:gd name="connsiteX37" fmla="*/ 6682 w 10011"/>
                <a:gd name="connsiteY37" fmla="*/ 9595 h 9978"/>
                <a:gd name="connsiteX38" fmla="*/ 6804 w 10011"/>
                <a:gd name="connsiteY38" fmla="*/ 9570 h 9978"/>
                <a:gd name="connsiteX39" fmla="*/ 7037 w 10011"/>
                <a:gd name="connsiteY39" fmla="*/ 9978 h 9978"/>
                <a:gd name="connsiteX40" fmla="*/ 7259 w 10011"/>
                <a:gd name="connsiteY40" fmla="*/ 9638 h 9978"/>
                <a:gd name="connsiteX41" fmla="*/ 7529 w 10011"/>
                <a:gd name="connsiteY41" fmla="*/ 9660 h 9978"/>
                <a:gd name="connsiteX42" fmla="*/ 7735 w 10011"/>
                <a:gd name="connsiteY42" fmla="*/ 9479 h 9978"/>
                <a:gd name="connsiteX43" fmla="*/ 8024 w 10011"/>
                <a:gd name="connsiteY43" fmla="*/ 9660 h 9978"/>
                <a:gd name="connsiteX44" fmla="*/ 8398 w 10011"/>
                <a:gd name="connsiteY44" fmla="*/ 9099 h 9978"/>
                <a:gd name="connsiteX45" fmla="*/ 8530 w 10011"/>
                <a:gd name="connsiteY45" fmla="*/ 9099 h 9978"/>
                <a:gd name="connsiteX46" fmla="*/ 8770 w 10011"/>
                <a:gd name="connsiteY46" fmla="*/ 8646 h 9978"/>
                <a:gd name="connsiteX47" fmla="*/ 9786 w 10011"/>
                <a:gd name="connsiteY47" fmla="*/ 8624 h 9978"/>
                <a:gd name="connsiteX48" fmla="*/ 10011 w 10011"/>
                <a:gd name="connsiteY48" fmla="*/ 8440 h 9978"/>
                <a:gd name="connsiteX49" fmla="*/ 9994 w 10011"/>
                <a:gd name="connsiteY49" fmla="*/ 8218 h 9978"/>
                <a:gd name="connsiteX50" fmla="*/ 9926 w 10011"/>
                <a:gd name="connsiteY50" fmla="*/ 7722 h 9978"/>
                <a:gd name="connsiteX51" fmla="*/ 9501 w 10011"/>
                <a:gd name="connsiteY51" fmla="*/ 7559 h 9978"/>
                <a:gd name="connsiteX52" fmla="*/ 9298 w 10011"/>
                <a:gd name="connsiteY52" fmla="*/ 6771 h 9978"/>
                <a:gd name="connsiteX53" fmla="*/ 9179 w 10011"/>
                <a:gd name="connsiteY53" fmla="*/ 6680 h 9978"/>
                <a:gd name="connsiteX54" fmla="*/ 9148 w 10011"/>
                <a:gd name="connsiteY54" fmla="*/ 6118 h 9978"/>
                <a:gd name="connsiteX55" fmla="*/ 8995 w 10011"/>
                <a:gd name="connsiteY55" fmla="*/ 6092 h 9978"/>
                <a:gd name="connsiteX56" fmla="*/ 8938 w 10011"/>
                <a:gd name="connsiteY56" fmla="*/ 5804 h 9978"/>
                <a:gd name="connsiteX57" fmla="*/ 8684 w 10011"/>
                <a:gd name="connsiteY57" fmla="*/ 5732 h 9978"/>
                <a:gd name="connsiteX58" fmla="*/ 8599 w 10011"/>
                <a:gd name="connsiteY58" fmla="*/ 5285 h 9978"/>
                <a:gd name="connsiteX59" fmla="*/ 8177 w 10011"/>
                <a:gd name="connsiteY59" fmla="*/ 4854 h 9978"/>
                <a:gd name="connsiteX60" fmla="*/ 7716 w 10011"/>
                <a:gd name="connsiteY60" fmla="*/ 4785 h 9978"/>
                <a:gd name="connsiteX61" fmla="*/ 7838 w 10011"/>
                <a:gd name="connsiteY61" fmla="*/ 4290 h 9978"/>
                <a:gd name="connsiteX62" fmla="*/ 7805 w 10011"/>
                <a:gd name="connsiteY62" fmla="*/ 3927 h 9978"/>
                <a:gd name="connsiteX63" fmla="*/ 8194 w 10011"/>
                <a:gd name="connsiteY63" fmla="*/ 3952 h 9978"/>
                <a:gd name="connsiteX64" fmla="*/ 8278 w 10011"/>
                <a:gd name="connsiteY64" fmla="*/ 4061 h 9978"/>
                <a:gd name="connsiteX65" fmla="*/ 8515 w 10011"/>
                <a:gd name="connsiteY65" fmla="*/ 3834 h 9978"/>
                <a:gd name="connsiteX66" fmla="*/ 8584 w 10011"/>
                <a:gd name="connsiteY66" fmla="*/ 3027 h 9978"/>
                <a:gd name="connsiteX67" fmla="*/ 8483 w 10011"/>
                <a:gd name="connsiteY67" fmla="*/ 2415 h 9978"/>
                <a:gd name="connsiteX68" fmla="*/ 8770 w 10011"/>
                <a:gd name="connsiteY68" fmla="*/ 1919 h 9978"/>
                <a:gd name="connsiteX69" fmla="*/ 8321 w 10011"/>
                <a:gd name="connsiteY69" fmla="*/ 1360 h 9978"/>
                <a:gd name="connsiteX0" fmla="*/ 8312 w 10000"/>
                <a:gd name="connsiteY0" fmla="*/ 1363 h 10000"/>
                <a:gd name="connsiteX1" fmla="*/ 5703 w 10000"/>
                <a:gd name="connsiteY1" fmla="*/ 6 h 10000"/>
                <a:gd name="connsiteX2" fmla="*/ 1875 w 10000"/>
                <a:gd name="connsiteY2" fmla="*/ 1886 h 10000"/>
                <a:gd name="connsiteX3" fmla="*/ 1212 w 10000"/>
                <a:gd name="connsiteY3" fmla="*/ 2443 h 10000"/>
                <a:gd name="connsiteX4" fmla="*/ 508 w 10000"/>
                <a:gd name="connsiteY4" fmla="*/ 2468 h 10000"/>
                <a:gd name="connsiteX5" fmla="*/ 12 w 10000"/>
                <a:gd name="connsiteY5" fmla="*/ 3189 h 10000"/>
                <a:gd name="connsiteX6" fmla="*/ 151 w 10000"/>
                <a:gd name="connsiteY6" fmla="*/ 3346 h 10000"/>
                <a:gd name="connsiteX7" fmla="*/ 48 w 10000"/>
                <a:gd name="connsiteY7" fmla="*/ 3592 h 10000"/>
                <a:gd name="connsiteX8" fmla="*/ 625 w 10000"/>
                <a:gd name="connsiteY8" fmla="*/ 3664 h 10000"/>
                <a:gd name="connsiteX9" fmla="*/ 625 w 10000"/>
                <a:gd name="connsiteY9" fmla="*/ 3821 h 10000"/>
                <a:gd name="connsiteX10" fmla="*/ 605 w 10000"/>
                <a:gd name="connsiteY10" fmla="*/ 4184 h 10000"/>
                <a:gd name="connsiteX11" fmla="*/ 1216 w 10000"/>
                <a:gd name="connsiteY11" fmla="*/ 4317 h 10000"/>
                <a:gd name="connsiteX12" fmla="*/ 1216 w 10000"/>
                <a:gd name="connsiteY12" fmla="*/ 4620 h 10000"/>
                <a:gd name="connsiteX13" fmla="*/ 1539 w 10000"/>
                <a:gd name="connsiteY13" fmla="*/ 4841 h 10000"/>
                <a:gd name="connsiteX14" fmla="*/ 1437 w 10000"/>
                <a:gd name="connsiteY14" fmla="*/ 5177 h 10000"/>
                <a:gd name="connsiteX15" fmla="*/ 1891 w 10000"/>
                <a:gd name="connsiteY15" fmla="*/ 5474 h 10000"/>
                <a:gd name="connsiteX16" fmla="*/ 2167 w 10000"/>
                <a:gd name="connsiteY16" fmla="*/ 6015 h 10000"/>
                <a:gd name="connsiteX17" fmla="*/ 2419 w 10000"/>
                <a:gd name="connsiteY17" fmla="*/ 6224 h 10000"/>
                <a:gd name="connsiteX18" fmla="*/ 2318 w 10000"/>
                <a:gd name="connsiteY18" fmla="*/ 6405 h 10000"/>
                <a:gd name="connsiteX19" fmla="*/ 2454 w 10000"/>
                <a:gd name="connsiteY19" fmla="*/ 6606 h 10000"/>
                <a:gd name="connsiteX20" fmla="*/ 2434 w 10000"/>
                <a:gd name="connsiteY20" fmla="*/ 6895 h 10000"/>
                <a:gd name="connsiteX21" fmla="*/ 2696 w 10000"/>
                <a:gd name="connsiteY21" fmla="*/ 6925 h 10000"/>
                <a:gd name="connsiteX22" fmla="*/ 2980 w 10000"/>
                <a:gd name="connsiteY22" fmla="*/ 7243 h 10000"/>
                <a:gd name="connsiteX23" fmla="*/ 3050 w 10000"/>
                <a:gd name="connsiteY23" fmla="*/ 7739 h 10000"/>
                <a:gd name="connsiteX24" fmla="*/ 3114 w 10000"/>
                <a:gd name="connsiteY24" fmla="*/ 7921 h 10000"/>
                <a:gd name="connsiteX25" fmla="*/ 3471 w 10000"/>
                <a:gd name="connsiteY25" fmla="*/ 8345 h 10000"/>
                <a:gd name="connsiteX26" fmla="*/ 3471 w 10000"/>
                <a:gd name="connsiteY26" fmla="*/ 8665 h 10000"/>
                <a:gd name="connsiteX27" fmla="*/ 3997 w 10000"/>
                <a:gd name="connsiteY27" fmla="*/ 9010 h 10000"/>
                <a:gd name="connsiteX28" fmla="*/ 4285 w 10000"/>
                <a:gd name="connsiteY28" fmla="*/ 8643 h 10000"/>
                <a:gd name="connsiteX29" fmla="*/ 4643 w 10000"/>
                <a:gd name="connsiteY29" fmla="*/ 8919 h 10000"/>
                <a:gd name="connsiteX30" fmla="*/ 4928 w 10000"/>
                <a:gd name="connsiteY30" fmla="*/ 8506 h 10000"/>
                <a:gd name="connsiteX31" fmla="*/ 5251 w 10000"/>
                <a:gd name="connsiteY31" fmla="*/ 9162 h 10000"/>
                <a:gd name="connsiteX32" fmla="*/ 5709 w 10000"/>
                <a:gd name="connsiteY32" fmla="*/ 9527 h 10000"/>
                <a:gd name="connsiteX33" fmla="*/ 5759 w 10000"/>
                <a:gd name="connsiteY33" fmla="*/ 9848 h 10000"/>
                <a:gd name="connsiteX34" fmla="*/ 5946 w 10000"/>
                <a:gd name="connsiteY34" fmla="*/ 9890 h 10000"/>
                <a:gd name="connsiteX35" fmla="*/ 6216 w 10000"/>
                <a:gd name="connsiteY35" fmla="*/ 9591 h 10000"/>
                <a:gd name="connsiteX36" fmla="*/ 6558 w 10000"/>
                <a:gd name="connsiteY36" fmla="*/ 9774 h 10000"/>
                <a:gd name="connsiteX37" fmla="*/ 6675 w 10000"/>
                <a:gd name="connsiteY37" fmla="*/ 9616 h 10000"/>
                <a:gd name="connsiteX38" fmla="*/ 6797 w 10000"/>
                <a:gd name="connsiteY38" fmla="*/ 9591 h 10000"/>
                <a:gd name="connsiteX39" fmla="*/ 7029 w 10000"/>
                <a:gd name="connsiteY39" fmla="*/ 10000 h 10000"/>
                <a:gd name="connsiteX40" fmla="*/ 7251 w 10000"/>
                <a:gd name="connsiteY40" fmla="*/ 9659 h 10000"/>
                <a:gd name="connsiteX41" fmla="*/ 7521 w 10000"/>
                <a:gd name="connsiteY41" fmla="*/ 9681 h 10000"/>
                <a:gd name="connsiteX42" fmla="*/ 7727 w 10000"/>
                <a:gd name="connsiteY42" fmla="*/ 9500 h 10000"/>
                <a:gd name="connsiteX43" fmla="*/ 8015 w 10000"/>
                <a:gd name="connsiteY43" fmla="*/ 9681 h 10000"/>
                <a:gd name="connsiteX44" fmla="*/ 8389 w 10000"/>
                <a:gd name="connsiteY44" fmla="*/ 9119 h 10000"/>
                <a:gd name="connsiteX45" fmla="*/ 8521 w 10000"/>
                <a:gd name="connsiteY45" fmla="*/ 9119 h 10000"/>
                <a:gd name="connsiteX46" fmla="*/ 8760 w 10000"/>
                <a:gd name="connsiteY46" fmla="*/ 8665 h 10000"/>
                <a:gd name="connsiteX47" fmla="*/ 9775 w 10000"/>
                <a:gd name="connsiteY47" fmla="*/ 8643 h 10000"/>
                <a:gd name="connsiteX48" fmla="*/ 10000 w 10000"/>
                <a:gd name="connsiteY48" fmla="*/ 8459 h 10000"/>
                <a:gd name="connsiteX49" fmla="*/ 9983 w 10000"/>
                <a:gd name="connsiteY49" fmla="*/ 8236 h 10000"/>
                <a:gd name="connsiteX50" fmla="*/ 9915 w 10000"/>
                <a:gd name="connsiteY50" fmla="*/ 7739 h 10000"/>
                <a:gd name="connsiteX51" fmla="*/ 9491 w 10000"/>
                <a:gd name="connsiteY51" fmla="*/ 7576 h 10000"/>
                <a:gd name="connsiteX52" fmla="*/ 9288 w 10000"/>
                <a:gd name="connsiteY52" fmla="*/ 6786 h 10000"/>
                <a:gd name="connsiteX53" fmla="*/ 9169 w 10000"/>
                <a:gd name="connsiteY53" fmla="*/ 6695 h 10000"/>
                <a:gd name="connsiteX54" fmla="*/ 9138 w 10000"/>
                <a:gd name="connsiteY54" fmla="*/ 6131 h 10000"/>
                <a:gd name="connsiteX55" fmla="*/ 8985 w 10000"/>
                <a:gd name="connsiteY55" fmla="*/ 6105 h 10000"/>
                <a:gd name="connsiteX56" fmla="*/ 8928 w 10000"/>
                <a:gd name="connsiteY56" fmla="*/ 5817 h 10000"/>
                <a:gd name="connsiteX57" fmla="*/ 8674 w 10000"/>
                <a:gd name="connsiteY57" fmla="*/ 5745 h 10000"/>
                <a:gd name="connsiteX58" fmla="*/ 8590 w 10000"/>
                <a:gd name="connsiteY58" fmla="*/ 5297 h 10000"/>
                <a:gd name="connsiteX59" fmla="*/ 8168 w 10000"/>
                <a:gd name="connsiteY59" fmla="*/ 4865 h 10000"/>
                <a:gd name="connsiteX60" fmla="*/ 7708 w 10000"/>
                <a:gd name="connsiteY60" fmla="*/ 4796 h 10000"/>
                <a:gd name="connsiteX61" fmla="*/ 7829 w 10000"/>
                <a:gd name="connsiteY61" fmla="*/ 4299 h 10000"/>
                <a:gd name="connsiteX62" fmla="*/ 7796 w 10000"/>
                <a:gd name="connsiteY62" fmla="*/ 3936 h 10000"/>
                <a:gd name="connsiteX63" fmla="*/ 8185 w 10000"/>
                <a:gd name="connsiteY63" fmla="*/ 3961 h 10000"/>
                <a:gd name="connsiteX64" fmla="*/ 8269 w 10000"/>
                <a:gd name="connsiteY64" fmla="*/ 4070 h 10000"/>
                <a:gd name="connsiteX65" fmla="*/ 8506 w 10000"/>
                <a:gd name="connsiteY65" fmla="*/ 3842 h 10000"/>
                <a:gd name="connsiteX66" fmla="*/ 8575 w 10000"/>
                <a:gd name="connsiteY66" fmla="*/ 3034 h 10000"/>
                <a:gd name="connsiteX67" fmla="*/ 8474 w 10000"/>
                <a:gd name="connsiteY67" fmla="*/ 2420 h 10000"/>
                <a:gd name="connsiteX68" fmla="*/ 8760 w 10000"/>
                <a:gd name="connsiteY68" fmla="*/ 1923 h 10000"/>
                <a:gd name="connsiteX69" fmla="*/ 8312 w 10000"/>
                <a:gd name="connsiteY69" fmla="*/ 1363 h 10000"/>
                <a:gd name="connsiteX0" fmla="*/ 8312 w 10000"/>
                <a:gd name="connsiteY0" fmla="*/ 1357 h 9994"/>
                <a:gd name="connsiteX1" fmla="*/ 5703 w 10000"/>
                <a:gd name="connsiteY1" fmla="*/ 0 h 9994"/>
                <a:gd name="connsiteX2" fmla="*/ 1875 w 10000"/>
                <a:gd name="connsiteY2" fmla="*/ 1880 h 9994"/>
                <a:gd name="connsiteX3" fmla="*/ 1212 w 10000"/>
                <a:gd name="connsiteY3" fmla="*/ 2437 h 9994"/>
                <a:gd name="connsiteX4" fmla="*/ 508 w 10000"/>
                <a:gd name="connsiteY4" fmla="*/ 2462 h 9994"/>
                <a:gd name="connsiteX5" fmla="*/ 12 w 10000"/>
                <a:gd name="connsiteY5" fmla="*/ 3183 h 9994"/>
                <a:gd name="connsiteX6" fmla="*/ 151 w 10000"/>
                <a:gd name="connsiteY6" fmla="*/ 3340 h 9994"/>
                <a:gd name="connsiteX7" fmla="*/ 48 w 10000"/>
                <a:gd name="connsiteY7" fmla="*/ 3586 h 9994"/>
                <a:gd name="connsiteX8" fmla="*/ 625 w 10000"/>
                <a:gd name="connsiteY8" fmla="*/ 3658 h 9994"/>
                <a:gd name="connsiteX9" fmla="*/ 625 w 10000"/>
                <a:gd name="connsiteY9" fmla="*/ 3815 h 9994"/>
                <a:gd name="connsiteX10" fmla="*/ 605 w 10000"/>
                <a:gd name="connsiteY10" fmla="*/ 4178 h 9994"/>
                <a:gd name="connsiteX11" fmla="*/ 1216 w 10000"/>
                <a:gd name="connsiteY11" fmla="*/ 4311 h 9994"/>
                <a:gd name="connsiteX12" fmla="*/ 1216 w 10000"/>
                <a:gd name="connsiteY12" fmla="*/ 4614 h 9994"/>
                <a:gd name="connsiteX13" fmla="*/ 1539 w 10000"/>
                <a:gd name="connsiteY13" fmla="*/ 4835 h 9994"/>
                <a:gd name="connsiteX14" fmla="*/ 1437 w 10000"/>
                <a:gd name="connsiteY14" fmla="*/ 5171 h 9994"/>
                <a:gd name="connsiteX15" fmla="*/ 1891 w 10000"/>
                <a:gd name="connsiteY15" fmla="*/ 5468 h 9994"/>
                <a:gd name="connsiteX16" fmla="*/ 2167 w 10000"/>
                <a:gd name="connsiteY16" fmla="*/ 6009 h 9994"/>
                <a:gd name="connsiteX17" fmla="*/ 2419 w 10000"/>
                <a:gd name="connsiteY17" fmla="*/ 6218 h 9994"/>
                <a:gd name="connsiteX18" fmla="*/ 2318 w 10000"/>
                <a:gd name="connsiteY18" fmla="*/ 6399 h 9994"/>
                <a:gd name="connsiteX19" fmla="*/ 2454 w 10000"/>
                <a:gd name="connsiteY19" fmla="*/ 6600 h 9994"/>
                <a:gd name="connsiteX20" fmla="*/ 2434 w 10000"/>
                <a:gd name="connsiteY20" fmla="*/ 6889 h 9994"/>
                <a:gd name="connsiteX21" fmla="*/ 2696 w 10000"/>
                <a:gd name="connsiteY21" fmla="*/ 6919 h 9994"/>
                <a:gd name="connsiteX22" fmla="*/ 2980 w 10000"/>
                <a:gd name="connsiteY22" fmla="*/ 7237 h 9994"/>
                <a:gd name="connsiteX23" fmla="*/ 3050 w 10000"/>
                <a:gd name="connsiteY23" fmla="*/ 7733 h 9994"/>
                <a:gd name="connsiteX24" fmla="*/ 3114 w 10000"/>
                <a:gd name="connsiteY24" fmla="*/ 7915 h 9994"/>
                <a:gd name="connsiteX25" fmla="*/ 3471 w 10000"/>
                <a:gd name="connsiteY25" fmla="*/ 8339 h 9994"/>
                <a:gd name="connsiteX26" fmla="*/ 3471 w 10000"/>
                <a:gd name="connsiteY26" fmla="*/ 8659 h 9994"/>
                <a:gd name="connsiteX27" fmla="*/ 3997 w 10000"/>
                <a:gd name="connsiteY27" fmla="*/ 9004 h 9994"/>
                <a:gd name="connsiteX28" fmla="*/ 4285 w 10000"/>
                <a:gd name="connsiteY28" fmla="*/ 8637 h 9994"/>
                <a:gd name="connsiteX29" fmla="*/ 4643 w 10000"/>
                <a:gd name="connsiteY29" fmla="*/ 8913 h 9994"/>
                <a:gd name="connsiteX30" fmla="*/ 4928 w 10000"/>
                <a:gd name="connsiteY30" fmla="*/ 8500 h 9994"/>
                <a:gd name="connsiteX31" fmla="*/ 5251 w 10000"/>
                <a:gd name="connsiteY31" fmla="*/ 9156 h 9994"/>
                <a:gd name="connsiteX32" fmla="*/ 5709 w 10000"/>
                <a:gd name="connsiteY32" fmla="*/ 9521 h 9994"/>
                <a:gd name="connsiteX33" fmla="*/ 5759 w 10000"/>
                <a:gd name="connsiteY33" fmla="*/ 9842 h 9994"/>
                <a:gd name="connsiteX34" fmla="*/ 5946 w 10000"/>
                <a:gd name="connsiteY34" fmla="*/ 9884 h 9994"/>
                <a:gd name="connsiteX35" fmla="*/ 6216 w 10000"/>
                <a:gd name="connsiteY35" fmla="*/ 9585 h 9994"/>
                <a:gd name="connsiteX36" fmla="*/ 6558 w 10000"/>
                <a:gd name="connsiteY36" fmla="*/ 9768 h 9994"/>
                <a:gd name="connsiteX37" fmla="*/ 6675 w 10000"/>
                <a:gd name="connsiteY37" fmla="*/ 9610 h 9994"/>
                <a:gd name="connsiteX38" fmla="*/ 6797 w 10000"/>
                <a:gd name="connsiteY38" fmla="*/ 9585 h 9994"/>
                <a:gd name="connsiteX39" fmla="*/ 7029 w 10000"/>
                <a:gd name="connsiteY39" fmla="*/ 9994 h 9994"/>
                <a:gd name="connsiteX40" fmla="*/ 7251 w 10000"/>
                <a:gd name="connsiteY40" fmla="*/ 9653 h 9994"/>
                <a:gd name="connsiteX41" fmla="*/ 7521 w 10000"/>
                <a:gd name="connsiteY41" fmla="*/ 9675 h 9994"/>
                <a:gd name="connsiteX42" fmla="*/ 7727 w 10000"/>
                <a:gd name="connsiteY42" fmla="*/ 9494 h 9994"/>
                <a:gd name="connsiteX43" fmla="*/ 8015 w 10000"/>
                <a:gd name="connsiteY43" fmla="*/ 9675 h 9994"/>
                <a:gd name="connsiteX44" fmla="*/ 8389 w 10000"/>
                <a:gd name="connsiteY44" fmla="*/ 9113 h 9994"/>
                <a:gd name="connsiteX45" fmla="*/ 8521 w 10000"/>
                <a:gd name="connsiteY45" fmla="*/ 9113 h 9994"/>
                <a:gd name="connsiteX46" fmla="*/ 8760 w 10000"/>
                <a:gd name="connsiteY46" fmla="*/ 8659 h 9994"/>
                <a:gd name="connsiteX47" fmla="*/ 9775 w 10000"/>
                <a:gd name="connsiteY47" fmla="*/ 8637 h 9994"/>
                <a:gd name="connsiteX48" fmla="*/ 10000 w 10000"/>
                <a:gd name="connsiteY48" fmla="*/ 8453 h 9994"/>
                <a:gd name="connsiteX49" fmla="*/ 9983 w 10000"/>
                <a:gd name="connsiteY49" fmla="*/ 8230 h 9994"/>
                <a:gd name="connsiteX50" fmla="*/ 9915 w 10000"/>
                <a:gd name="connsiteY50" fmla="*/ 7733 h 9994"/>
                <a:gd name="connsiteX51" fmla="*/ 9491 w 10000"/>
                <a:gd name="connsiteY51" fmla="*/ 7570 h 9994"/>
                <a:gd name="connsiteX52" fmla="*/ 9288 w 10000"/>
                <a:gd name="connsiteY52" fmla="*/ 6780 h 9994"/>
                <a:gd name="connsiteX53" fmla="*/ 9169 w 10000"/>
                <a:gd name="connsiteY53" fmla="*/ 6689 h 9994"/>
                <a:gd name="connsiteX54" fmla="*/ 9138 w 10000"/>
                <a:gd name="connsiteY54" fmla="*/ 6125 h 9994"/>
                <a:gd name="connsiteX55" fmla="*/ 8985 w 10000"/>
                <a:gd name="connsiteY55" fmla="*/ 6099 h 9994"/>
                <a:gd name="connsiteX56" fmla="*/ 8928 w 10000"/>
                <a:gd name="connsiteY56" fmla="*/ 5811 h 9994"/>
                <a:gd name="connsiteX57" fmla="*/ 8674 w 10000"/>
                <a:gd name="connsiteY57" fmla="*/ 5739 h 9994"/>
                <a:gd name="connsiteX58" fmla="*/ 8590 w 10000"/>
                <a:gd name="connsiteY58" fmla="*/ 5291 h 9994"/>
                <a:gd name="connsiteX59" fmla="*/ 8168 w 10000"/>
                <a:gd name="connsiteY59" fmla="*/ 4859 h 9994"/>
                <a:gd name="connsiteX60" fmla="*/ 7708 w 10000"/>
                <a:gd name="connsiteY60" fmla="*/ 4790 h 9994"/>
                <a:gd name="connsiteX61" fmla="*/ 7829 w 10000"/>
                <a:gd name="connsiteY61" fmla="*/ 4293 h 9994"/>
                <a:gd name="connsiteX62" fmla="*/ 7796 w 10000"/>
                <a:gd name="connsiteY62" fmla="*/ 3930 h 9994"/>
                <a:gd name="connsiteX63" fmla="*/ 8185 w 10000"/>
                <a:gd name="connsiteY63" fmla="*/ 3955 h 9994"/>
                <a:gd name="connsiteX64" fmla="*/ 8269 w 10000"/>
                <a:gd name="connsiteY64" fmla="*/ 4064 h 9994"/>
                <a:gd name="connsiteX65" fmla="*/ 8506 w 10000"/>
                <a:gd name="connsiteY65" fmla="*/ 3836 h 9994"/>
                <a:gd name="connsiteX66" fmla="*/ 8575 w 10000"/>
                <a:gd name="connsiteY66" fmla="*/ 3028 h 9994"/>
                <a:gd name="connsiteX67" fmla="*/ 8474 w 10000"/>
                <a:gd name="connsiteY67" fmla="*/ 2414 h 9994"/>
                <a:gd name="connsiteX68" fmla="*/ 8760 w 10000"/>
                <a:gd name="connsiteY68" fmla="*/ 1917 h 9994"/>
                <a:gd name="connsiteX69" fmla="*/ 8312 w 10000"/>
                <a:gd name="connsiteY69" fmla="*/ 1357 h 9994"/>
                <a:gd name="connsiteX0" fmla="*/ 8312 w 10000"/>
                <a:gd name="connsiteY0" fmla="*/ 39 h 8681"/>
                <a:gd name="connsiteX1" fmla="*/ 2814 w 10000"/>
                <a:gd name="connsiteY1" fmla="*/ 1752 h 8681"/>
                <a:gd name="connsiteX2" fmla="*/ 1875 w 10000"/>
                <a:gd name="connsiteY2" fmla="*/ 562 h 8681"/>
                <a:gd name="connsiteX3" fmla="*/ 1212 w 10000"/>
                <a:gd name="connsiteY3" fmla="*/ 1119 h 8681"/>
                <a:gd name="connsiteX4" fmla="*/ 508 w 10000"/>
                <a:gd name="connsiteY4" fmla="*/ 1144 h 8681"/>
                <a:gd name="connsiteX5" fmla="*/ 12 w 10000"/>
                <a:gd name="connsiteY5" fmla="*/ 1866 h 8681"/>
                <a:gd name="connsiteX6" fmla="*/ 151 w 10000"/>
                <a:gd name="connsiteY6" fmla="*/ 2023 h 8681"/>
                <a:gd name="connsiteX7" fmla="*/ 48 w 10000"/>
                <a:gd name="connsiteY7" fmla="*/ 2269 h 8681"/>
                <a:gd name="connsiteX8" fmla="*/ 625 w 10000"/>
                <a:gd name="connsiteY8" fmla="*/ 2341 h 8681"/>
                <a:gd name="connsiteX9" fmla="*/ 625 w 10000"/>
                <a:gd name="connsiteY9" fmla="*/ 2498 h 8681"/>
                <a:gd name="connsiteX10" fmla="*/ 605 w 10000"/>
                <a:gd name="connsiteY10" fmla="*/ 2862 h 8681"/>
                <a:gd name="connsiteX11" fmla="*/ 1216 w 10000"/>
                <a:gd name="connsiteY11" fmla="*/ 2995 h 8681"/>
                <a:gd name="connsiteX12" fmla="*/ 1216 w 10000"/>
                <a:gd name="connsiteY12" fmla="*/ 3298 h 8681"/>
                <a:gd name="connsiteX13" fmla="*/ 1539 w 10000"/>
                <a:gd name="connsiteY13" fmla="*/ 3519 h 8681"/>
                <a:gd name="connsiteX14" fmla="*/ 1437 w 10000"/>
                <a:gd name="connsiteY14" fmla="*/ 3855 h 8681"/>
                <a:gd name="connsiteX15" fmla="*/ 1891 w 10000"/>
                <a:gd name="connsiteY15" fmla="*/ 4152 h 8681"/>
                <a:gd name="connsiteX16" fmla="*/ 2167 w 10000"/>
                <a:gd name="connsiteY16" fmla="*/ 4694 h 8681"/>
                <a:gd name="connsiteX17" fmla="*/ 2419 w 10000"/>
                <a:gd name="connsiteY17" fmla="*/ 4903 h 8681"/>
                <a:gd name="connsiteX18" fmla="*/ 2318 w 10000"/>
                <a:gd name="connsiteY18" fmla="*/ 5084 h 8681"/>
                <a:gd name="connsiteX19" fmla="*/ 2454 w 10000"/>
                <a:gd name="connsiteY19" fmla="*/ 5285 h 8681"/>
                <a:gd name="connsiteX20" fmla="*/ 2434 w 10000"/>
                <a:gd name="connsiteY20" fmla="*/ 5574 h 8681"/>
                <a:gd name="connsiteX21" fmla="*/ 2696 w 10000"/>
                <a:gd name="connsiteY21" fmla="*/ 5604 h 8681"/>
                <a:gd name="connsiteX22" fmla="*/ 2980 w 10000"/>
                <a:gd name="connsiteY22" fmla="*/ 5922 h 8681"/>
                <a:gd name="connsiteX23" fmla="*/ 3050 w 10000"/>
                <a:gd name="connsiteY23" fmla="*/ 6419 h 8681"/>
                <a:gd name="connsiteX24" fmla="*/ 3114 w 10000"/>
                <a:gd name="connsiteY24" fmla="*/ 6601 h 8681"/>
                <a:gd name="connsiteX25" fmla="*/ 3471 w 10000"/>
                <a:gd name="connsiteY25" fmla="*/ 7025 h 8681"/>
                <a:gd name="connsiteX26" fmla="*/ 3471 w 10000"/>
                <a:gd name="connsiteY26" fmla="*/ 7345 h 8681"/>
                <a:gd name="connsiteX27" fmla="*/ 3997 w 10000"/>
                <a:gd name="connsiteY27" fmla="*/ 7690 h 8681"/>
                <a:gd name="connsiteX28" fmla="*/ 4285 w 10000"/>
                <a:gd name="connsiteY28" fmla="*/ 7323 h 8681"/>
                <a:gd name="connsiteX29" fmla="*/ 4643 w 10000"/>
                <a:gd name="connsiteY29" fmla="*/ 7599 h 8681"/>
                <a:gd name="connsiteX30" fmla="*/ 4928 w 10000"/>
                <a:gd name="connsiteY30" fmla="*/ 7186 h 8681"/>
                <a:gd name="connsiteX31" fmla="*/ 5251 w 10000"/>
                <a:gd name="connsiteY31" fmla="*/ 7842 h 8681"/>
                <a:gd name="connsiteX32" fmla="*/ 5709 w 10000"/>
                <a:gd name="connsiteY32" fmla="*/ 8208 h 8681"/>
                <a:gd name="connsiteX33" fmla="*/ 5759 w 10000"/>
                <a:gd name="connsiteY33" fmla="*/ 8529 h 8681"/>
                <a:gd name="connsiteX34" fmla="*/ 5946 w 10000"/>
                <a:gd name="connsiteY34" fmla="*/ 8571 h 8681"/>
                <a:gd name="connsiteX35" fmla="*/ 6216 w 10000"/>
                <a:gd name="connsiteY35" fmla="*/ 8272 h 8681"/>
                <a:gd name="connsiteX36" fmla="*/ 6558 w 10000"/>
                <a:gd name="connsiteY36" fmla="*/ 8455 h 8681"/>
                <a:gd name="connsiteX37" fmla="*/ 6675 w 10000"/>
                <a:gd name="connsiteY37" fmla="*/ 8297 h 8681"/>
                <a:gd name="connsiteX38" fmla="*/ 6797 w 10000"/>
                <a:gd name="connsiteY38" fmla="*/ 8272 h 8681"/>
                <a:gd name="connsiteX39" fmla="*/ 7029 w 10000"/>
                <a:gd name="connsiteY39" fmla="*/ 8681 h 8681"/>
                <a:gd name="connsiteX40" fmla="*/ 7251 w 10000"/>
                <a:gd name="connsiteY40" fmla="*/ 8340 h 8681"/>
                <a:gd name="connsiteX41" fmla="*/ 7521 w 10000"/>
                <a:gd name="connsiteY41" fmla="*/ 8362 h 8681"/>
                <a:gd name="connsiteX42" fmla="*/ 7727 w 10000"/>
                <a:gd name="connsiteY42" fmla="*/ 8181 h 8681"/>
                <a:gd name="connsiteX43" fmla="*/ 8015 w 10000"/>
                <a:gd name="connsiteY43" fmla="*/ 8362 h 8681"/>
                <a:gd name="connsiteX44" fmla="*/ 8389 w 10000"/>
                <a:gd name="connsiteY44" fmla="*/ 7799 h 8681"/>
                <a:gd name="connsiteX45" fmla="*/ 8521 w 10000"/>
                <a:gd name="connsiteY45" fmla="*/ 7799 h 8681"/>
                <a:gd name="connsiteX46" fmla="*/ 8760 w 10000"/>
                <a:gd name="connsiteY46" fmla="*/ 7345 h 8681"/>
                <a:gd name="connsiteX47" fmla="*/ 9775 w 10000"/>
                <a:gd name="connsiteY47" fmla="*/ 7323 h 8681"/>
                <a:gd name="connsiteX48" fmla="*/ 10000 w 10000"/>
                <a:gd name="connsiteY48" fmla="*/ 7139 h 8681"/>
                <a:gd name="connsiteX49" fmla="*/ 9983 w 10000"/>
                <a:gd name="connsiteY49" fmla="*/ 6916 h 8681"/>
                <a:gd name="connsiteX50" fmla="*/ 9915 w 10000"/>
                <a:gd name="connsiteY50" fmla="*/ 6419 h 8681"/>
                <a:gd name="connsiteX51" fmla="*/ 9491 w 10000"/>
                <a:gd name="connsiteY51" fmla="*/ 6256 h 8681"/>
                <a:gd name="connsiteX52" fmla="*/ 9288 w 10000"/>
                <a:gd name="connsiteY52" fmla="*/ 5465 h 8681"/>
                <a:gd name="connsiteX53" fmla="*/ 9169 w 10000"/>
                <a:gd name="connsiteY53" fmla="*/ 5374 h 8681"/>
                <a:gd name="connsiteX54" fmla="*/ 9138 w 10000"/>
                <a:gd name="connsiteY54" fmla="*/ 4810 h 8681"/>
                <a:gd name="connsiteX55" fmla="*/ 8985 w 10000"/>
                <a:gd name="connsiteY55" fmla="*/ 4784 h 8681"/>
                <a:gd name="connsiteX56" fmla="*/ 8928 w 10000"/>
                <a:gd name="connsiteY56" fmla="*/ 4495 h 8681"/>
                <a:gd name="connsiteX57" fmla="*/ 8674 w 10000"/>
                <a:gd name="connsiteY57" fmla="*/ 4423 h 8681"/>
                <a:gd name="connsiteX58" fmla="*/ 8590 w 10000"/>
                <a:gd name="connsiteY58" fmla="*/ 3975 h 8681"/>
                <a:gd name="connsiteX59" fmla="*/ 8168 w 10000"/>
                <a:gd name="connsiteY59" fmla="*/ 3543 h 8681"/>
                <a:gd name="connsiteX60" fmla="*/ 7708 w 10000"/>
                <a:gd name="connsiteY60" fmla="*/ 3474 h 8681"/>
                <a:gd name="connsiteX61" fmla="*/ 7829 w 10000"/>
                <a:gd name="connsiteY61" fmla="*/ 2977 h 8681"/>
                <a:gd name="connsiteX62" fmla="*/ 7796 w 10000"/>
                <a:gd name="connsiteY62" fmla="*/ 2613 h 8681"/>
                <a:gd name="connsiteX63" fmla="*/ 8185 w 10000"/>
                <a:gd name="connsiteY63" fmla="*/ 2638 h 8681"/>
                <a:gd name="connsiteX64" fmla="*/ 8269 w 10000"/>
                <a:gd name="connsiteY64" fmla="*/ 2747 h 8681"/>
                <a:gd name="connsiteX65" fmla="*/ 8506 w 10000"/>
                <a:gd name="connsiteY65" fmla="*/ 2519 h 8681"/>
                <a:gd name="connsiteX66" fmla="*/ 8575 w 10000"/>
                <a:gd name="connsiteY66" fmla="*/ 1711 h 8681"/>
                <a:gd name="connsiteX67" fmla="*/ 8474 w 10000"/>
                <a:gd name="connsiteY67" fmla="*/ 1096 h 8681"/>
                <a:gd name="connsiteX68" fmla="*/ 8760 w 10000"/>
                <a:gd name="connsiteY68" fmla="*/ 599 h 8681"/>
                <a:gd name="connsiteX69" fmla="*/ 8312 w 10000"/>
                <a:gd name="connsiteY69" fmla="*/ 39 h 8681"/>
                <a:gd name="connsiteX0" fmla="*/ 8312 w 10000"/>
                <a:gd name="connsiteY0" fmla="*/ 434 h 10389"/>
                <a:gd name="connsiteX1" fmla="*/ 2814 w 10000"/>
                <a:gd name="connsiteY1" fmla="*/ 2407 h 10389"/>
                <a:gd name="connsiteX2" fmla="*/ 1875 w 10000"/>
                <a:gd name="connsiteY2" fmla="*/ 1036 h 10389"/>
                <a:gd name="connsiteX3" fmla="*/ 1212 w 10000"/>
                <a:gd name="connsiteY3" fmla="*/ 1678 h 10389"/>
                <a:gd name="connsiteX4" fmla="*/ 508 w 10000"/>
                <a:gd name="connsiteY4" fmla="*/ 1707 h 10389"/>
                <a:gd name="connsiteX5" fmla="*/ 12 w 10000"/>
                <a:gd name="connsiteY5" fmla="*/ 2539 h 10389"/>
                <a:gd name="connsiteX6" fmla="*/ 151 w 10000"/>
                <a:gd name="connsiteY6" fmla="*/ 2719 h 10389"/>
                <a:gd name="connsiteX7" fmla="*/ 48 w 10000"/>
                <a:gd name="connsiteY7" fmla="*/ 3003 h 10389"/>
                <a:gd name="connsiteX8" fmla="*/ 625 w 10000"/>
                <a:gd name="connsiteY8" fmla="*/ 3086 h 10389"/>
                <a:gd name="connsiteX9" fmla="*/ 625 w 10000"/>
                <a:gd name="connsiteY9" fmla="*/ 3267 h 10389"/>
                <a:gd name="connsiteX10" fmla="*/ 605 w 10000"/>
                <a:gd name="connsiteY10" fmla="*/ 3686 h 10389"/>
                <a:gd name="connsiteX11" fmla="*/ 1216 w 10000"/>
                <a:gd name="connsiteY11" fmla="*/ 3839 h 10389"/>
                <a:gd name="connsiteX12" fmla="*/ 1216 w 10000"/>
                <a:gd name="connsiteY12" fmla="*/ 4188 h 10389"/>
                <a:gd name="connsiteX13" fmla="*/ 1539 w 10000"/>
                <a:gd name="connsiteY13" fmla="*/ 4443 h 10389"/>
                <a:gd name="connsiteX14" fmla="*/ 1437 w 10000"/>
                <a:gd name="connsiteY14" fmla="*/ 4830 h 10389"/>
                <a:gd name="connsiteX15" fmla="*/ 1891 w 10000"/>
                <a:gd name="connsiteY15" fmla="*/ 5172 h 10389"/>
                <a:gd name="connsiteX16" fmla="*/ 2167 w 10000"/>
                <a:gd name="connsiteY16" fmla="*/ 5796 h 10389"/>
                <a:gd name="connsiteX17" fmla="*/ 2419 w 10000"/>
                <a:gd name="connsiteY17" fmla="*/ 6037 h 10389"/>
                <a:gd name="connsiteX18" fmla="*/ 2318 w 10000"/>
                <a:gd name="connsiteY18" fmla="*/ 6245 h 10389"/>
                <a:gd name="connsiteX19" fmla="*/ 2454 w 10000"/>
                <a:gd name="connsiteY19" fmla="*/ 6477 h 10389"/>
                <a:gd name="connsiteX20" fmla="*/ 2434 w 10000"/>
                <a:gd name="connsiteY20" fmla="*/ 6810 h 10389"/>
                <a:gd name="connsiteX21" fmla="*/ 2696 w 10000"/>
                <a:gd name="connsiteY21" fmla="*/ 6844 h 10389"/>
                <a:gd name="connsiteX22" fmla="*/ 2980 w 10000"/>
                <a:gd name="connsiteY22" fmla="*/ 7211 h 10389"/>
                <a:gd name="connsiteX23" fmla="*/ 3050 w 10000"/>
                <a:gd name="connsiteY23" fmla="*/ 7783 h 10389"/>
                <a:gd name="connsiteX24" fmla="*/ 3114 w 10000"/>
                <a:gd name="connsiteY24" fmla="*/ 7993 h 10389"/>
                <a:gd name="connsiteX25" fmla="*/ 3471 w 10000"/>
                <a:gd name="connsiteY25" fmla="*/ 8481 h 10389"/>
                <a:gd name="connsiteX26" fmla="*/ 3471 w 10000"/>
                <a:gd name="connsiteY26" fmla="*/ 8850 h 10389"/>
                <a:gd name="connsiteX27" fmla="*/ 3997 w 10000"/>
                <a:gd name="connsiteY27" fmla="*/ 9247 h 10389"/>
                <a:gd name="connsiteX28" fmla="*/ 4285 w 10000"/>
                <a:gd name="connsiteY28" fmla="*/ 8825 h 10389"/>
                <a:gd name="connsiteX29" fmla="*/ 4643 w 10000"/>
                <a:gd name="connsiteY29" fmla="*/ 9143 h 10389"/>
                <a:gd name="connsiteX30" fmla="*/ 4928 w 10000"/>
                <a:gd name="connsiteY30" fmla="*/ 8667 h 10389"/>
                <a:gd name="connsiteX31" fmla="*/ 5251 w 10000"/>
                <a:gd name="connsiteY31" fmla="*/ 9423 h 10389"/>
                <a:gd name="connsiteX32" fmla="*/ 5709 w 10000"/>
                <a:gd name="connsiteY32" fmla="*/ 9844 h 10389"/>
                <a:gd name="connsiteX33" fmla="*/ 5759 w 10000"/>
                <a:gd name="connsiteY33" fmla="*/ 10214 h 10389"/>
                <a:gd name="connsiteX34" fmla="*/ 5946 w 10000"/>
                <a:gd name="connsiteY34" fmla="*/ 10262 h 10389"/>
                <a:gd name="connsiteX35" fmla="*/ 6216 w 10000"/>
                <a:gd name="connsiteY35" fmla="*/ 9918 h 10389"/>
                <a:gd name="connsiteX36" fmla="*/ 6558 w 10000"/>
                <a:gd name="connsiteY36" fmla="*/ 10129 h 10389"/>
                <a:gd name="connsiteX37" fmla="*/ 6675 w 10000"/>
                <a:gd name="connsiteY37" fmla="*/ 9947 h 10389"/>
                <a:gd name="connsiteX38" fmla="*/ 6797 w 10000"/>
                <a:gd name="connsiteY38" fmla="*/ 9918 h 10389"/>
                <a:gd name="connsiteX39" fmla="*/ 7029 w 10000"/>
                <a:gd name="connsiteY39" fmla="*/ 10389 h 10389"/>
                <a:gd name="connsiteX40" fmla="*/ 7251 w 10000"/>
                <a:gd name="connsiteY40" fmla="*/ 9996 h 10389"/>
                <a:gd name="connsiteX41" fmla="*/ 7521 w 10000"/>
                <a:gd name="connsiteY41" fmla="*/ 10022 h 10389"/>
                <a:gd name="connsiteX42" fmla="*/ 7727 w 10000"/>
                <a:gd name="connsiteY42" fmla="*/ 9813 h 10389"/>
                <a:gd name="connsiteX43" fmla="*/ 8015 w 10000"/>
                <a:gd name="connsiteY43" fmla="*/ 10022 h 10389"/>
                <a:gd name="connsiteX44" fmla="*/ 8389 w 10000"/>
                <a:gd name="connsiteY44" fmla="*/ 9373 h 10389"/>
                <a:gd name="connsiteX45" fmla="*/ 8521 w 10000"/>
                <a:gd name="connsiteY45" fmla="*/ 9373 h 10389"/>
                <a:gd name="connsiteX46" fmla="*/ 8760 w 10000"/>
                <a:gd name="connsiteY46" fmla="*/ 8850 h 10389"/>
                <a:gd name="connsiteX47" fmla="*/ 9775 w 10000"/>
                <a:gd name="connsiteY47" fmla="*/ 8825 h 10389"/>
                <a:gd name="connsiteX48" fmla="*/ 10000 w 10000"/>
                <a:gd name="connsiteY48" fmla="*/ 8613 h 10389"/>
                <a:gd name="connsiteX49" fmla="*/ 9983 w 10000"/>
                <a:gd name="connsiteY49" fmla="*/ 8356 h 10389"/>
                <a:gd name="connsiteX50" fmla="*/ 9915 w 10000"/>
                <a:gd name="connsiteY50" fmla="*/ 7783 h 10389"/>
                <a:gd name="connsiteX51" fmla="*/ 9491 w 10000"/>
                <a:gd name="connsiteY51" fmla="*/ 7596 h 10389"/>
                <a:gd name="connsiteX52" fmla="*/ 9288 w 10000"/>
                <a:gd name="connsiteY52" fmla="*/ 6684 h 10389"/>
                <a:gd name="connsiteX53" fmla="*/ 9169 w 10000"/>
                <a:gd name="connsiteY53" fmla="*/ 6580 h 10389"/>
                <a:gd name="connsiteX54" fmla="*/ 9138 w 10000"/>
                <a:gd name="connsiteY54" fmla="*/ 5930 h 10389"/>
                <a:gd name="connsiteX55" fmla="*/ 8985 w 10000"/>
                <a:gd name="connsiteY55" fmla="*/ 5900 h 10389"/>
                <a:gd name="connsiteX56" fmla="*/ 8928 w 10000"/>
                <a:gd name="connsiteY56" fmla="*/ 5567 h 10389"/>
                <a:gd name="connsiteX57" fmla="*/ 8674 w 10000"/>
                <a:gd name="connsiteY57" fmla="*/ 5484 h 10389"/>
                <a:gd name="connsiteX58" fmla="*/ 8590 w 10000"/>
                <a:gd name="connsiteY58" fmla="*/ 4968 h 10389"/>
                <a:gd name="connsiteX59" fmla="*/ 8168 w 10000"/>
                <a:gd name="connsiteY59" fmla="*/ 4470 h 10389"/>
                <a:gd name="connsiteX60" fmla="*/ 7708 w 10000"/>
                <a:gd name="connsiteY60" fmla="*/ 4391 h 10389"/>
                <a:gd name="connsiteX61" fmla="*/ 7829 w 10000"/>
                <a:gd name="connsiteY61" fmla="*/ 3818 h 10389"/>
                <a:gd name="connsiteX62" fmla="*/ 7796 w 10000"/>
                <a:gd name="connsiteY62" fmla="*/ 3399 h 10389"/>
                <a:gd name="connsiteX63" fmla="*/ 8185 w 10000"/>
                <a:gd name="connsiteY63" fmla="*/ 3428 h 10389"/>
                <a:gd name="connsiteX64" fmla="*/ 8269 w 10000"/>
                <a:gd name="connsiteY64" fmla="*/ 3553 h 10389"/>
                <a:gd name="connsiteX65" fmla="*/ 8506 w 10000"/>
                <a:gd name="connsiteY65" fmla="*/ 3291 h 10389"/>
                <a:gd name="connsiteX66" fmla="*/ 8575 w 10000"/>
                <a:gd name="connsiteY66" fmla="*/ 2360 h 10389"/>
                <a:gd name="connsiteX67" fmla="*/ 8474 w 10000"/>
                <a:gd name="connsiteY67" fmla="*/ 1652 h 10389"/>
                <a:gd name="connsiteX68" fmla="*/ 8760 w 10000"/>
                <a:gd name="connsiteY68" fmla="*/ 1079 h 10389"/>
                <a:gd name="connsiteX69" fmla="*/ 8312 w 10000"/>
                <a:gd name="connsiteY69" fmla="*/ 434 h 10389"/>
                <a:gd name="connsiteX0" fmla="*/ 8312 w 10000"/>
                <a:gd name="connsiteY0" fmla="*/ 45 h 10000"/>
                <a:gd name="connsiteX1" fmla="*/ 2814 w 10000"/>
                <a:gd name="connsiteY1" fmla="*/ 2018 h 10000"/>
                <a:gd name="connsiteX2" fmla="*/ 1875 w 10000"/>
                <a:gd name="connsiteY2" fmla="*/ 647 h 10000"/>
                <a:gd name="connsiteX3" fmla="*/ 1212 w 10000"/>
                <a:gd name="connsiteY3" fmla="*/ 1289 h 10000"/>
                <a:gd name="connsiteX4" fmla="*/ 508 w 10000"/>
                <a:gd name="connsiteY4" fmla="*/ 1318 h 10000"/>
                <a:gd name="connsiteX5" fmla="*/ 12 w 10000"/>
                <a:gd name="connsiteY5" fmla="*/ 2150 h 10000"/>
                <a:gd name="connsiteX6" fmla="*/ 151 w 10000"/>
                <a:gd name="connsiteY6" fmla="*/ 2330 h 10000"/>
                <a:gd name="connsiteX7" fmla="*/ 48 w 10000"/>
                <a:gd name="connsiteY7" fmla="*/ 2614 h 10000"/>
                <a:gd name="connsiteX8" fmla="*/ 625 w 10000"/>
                <a:gd name="connsiteY8" fmla="*/ 2697 h 10000"/>
                <a:gd name="connsiteX9" fmla="*/ 625 w 10000"/>
                <a:gd name="connsiteY9" fmla="*/ 2878 h 10000"/>
                <a:gd name="connsiteX10" fmla="*/ 605 w 10000"/>
                <a:gd name="connsiteY10" fmla="*/ 3297 h 10000"/>
                <a:gd name="connsiteX11" fmla="*/ 1216 w 10000"/>
                <a:gd name="connsiteY11" fmla="*/ 3450 h 10000"/>
                <a:gd name="connsiteX12" fmla="*/ 1216 w 10000"/>
                <a:gd name="connsiteY12" fmla="*/ 3799 h 10000"/>
                <a:gd name="connsiteX13" fmla="*/ 1539 w 10000"/>
                <a:gd name="connsiteY13" fmla="*/ 4054 h 10000"/>
                <a:gd name="connsiteX14" fmla="*/ 1437 w 10000"/>
                <a:gd name="connsiteY14" fmla="*/ 4441 h 10000"/>
                <a:gd name="connsiteX15" fmla="*/ 1891 w 10000"/>
                <a:gd name="connsiteY15" fmla="*/ 4783 h 10000"/>
                <a:gd name="connsiteX16" fmla="*/ 2167 w 10000"/>
                <a:gd name="connsiteY16" fmla="*/ 5407 h 10000"/>
                <a:gd name="connsiteX17" fmla="*/ 2419 w 10000"/>
                <a:gd name="connsiteY17" fmla="*/ 5648 h 10000"/>
                <a:gd name="connsiteX18" fmla="*/ 2318 w 10000"/>
                <a:gd name="connsiteY18" fmla="*/ 5856 h 10000"/>
                <a:gd name="connsiteX19" fmla="*/ 2454 w 10000"/>
                <a:gd name="connsiteY19" fmla="*/ 6088 h 10000"/>
                <a:gd name="connsiteX20" fmla="*/ 2434 w 10000"/>
                <a:gd name="connsiteY20" fmla="*/ 6421 h 10000"/>
                <a:gd name="connsiteX21" fmla="*/ 2696 w 10000"/>
                <a:gd name="connsiteY21" fmla="*/ 6455 h 10000"/>
                <a:gd name="connsiteX22" fmla="*/ 2980 w 10000"/>
                <a:gd name="connsiteY22" fmla="*/ 6822 h 10000"/>
                <a:gd name="connsiteX23" fmla="*/ 3050 w 10000"/>
                <a:gd name="connsiteY23" fmla="*/ 7394 h 10000"/>
                <a:gd name="connsiteX24" fmla="*/ 3114 w 10000"/>
                <a:gd name="connsiteY24" fmla="*/ 7604 h 10000"/>
                <a:gd name="connsiteX25" fmla="*/ 3471 w 10000"/>
                <a:gd name="connsiteY25" fmla="*/ 8092 h 10000"/>
                <a:gd name="connsiteX26" fmla="*/ 3471 w 10000"/>
                <a:gd name="connsiteY26" fmla="*/ 8461 h 10000"/>
                <a:gd name="connsiteX27" fmla="*/ 3997 w 10000"/>
                <a:gd name="connsiteY27" fmla="*/ 8858 h 10000"/>
                <a:gd name="connsiteX28" fmla="*/ 4285 w 10000"/>
                <a:gd name="connsiteY28" fmla="*/ 8436 h 10000"/>
                <a:gd name="connsiteX29" fmla="*/ 4643 w 10000"/>
                <a:gd name="connsiteY29" fmla="*/ 8754 h 10000"/>
                <a:gd name="connsiteX30" fmla="*/ 4928 w 10000"/>
                <a:gd name="connsiteY30" fmla="*/ 8278 h 10000"/>
                <a:gd name="connsiteX31" fmla="*/ 5251 w 10000"/>
                <a:gd name="connsiteY31" fmla="*/ 9034 h 10000"/>
                <a:gd name="connsiteX32" fmla="*/ 5709 w 10000"/>
                <a:gd name="connsiteY32" fmla="*/ 9455 h 10000"/>
                <a:gd name="connsiteX33" fmla="*/ 5759 w 10000"/>
                <a:gd name="connsiteY33" fmla="*/ 9825 h 10000"/>
                <a:gd name="connsiteX34" fmla="*/ 5946 w 10000"/>
                <a:gd name="connsiteY34" fmla="*/ 9873 h 10000"/>
                <a:gd name="connsiteX35" fmla="*/ 6216 w 10000"/>
                <a:gd name="connsiteY35" fmla="*/ 9529 h 10000"/>
                <a:gd name="connsiteX36" fmla="*/ 6558 w 10000"/>
                <a:gd name="connsiteY36" fmla="*/ 9740 h 10000"/>
                <a:gd name="connsiteX37" fmla="*/ 6675 w 10000"/>
                <a:gd name="connsiteY37" fmla="*/ 9558 h 10000"/>
                <a:gd name="connsiteX38" fmla="*/ 6797 w 10000"/>
                <a:gd name="connsiteY38" fmla="*/ 9529 h 10000"/>
                <a:gd name="connsiteX39" fmla="*/ 7029 w 10000"/>
                <a:gd name="connsiteY39" fmla="*/ 10000 h 10000"/>
                <a:gd name="connsiteX40" fmla="*/ 7251 w 10000"/>
                <a:gd name="connsiteY40" fmla="*/ 9607 h 10000"/>
                <a:gd name="connsiteX41" fmla="*/ 7521 w 10000"/>
                <a:gd name="connsiteY41" fmla="*/ 9633 h 10000"/>
                <a:gd name="connsiteX42" fmla="*/ 7727 w 10000"/>
                <a:gd name="connsiteY42" fmla="*/ 9424 h 10000"/>
                <a:gd name="connsiteX43" fmla="*/ 8015 w 10000"/>
                <a:gd name="connsiteY43" fmla="*/ 9633 h 10000"/>
                <a:gd name="connsiteX44" fmla="*/ 8389 w 10000"/>
                <a:gd name="connsiteY44" fmla="*/ 8984 h 10000"/>
                <a:gd name="connsiteX45" fmla="*/ 8521 w 10000"/>
                <a:gd name="connsiteY45" fmla="*/ 8984 h 10000"/>
                <a:gd name="connsiteX46" fmla="*/ 8760 w 10000"/>
                <a:gd name="connsiteY46" fmla="*/ 8461 h 10000"/>
                <a:gd name="connsiteX47" fmla="*/ 9775 w 10000"/>
                <a:gd name="connsiteY47" fmla="*/ 8436 h 10000"/>
                <a:gd name="connsiteX48" fmla="*/ 10000 w 10000"/>
                <a:gd name="connsiteY48" fmla="*/ 8224 h 10000"/>
                <a:gd name="connsiteX49" fmla="*/ 9983 w 10000"/>
                <a:gd name="connsiteY49" fmla="*/ 7967 h 10000"/>
                <a:gd name="connsiteX50" fmla="*/ 9915 w 10000"/>
                <a:gd name="connsiteY50" fmla="*/ 7394 h 10000"/>
                <a:gd name="connsiteX51" fmla="*/ 9491 w 10000"/>
                <a:gd name="connsiteY51" fmla="*/ 7207 h 10000"/>
                <a:gd name="connsiteX52" fmla="*/ 9288 w 10000"/>
                <a:gd name="connsiteY52" fmla="*/ 6295 h 10000"/>
                <a:gd name="connsiteX53" fmla="*/ 9169 w 10000"/>
                <a:gd name="connsiteY53" fmla="*/ 6191 h 10000"/>
                <a:gd name="connsiteX54" fmla="*/ 9138 w 10000"/>
                <a:gd name="connsiteY54" fmla="*/ 5541 h 10000"/>
                <a:gd name="connsiteX55" fmla="*/ 8985 w 10000"/>
                <a:gd name="connsiteY55" fmla="*/ 5511 h 10000"/>
                <a:gd name="connsiteX56" fmla="*/ 8928 w 10000"/>
                <a:gd name="connsiteY56" fmla="*/ 5178 h 10000"/>
                <a:gd name="connsiteX57" fmla="*/ 8674 w 10000"/>
                <a:gd name="connsiteY57" fmla="*/ 5095 h 10000"/>
                <a:gd name="connsiteX58" fmla="*/ 8590 w 10000"/>
                <a:gd name="connsiteY58" fmla="*/ 4579 h 10000"/>
                <a:gd name="connsiteX59" fmla="*/ 8168 w 10000"/>
                <a:gd name="connsiteY59" fmla="*/ 4081 h 10000"/>
                <a:gd name="connsiteX60" fmla="*/ 7708 w 10000"/>
                <a:gd name="connsiteY60" fmla="*/ 4002 h 10000"/>
                <a:gd name="connsiteX61" fmla="*/ 7829 w 10000"/>
                <a:gd name="connsiteY61" fmla="*/ 3429 h 10000"/>
                <a:gd name="connsiteX62" fmla="*/ 7796 w 10000"/>
                <a:gd name="connsiteY62" fmla="*/ 3010 h 10000"/>
                <a:gd name="connsiteX63" fmla="*/ 8185 w 10000"/>
                <a:gd name="connsiteY63" fmla="*/ 3039 h 10000"/>
                <a:gd name="connsiteX64" fmla="*/ 8269 w 10000"/>
                <a:gd name="connsiteY64" fmla="*/ 3164 h 10000"/>
                <a:gd name="connsiteX65" fmla="*/ 8506 w 10000"/>
                <a:gd name="connsiteY65" fmla="*/ 2902 h 10000"/>
                <a:gd name="connsiteX66" fmla="*/ 8575 w 10000"/>
                <a:gd name="connsiteY66" fmla="*/ 1971 h 10000"/>
                <a:gd name="connsiteX67" fmla="*/ 8474 w 10000"/>
                <a:gd name="connsiteY67" fmla="*/ 1263 h 10000"/>
                <a:gd name="connsiteX68" fmla="*/ 8760 w 10000"/>
                <a:gd name="connsiteY68" fmla="*/ 690 h 10000"/>
                <a:gd name="connsiteX69" fmla="*/ 8312 w 10000"/>
                <a:gd name="connsiteY69" fmla="*/ 45 h 10000"/>
                <a:gd name="connsiteX0" fmla="*/ 8312 w 10000"/>
                <a:gd name="connsiteY0" fmla="*/ 45 h 10000"/>
                <a:gd name="connsiteX1" fmla="*/ 2814 w 10000"/>
                <a:gd name="connsiteY1" fmla="*/ 2018 h 10000"/>
                <a:gd name="connsiteX2" fmla="*/ 1875 w 10000"/>
                <a:gd name="connsiteY2" fmla="*/ 647 h 10000"/>
                <a:gd name="connsiteX3" fmla="*/ 1212 w 10000"/>
                <a:gd name="connsiteY3" fmla="*/ 1289 h 10000"/>
                <a:gd name="connsiteX4" fmla="*/ 508 w 10000"/>
                <a:gd name="connsiteY4" fmla="*/ 1318 h 10000"/>
                <a:gd name="connsiteX5" fmla="*/ 12 w 10000"/>
                <a:gd name="connsiteY5" fmla="*/ 2150 h 10000"/>
                <a:gd name="connsiteX6" fmla="*/ 151 w 10000"/>
                <a:gd name="connsiteY6" fmla="*/ 2330 h 10000"/>
                <a:gd name="connsiteX7" fmla="*/ 48 w 10000"/>
                <a:gd name="connsiteY7" fmla="*/ 2614 h 10000"/>
                <a:gd name="connsiteX8" fmla="*/ 625 w 10000"/>
                <a:gd name="connsiteY8" fmla="*/ 2697 h 10000"/>
                <a:gd name="connsiteX9" fmla="*/ 625 w 10000"/>
                <a:gd name="connsiteY9" fmla="*/ 2878 h 10000"/>
                <a:gd name="connsiteX10" fmla="*/ 605 w 10000"/>
                <a:gd name="connsiteY10" fmla="*/ 3297 h 10000"/>
                <a:gd name="connsiteX11" fmla="*/ 1216 w 10000"/>
                <a:gd name="connsiteY11" fmla="*/ 3450 h 10000"/>
                <a:gd name="connsiteX12" fmla="*/ 1216 w 10000"/>
                <a:gd name="connsiteY12" fmla="*/ 3799 h 10000"/>
                <a:gd name="connsiteX13" fmla="*/ 1539 w 10000"/>
                <a:gd name="connsiteY13" fmla="*/ 4054 h 10000"/>
                <a:gd name="connsiteX14" fmla="*/ 1437 w 10000"/>
                <a:gd name="connsiteY14" fmla="*/ 4441 h 10000"/>
                <a:gd name="connsiteX15" fmla="*/ 1891 w 10000"/>
                <a:gd name="connsiteY15" fmla="*/ 4783 h 10000"/>
                <a:gd name="connsiteX16" fmla="*/ 2167 w 10000"/>
                <a:gd name="connsiteY16" fmla="*/ 5407 h 10000"/>
                <a:gd name="connsiteX17" fmla="*/ 2419 w 10000"/>
                <a:gd name="connsiteY17" fmla="*/ 5648 h 10000"/>
                <a:gd name="connsiteX18" fmla="*/ 2318 w 10000"/>
                <a:gd name="connsiteY18" fmla="*/ 5856 h 10000"/>
                <a:gd name="connsiteX19" fmla="*/ 2454 w 10000"/>
                <a:gd name="connsiteY19" fmla="*/ 6088 h 10000"/>
                <a:gd name="connsiteX20" fmla="*/ 2434 w 10000"/>
                <a:gd name="connsiteY20" fmla="*/ 6421 h 10000"/>
                <a:gd name="connsiteX21" fmla="*/ 2696 w 10000"/>
                <a:gd name="connsiteY21" fmla="*/ 6455 h 10000"/>
                <a:gd name="connsiteX22" fmla="*/ 2980 w 10000"/>
                <a:gd name="connsiteY22" fmla="*/ 6822 h 10000"/>
                <a:gd name="connsiteX23" fmla="*/ 3050 w 10000"/>
                <a:gd name="connsiteY23" fmla="*/ 7394 h 10000"/>
                <a:gd name="connsiteX24" fmla="*/ 3114 w 10000"/>
                <a:gd name="connsiteY24" fmla="*/ 7604 h 10000"/>
                <a:gd name="connsiteX25" fmla="*/ 3471 w 10000"/>
                <a:gd name="connsiteY25" fmla="*/ 8092 h 10000"/>
                <a:gd name="connsiteX26" fmla="*/ 3471 w 10000"/>
                <a:gd name="connsiteY26" fmla="*/ 8461 h 10000"/>
                <a:gd name="connsiteX27" fmla="*/ 3997 w 10000"/>
                <a:gd name="connsiteY27" fmla="*/ 8858 h 10000"/>
                <a:gd name="connsiteX28" fmla="*/ 4285 w 10000"/>
                <a:gd name="connsiteY28" fmla="*/ 8436 h 10000"/>
                <a:gd name="connsiteX29" fmla="*/ 4643 w 10000"/>
                <a:gd name="connsiteY29" fmla="*/ 8754 h 10000"/>
                <a:gd name="connsiteX30" fmla="*/ 4928 w 10000"/>
                <a:gd name="connsiteY30" fmla="*/ 8278 h 10000"/>
                <a:gd name="connsiteX31" fmla="*/ 5251 w 10000"/>
                <a:gd name="connsiteY31" fmla="*/ 9034 h 10000"/>
                <a:gd name="connsiteX32" fmla="*/ 5709 w 10000"/>
                <a:gd name="connsiteY32" fmla="*/ 9455 h 10000"/>
                <a:gd name="connsiteX33" fmla="*/ 5759 w 10000"/>
                <a:gd name="connsiteY33" fmla="*/ 9825 h 10000"/>
                <a:gd name="connsiteX34" fmla="*/ 5946 w 10000"/>
                <a:gd name="connsiteY34" fmla="*/ 9873 h 10000"/>
                <a:gd name="connsiteX35" fmla="*/ 6216 w 10000"/>
                <a:gd name="connsiteY35" fmla="*/ 9529 h 10000"/>
                <a:gd name="connsiteX36" fmla="*/ 6558 w 10000"/>
                <a:gd name="connsiteY36" fmla="*/ 9740 h 10000"/>
                <a:gd name="connsiteX37" fmla="*/ 6675 w 10000"/>
                <a:gd name="connsiteY37" fmla="*/ 9558 h 10000"/>
                <a:gd name="connsiteX38" fmla="*/ 6797 w 10000"/>
                <a:gd name="connsiteY38" fmla="*/ 9529 h 10000"/>
                <a:gd name="connsiteX39" fmla="*/ 7029 w 10000"/>
                <a:gd name="connsiteY39" fmla="*/ 10000 h 10000"/>
                <a:gd name="connsiteX40" fmla="*/ 7251 w 10000"/>
                <a:gd name="connsiteY40" fmla="*/ 9607 h 10000"/>
                <a:gd name="connsiteX41" fmla="*/ 7521 w 10000"/>
                <a:gd name="connsiteY41" fmla="*/ 9633 h 10000"/>
                <a:gd name="connsiteX42" fmla="*/ 7727 w 10000"/>
                <a:gd name="connsiteY42" fmla="*/ 9424 h 10000"/>
                <a:gd name="connsiteX43" fmla="*/ 8015 w 10000"/>
                <a:gd name="connsiteY43" fmla="*/ 9633 h 10000"/>
                <a:gd name="connsiteX44" fmla="*/ 8389 w 10000"/>
                <a:gd name="connsiteY44" fmla="*/ 8984 h 10000"/>
                <a:gd name="connsiteX45" fmla="*/ 8521 w 10000"/>
                <a:gd name="connsiteY45" fmla="*/ 8984 h 10000"/>
                <a:gd name="connsiteX46" fmla="*/ 8760 w 10000"/>
                <a:gd name="connsiteY46" fmla="*/ 8461 h 10000"/>
                <a:gd name="connsiteX47" fmla="*/ 9775 w 10000"/>
                <a:gd name="connsiteY47" fmla="*/ 8436 h 10000"/>
                <a:gd name="connsiteX48" fmla="*/ 10000 w 10000"/>
                <a:gd name="connsiteY48" fmla="*/ 8224 h 10000"/>
                <a:gd name="connsiteX49" fmla="*/ 9983 w 10000"/>
                <a:gd name="connsiteY49" fmla="*/ 7967 h 10000"/>
                <a:gd name="connsiteX50" fmla="*/ 9915 w 10000"/>
                <a:gd name="connsiteY50" fmla="*/ 7394 h 10000"/>
                <a:gd name="connsiteX51" fmla="*/ 9491 w 10000"/>
                <a:gd name="connsiteY51" fmla="*/ 7207 h 10000"/>
                <a:gd name="connsiteX52" fmla="*/ 9288 w 10000"/>
                <a:gd name="connsiteY52" fmla="*/ 6295 h 10000"/>
                <a:gd name="connsiteX53" fmla="*/ 9169 w 10000"/>
                <a:gd name="connsiteY53" fmla="*/ 6191 h 10000"/>
                <a:gd name="connsiteX54" fmla="*/ 9138 w 10000"/>
                <a:gd name="connsiteY54" fmla="*/ 5541 h 10000"/>
                <a:gd name="connsiteX55" fmla="*/ 8985 w 10000"/>
                <a:gd name="connsiteY55" fmla="*/ 5511 h 10000"/>
                <a:gd name="connsiteX56" fmla="*/ 8928 w 10000"/>
                <a:gd name="connsiteY56" fmla="*/ 5178 h 10000"/>
                <a:gd name="connsiteX57" fmla="*/ 8674 w 10000"/>
                <a:gd name="connsiteY57" fmla="*/ 5095 h 10000"/>
                <a:gd name="connsiteX58" fmla="*/ 8590 w 10000"/>
                <a:gd name="connsiteY58" fmla="*/ 4579 h 10000"/>
                <a:gd name="connsiteX59" fmla="*/ 8168 w 10000"/>
                <a:gd name="connsiteY59" fmla="*/ 4081 h 10000"/>
                <a:gd name="connsiteX60" fmla="*/ 7708 w 10000"/>
                <a:gd name="connsiteY60" fmla="*/ 4002 h 10000"/>
                <a:gd name="connsiteX61" fmla="*/ 7829 w 10000"/>
                <a:gd name="connsiteY61" fmla="*/ 3429 h 10000"/>
                <a:gd name="connsiteX62" fmla="*/ 7796 w 10000"/>
                <a:gd name="connsiteY62" fmla="*/ 3010 h 10000"/>
                <a:gd name="connsiteX63" fmla="*/ 8185 w 10000"/>
                <a:gd name="connsiteY63" fmla="*/ 3039 h 10000"/>
                <a:gd name="connsiteX64" fmla="*/ 8269 w 10000"/>
                <a:gd name="connsiteY64" fmla="*/ 3164 h 10000"/>
                <a:gd name="connsiteX65" fmla="*/ 8506 w 10000"/>
                <a:gd name="connsiteY65" fmla="*/ 2902 h 10000"/>
                <a:gd name="connsiteX66" fmla="*/ 8575 w 10000"/>
                <a:gd name="connsiteY66" fmla="*/ 1971 h 10000"/>
                <a:gd name="connsiteX67" fmla="*/ 8474 w 10000"/>
                <a:gd name="connsiteY67" fmla="*/ 1263 h 10000"/>
                <a:gd name="connsiteX68" fmla="*/ 8760 w 10000"/>
                <a:gd name="connsiteY68" fmla="*/ 690 h 10000"/>
                <a:gd name="connsiteX69" fmla="*/ 8312 w 10000"/>
                <a:gd name="connsiteY69" fmla="*/ 45 h 10000"/>
                <a:gd name="connsiteX0" fmla="*/ 8312 w 10000"/>
                <a:gd name="connsiteY0" fmla="*/ 35 h 9990"/>
                <a:gd name="connsiteX1" fmla="*/ 2597 w 10000"/>
                <a:gd name="connsiteY1" fmla="*/ 1817 h 9990"/>
                <a:gd name="connsiteX2" fmla="*/ 1875 w 10000"/>
                <a:gd name="connsiteY2" fmla="*/ 637 h 9990"/>
                <a:gd name="connsiteX3" fmla="*/ 1212 w 10000"/>
                <a:gd name="connsiteY3" fmla="*/ 1279 h 9990"/>
                <a:gd name="connsiteX4" fmla="*/ 508 w 10000"/>
                <a:gd name="connsiteY4" fmla="*/ 1308 h 9990"/>
                <a:gd name="connsiteX5" fmla="*/ 12 w 10000"/>
                <a:gd name="connsiteY5" fmla="*/ 2140 h 9990"/>
                <a:gd name="connsiteX6" fmla="*/ 151 w 10000"/>
                <a:gd name="connsiteY6" fmla="*/ 2320 h 9990"/>
                <a:gd name="connsiteX7" fmla="*/ 48 w 10000"/>
                <a:gd name="connsiteY7" fmla="*/ 2604 h 9990"/>
                <a:gd name="connsiteX8" fmla="*/ 625 w 10000"/>
                <a:gd name="connsiteY8" fmla="*/ 2687 h 9990"/>
                <a:gd name="connsiteX9" fmla="*/ 625 w 10000"/>
                <a:gd name="connsiteY9" fmla="*/ 2868 h 9990"/>
                <a:gd name="connsiteX10" fmla="*/ 605 w 10000"/>
                <a:gd name="connsiteY10" fmla="*/ 3287 h 9990"/>
                <a:gd name="connsiteX11" fmla="*/ 1216 w 10000"/>
                <a:gd name="connsiteY11" fmla="*/ 3440 h 9990"/>
                <a:gd name="connsiteX12" fmla="*/ 1216 w 10000"/>
                <a:gd name="connsiteY12" fmla="*/ 3789 h 9990"/>
                <a:gd name="connsiteX13" fmla="*/ 1539 w 10000"/>
                <a:gd name="connsiteY13" fmla="*/ 4044 h 9990"/>
                <a:gd name="connsiteX14" fmla="*/ 1437 w 10000"/>
                <a:gd name="connsiteY14" fmla="*/ 4431 h 9990"/>
                <a:gd name="connsiteX15" fmla="*/ 1891 w 10000"/>
                <a:gd name="connsiteY15" fmla="*/ 4773 h 9990"/>
                <a:gd name="connsiteX16" fmla="*/ 2167 w 10000"/>
                <a:gd name="connsiteY16" fmla="*/ 5397 h 9990"/>
                <a:gd name="connsiteX17" fmla="*/ 2419 w 10000"/>
                <a:gd name="connsiteY17" fmla="*/ 5638 h 9990"/>
                <a:gd name="connsiteX18" fmla="*/ 2318 w 10000"/>
                <a:gd name="connsiteY18" fmla="*/ 5846 h 9990"/>
                <a:gd name="connsiteX19" fmla="*/ 2454 w 10000"/>
                <a:gd name="connsiteY19" fmla="*/ 6078 h 9990"/>
                <a:gd name="connsiteX20" fmla="*/ 2434 w 10000"/>
                <a:gd name="connsiteY20" fmla="*/ 6411 h 9990"/>
                <a:gd name="connsiteX21" fmla="*/ 2696 w 10000"/>
                <a:gd name="connsiteY21" fmla="*/ 6445 h 9990"/>
                <a:gd name="connsiteX22" fmla="*/ 2980 w 10000"/>
                <a:gd name="connsiteY22" fmla="*/ 6812 h 9990"/>
                <a:gd name="connsiteX23" fmla="*/ 3050 w 10000"/>
                <a:gd name="connsiteY23" fmla="*/ 7384 h 9990"/>
                <a:gd name="connsiteX24" fmla="*/ 3114 w 10000"/>
                <a:gd name="connsiteY24" fmla="*/ 7594 h 9990"/>
                <a:gd name="connsiteX25" fmla="*/ 3471 w 10000"/>
                <a:gd name="connsiteY25" fmla="*/ 8082 h 9990"/>
                <a:gd name="connsiteX26" fmla="*/ 3471 w 10000"/>
                <a:gd name="connsiteY26" fmla="*/ 8451 h 9990"/>
                <a:gd name="connsiteX27" fmla="*/ 3997 w 10000"/>
                <a:gd name="connsiteY27" fmla="*/ 8848 h 9990"/>
                <a:gd name="connsiteX28" fmla="*/ 4285 w 10000"/>
                <a:gd name="connsiteY28" fmla="*/ 8426 h 9990"/>
                <a:gd name="connsiteX29" fmla="*/ 4643 w 10000"/>
                <a:gd name="connsiteY29" fmla="*/ 8744 h 9990"/>
                <a:gd name="connsiteX30" fmla="*/ 4928 w 10000"/>
                <a:gd name="connsiteY30" fmla="*/ 8268 h 9990"/>
                <a:gd name="connsiteX31" fmla="*/ 5251 w 10000"/>
                <a:gd name="connsiteY31" fmla="*/ 9024 h 9990"/>
                <a:gd name="connsiteX32" fmla="*/ 5709 w 10000"/>
                <a:gd name="connsiteY32" fmla="*/ 9445 h 9990"/>
                <a:gd name="connsiteX33" fmla="*/ 5759 w 10000"/>
                <a:gd name="connsiteY33" fmla="*/ 9815 h 9990"/>
                <a:gd name="connsiteX34" fmla="*/ 5946 w 10000"/>
                <a:gd name="connsiteY34" fmla="*/ 9863 h 9990"/>
                <a:gd name="connsiteX35" fmla="*/ 6216 w 10000"/>
                <a:gd name="connsiteY35" fmla="*/ 9519 h 9990"/>
                <a:gd name="connsiteX36" fmla="*/ 6558 w 10000"/>
                <a:gd name="connsiteY36" fmla="*/ 9730 h 9990"/>
                <a:gd name="connsiteX37" fmla="*/ 6675 w 10000"/>
                <a:gd name="connsiteY37" fmla="*/ 9548 h 9990"/>
                <a:gd name="connsiteX38" fmla="*/ 6797 w 10000"/>
                <a:gd name="connsiteY38" fmla="*/ 9519 h 9990"/>
                <a:gd name="connsiteX39" fmla="*/ 7029 w 10000"/>
                <a:gd name="connsiteY39" fmla="*/ 9990 h 9990"/>
                <a:gd name="connsiteX40" fmla="*/ 7251 w 10000"/>
                <a:gd name="connsiteY40" fmla="*/ 9597 h 9990"/>
                <a:gd name="connsiteX41" fmla="*/ 7521 w 10000"/>
                <a:gd name="connsiteY41" fmla="*/ 9623 h 9990"/>
                <a:gd name="connsiteX42" fmla="*/ 7727 w 10000"/>
                <a:gd name="connsiteY42" fmla="*/ 9414 h 9990"/>
                <a:gd name="connsiteX43" fmla="*/ 8015 w 10000"/>
                <a:gd name="connsiteY43" fmla="*/ 9623 h 9990"/>
                <a:gd name="connsiteX44" fmla="*/ 8389 w 10000"/>
                <a:gd name="connsiteY44" fmla="*/ 8974 h 9990"/>
                <a:gd name="connsiteX45" fmla="*/ 8521 w 10000"/>
                <a:gd name="connsiteY45" fmla="*/ 8974 h 9990"/>
                <a:gd name="connsiteX46" fmla="*/ 8760 w 10000"/>
                <a:gd name="connsiteY46" fmla="*/ 8451 h 9990"/>
                <a:gd name="connsiteX47" fmla="*/ 9775 w 10000"/>
                <a:gd name="connsiteY47" fmla="*/ 8426 h 9990"/>
                <a:gd name="connsiteX48" fmla="*/ 10000 w 10000"/>
                <a:gd name="connsiteY48" fmla="*/ 8214 h 9990"/>
                <a:gd name="connsiteX49" fmla="*/ 9983 w 10000"/>
                <a:gd name="connsiteY49" fmla="*/ 7957 h 9990"/>
                <a:gd name="connsiteX50" fmla="*/ 9915 w 10000"/>
                <a:gd name="connsiteY50" fmla="*/ 7384 h 9990"/>
                <a:gd name="connsiteX51" fmla="*/ 9491 w 10000"/>
                <a:gd name="connsiteY51" fmla="*/ 7197 h 9990"/>
                <a:gd name="connsiteX52" fmla="*/ 9288 w 10000"/>
                <a:gd name="connsiteY52" fmla="*/ 6285 h 9990"/>
                <a:gd name="connsiteX53" fmla="*/ 9169 w 10000"/>
                <a:gd name="connsiteY53" fmla="*/ 6181 h 9990"/>
                <a:gd name="connsiteX54" fmla="*/ 9138 w 10000"/>
                <a:gd name="connsiteY54" fmla="*/ 5531 h 9990"/>
                <a:gd name="connsiteX55" fmla="*/ 8985 w 10000"/>
                <a:gd name="connsiteY55" fmla="*/ 5501 h 9990"/>
                <a:gd name="connsiteX56" fmla="*/ 8928 w 10000"/>
                <a:gd name="connsiteY56" fmla="*/ 5168 h 9990"/>
                <a:gd name="connsiteX57" fmla="*/ 8674 w 10000"/>
                <a:gd name="connsiteY57" fmla="*/ 5085 h 9990"/>
                <a:gd name="connsiteX58" fmla="*/ 8590 w 10000"/>
                <a:gd name="connsiteY58" fmla="*/ 4569 h 9990"/>
                <a:gd name="connsiteX59" fmla="*/ 8168 w 10000"/>
                <a:gd name="connsiteY59" fmla="*/ 4071 h 9990"/>
                <a:gd name="connsiteX60" fmla="*/ 7708 w 10000"/>
                <a:gd name="connsiteY60" fmla="*/ 3992 h 9990"/>
                <a:gd name="connsiteX61" fmla="*/ 7829 w 10000"/>
                <a:gd name="connsiteY61" fmla="*/ 3419 h 9990"/>
                <a:gd name="connsiteX62" fmla="*/ 7796 w 10000"/>
                <a:gd name="connsiteY62" fmla="*/ 3000 h 9990"/>
                <a:gd name="connsiteX63" fmla="*/ 8185 w 10000"/>
                <a:gd name="connsiteY63" fmla="*/ 3029 h 9990"/>
                <a:gd name="connsiteX64" fmla="*/ 8269 w 10000"/>
                <a:gd name="connsiteY64" fmla="*/ 3154 h 9990"/>
                <a:gd name="connsiteX65" fmla="*/ 8506 w 10000"/>
                <a:gd name="connsiteY65" fmla="*/ 2892 h 9990"/>
                <a:gd name="connsiteX66" fmla="*/ 8575 w 10000"/>
                <a:gd name="connsiteY66" fmla="*/ 1961 h 9990"/>
                <a:gd name="connsiteX67" fmla="*/ 8474 w 10000"/>
                <a:gd name="connsiteY67" fmla="*/ 1253 h 9990"/>
                <a:gd name="connsiteX68" fmla="*/ 8760 w 10000"/>
                <a:gd name="connsiteY68" fmla="*/ 680 h 9990"/>
                <a:gd name="connsiteX69" fmla="*/ 8312 w 10000"/>
                <a:gd name="connsiteY69" fmla="*/ 35 h 9990"/>
                <a:gd name="connsiteX0" fmla="*/ 8312 w 10000"/>
                <a:gd name="connsiteY0" fmla="*/ 35 h 10000"/>
                <a:gd name="connsiteX1" fmla="*/ 3767 w 10000"/>
                <a:gd name="connsiteY1" fmla="*/ 1508 h 10000"/>
                <a:gd name="connsiteX2" fmla="*/ 2597 w 10000"/>
                <a:gd name="connsiteY2" fmla="*/ 1819 h 10000"/>
                <a:gd name="connsiteX3" fmla="*/ 1875 w 10000"/>
                <a:gd name="connsiteY3" fmla="*/ 638 h 10000"/>
                <a:gd name="connsiteX4" fmla="*/ 1212 w 10000"/>
                <a:gd name="connsiteY4" fmla="*/ 1280 h 10000"/>
                <a:gd name="connsiteX5" fmla="*/ 508 w 10000"/>
                <a:gd name="connsiteY5" fmla="*/ 1309 h 10000"/>
                <a:gd name="connsiteX6" fmla="*/ 12 w 10000"/>
                <a:gd name="connsiteY6" fmla="*/ 2142 h 10000"/>
                <a:gd name="connsiteX7" fmla="*/ 151 w 10000"/>
                <a:gd name="connsiteY7" fmla="*/ 2322 h 10000"/>
                <a:gd name="connsiteX8" fmla="*/ 48 w 10000"/>
                <a:gd name="connsiteY8" fmla="*/ 2607 h 10000"/>
                <a:gd name="connsiteX9" fmla="*/ 625 w 10000"/>
                <a:gd name="connsiteY9" fmla="*/ 2690 h 10000"/>
                <a:gd name="connsiteX10" fmla="*/ 625 w 10000"/>
                <a:gd name="connsiteY10" fmla="*/ 2871 h 10000"/>
                <a:gd name="connsiteX11" fmla="*/ 605 w 10000"/>
                <a:gd name="connsiteY11" fmla="*/ 3290 h 10000"/>
                <a:gd name="connsiteX12" fmla="*/ 1216 w 10000"/>
                <a:gd name="connsiteY12" fmla="*/ 3443 h 10000"/>
                <a:gd name="connsiteX13" fmla="*/ 1216 w 10000"/>
                <a:gd name="connsiteY13" fmla="*/ 3793 h 10000"/>
                <a:gd name="connsiteX14" fmla="*/ 1539 w 10000"/>
                <a:gd name="connsiteY14" fmla="*/ 4048 h 10000"/>
                <a:gd name="connsiteX15" fmla="*/ 1437 w 10000"/>
                <a:gd name="connsiteY15" fmla="*/ 4435 h 10000"/>
                <a:gd name="connsiteX16" fmla="*/ 1891 w 10000"/>
                <a:gd name="connsiteY16" fmla="*/ 4778 h 10000"/>
                <a:gd name="connsiteX17" fmla="*/ 2167 w 10000"/>
                <a:gd name="connsiteY17" fmla="*/ 5402 h 10000"/>
                <a:gd name="connsiteX18" fmla="*/ 2419 w 10000"/>
                <a:gd name="connsiteY18" fmla="*/ 5644 h 10000"/>
                <a:gd name="connsiteX19" fmla="*/ 2318 w 10000"/>
                <a:gd name="connsiteY19" fmla="*/ 5852 h 10000"/>
                <a:gd name="connsiteX20" fmla="*/ 2454 w 10000"/>
                <a:gd name="connsiteY20" fmla="*/ 6084 h 10000"/>
                <a:gd name="connsiteX21" fmla="*/ 2434 w 10000"/>
                <a:gd name="connsiteY21" fmla="*/ 6417 h 10000"/>
                <a:gd name="connsiteX22" fmla="*/ 2696 w 10000"/>
                <a:gd name="connsiteY22" fmla="*/ 6451 h 10000"/>
                <a:gd name="connsiteX23" fmla="*/ 2980 w 10000"/>
                <a:gd name="connsiteY23" fmla="*/ 6819 h 10000"/>
                <a:gd name="connsiteX24" fmla="*/ 3050 w 10000"/>
                <a:gd name="connsiteY24" fmla="*/ 7391 h 10000"/>
                <a:gd name="connsiteX25" fmla="*/ 3114 w 10000"/>
                <a:gd name="connsiteY25" fmla="*/ 7602 h 10000"/>
                <a:gd name="connsiteX26" fmla="*/ 3471 w 10000"/>
                <a:gd name="connsiteY26" fmla="*/ 8090 h 10000"/>
                <a:gd name="connsiteX27" fmla="*/ 3471 w 10000"/>
                <a:gd name="connsiteY27" fmla="*/ 8459 h 10000"/>
                <a:gd name="connsiteX28" fmla="*/ 3997 w 10000"/>
                <a:gd name="connsiteY28" fmla="*/ 8857 h 10000"/>
                <a:gd name="connsiteX29" fmla="*/ 4285 w 10000"/>
                <a:gd name="connsiteY29" fmla="*/ 8434 h 10000"/>
                <a:gd name="connsiteX30" fmla="*/ 4643 w 10000"/>
                <a:gd name="connsiteY30" fmla="*/ 8753 h 10000"/>
                <a:gd name="connsiteX31" fmla="*/ 4928 w 10000"/>
                <a:gd name="connsiteY31" fmla="*/ 8276 h 10000"/>
                <a:gd name="connsiteX32" fmla="*/ 5251 w 10000"/>
                <a:gd name="connsiteY32" fmla="*/ 9033 h 10000"/>
                <a:gd name="connsiteX33" fmla="*/ 5709 w 10000"/>
                <a:gd name="connsiteY33" fmla="*/ 9454 h 10000"/>
                <a:gd name="connsiteX34" fmla="*/ 5759 w 10000"/>
                <a:gd name="connsiteY34" fmla="*/ 9825 h 10000"/>
                <a:gd name="connsiteX35" fmla="*/ 5946 w 10000"/>
                <a:gd name="connsiteY35" fmla="*/ 9873 h 10000"/>
                <a:gd name="connsiteX36" fmla="*/ 6216 w 10000"/>
                <a:gd name="connsiteY36" fmla="*/ 9529 h 10000"/>
                <a:gd name="connsiteX37" fmla="*/ 6558 w 10000"/>
                <a:gd name="connsiteY37" fmla="*/ 9740 h 10000"/>
                <a:gd name="connsiteX38" fmla="*/ 6675 w 10000"/>
                <a:gd name="connsiteY38" fmla="*/ 9558 h 10000"/>
                <a:gd name="connsiteX39" fmla="*/ 6797 w 10000"/>
                <a:gd name="connsiteY39" fmla="*/ 9529 h 10000"/>
                <a:gd name="connsiteX40" fmla="*/ 7029 w 10000"/>
                <a:gd name="connsiteY40" fmla="*/ 10000 h 10000"/>
                <a:gd name="connsiteX41" fmla="*/ 7251 w 10000"/>
                <a:gd name="connsiteY41" fmla="*/ 9607 h 10000"/>
                <a:gd name="connsiteX42" fmla="*/ 7521 w 10000"/>
                <a:gd name="connsiteY42" fmla="*/ 9633 h 10000"/>
                <a:gd name="connsiteX43" fmla="*/ 7727 w 10000"/>
                <a:gd name="connsiteY43" fmla="*/ 9423 h 10000"/>
                <a:gd name="connsiteX44" fmla="*/ 8015 w 10000"/>
                <a:gd name="connsiteY44" fmla="*/ 9633 h 10000"/>
                <a:gd name="connsiteX45" fmla="*/ 8389 w 10000"/>
                <a:gd name="connsiteY45" fmla="*/ 8983 h 10000"/>
                <a:gd name="connsiteX46" fmla="*/ 8521 w 10000"/>
                <a:gd name="connsiteY46" fmla="*/ 8983 h 10000"/>
                <a:gd name="connsiteX47" fmla="*/ 8760 w 10000"/>
                <a:gd name="connsiteY47" fmla="*/ 8459 h 10000"/>
                <a:gd name="connsiteX48" fmla="*/ 9775 w 10000"/>
                <a:gd name="connsiteY48" fmla="*/ 8434 h 10000"/>
                <a:gd name="connsiteX49" fmla="*/ 10000 w 10000"/>
                <a:gd name="connsiteY49" fmla="*/ 8222 h 10000"/>
                <a:gd name="connsiteX50" fmla="*/ 9983 w 10000"/>
                <a:gd name="connsiteY50" fmla="*/ 7965 h 10000"/>
                <a:gd name="connsiteX51" fmla="*/ 9915 w 10000"/>
                <a:gd name="connsiteY51" fmla="*/ 7391 h 10000"/>
                <a:gd name="connsiteX52" fmla="*/ 9491 w 10000"/>
                <a:gd name="connsiteY52" fmla="*/ 7204 h 10000"/>
                <a:gd name="connsiteX53" fmla="*/ 9288 w 10000"/>
                <a:gd name="connsiteY53" fmla="*/ 6291 h 10000"/>
                <a:gd name="connsiteX54" fmla="*/ 9169 w 10000"/>
                <a:gd name="connsiteY54" fmla="*/ 6187 h 10000"/>
                <a:gd name="connsiteX55" fmla="*/ 9138 w 10000"/>
                <a:gd name="connsiteY55" fmla="*/ 5537 h 10000"/>
                <a:gd name="connsiteX56" fmla="*/ 8985 w 10000"/>
                <a:gd name="connsiteY56" fmla="*/ 5507 h 10000"/>
                <a:gd name="connsiteX57" fmla="*/ 8928 w 10000"/>
                <a:gd name="connsiteY57" fmla="*/ 5173 h 10000"/>
                <a:gd name="connsiteX58" fmla="*/ 8674 w 10000"/>
                <a:gd name="connsiteY58" fmla="*/ 5090 h 10000"/>
                <a:gd name="connsiteX59" fmla="*/ 8590 w 10000"/>
                <a:gd name="connsiteY59" fmla="*/ 4574 h 10000"/>
                <a:gd name="connsiteX60" fmla="*/ 8168 w 10000"/>
                <a:gd name="connsiteY60" fmla="*/ 4075 h 10000"/>
                <a:gd name="connsiteX61" fmla="*/ 7708 w 10000"/>
                <a:gd name="connsiteY61" fmla="*/ 3996 h 10000"/>
                <a:gd name="connsiteX62" fmla="*/ 7829 w 10000"/>
                <a:gd name="connsiteY62" fmla="*/ 3422 h 10000"/>
                <a:gd name="connsiteX63" fmla="*/ 7796 w 10000"/>
                <a:gd name="connsiteY63" fmla="*/ 3003 h 10000"/>
                <a:gd name="connsiteX64" fmla="*/ 8185 w 10000"/>
                <a:gd name="connsiteY64" fmla="*/ 3032 h 10000"/>
                <a:gd name="connsiteX65" fmla="*/ 8269 w 10000"/>
                <a:gd name="connsiteY65" fmla="*/ 3157 h 10000"/>
                <a:gd name="connsiteX66" fmla="*/ 8506 w 10000"/>
                <a:gd name="connsiteY66" fmla="*/ 2895 h 10000"/>
                <a:gd name="connsiteX67" fmla="*/ 8575 w 10000"/>
                <a:gd name="connsiteY67" fmla="*/ 1963 h 10000"/>
                <a:gd name="connsiteX68" fmla="*/ 8474 w 10000"/>
                <a:gd name="connsiteY68" fmla="*/ 1254 h 10000"/>
                <a:gd name="connsiteX69" fmla="*/ 8760 w 10000"/>
                <a:gd name="connsiteY69" fmla="*/ 681 h 10000"/>
                <a:gd name="connsiteX70" fmla="*/ 8312 w 10000"/>
                <a:gd name="connsiteY70" fmla="*/ 35 h 10000"/>
                <a:gd name="connsiteX0" fmla="*/ 8312 w 10000"/>
                <a:gd name="connsiteY0" fmla="*/ 1628 h 11593"/>
                <a:gd name="connsiteX1" fmla="*/ 4634 w 10000"/>
                <a:gd name="connsiteY1" fmla="*/ 38 h 11593"/>
                <a:gd name="connsiteX2" fmla="*/ 2597 w 10000"/>
                <a:gd name="connsiteY2" fmla="*/ 3412 h 11593"/>
                <a:gd name="connsiteX3" fmla="*/ 1875 w 10000"/>
                <a:gd name="connsiteY3" fmla="*/ 2231 h 11593"/>
                <a:gd name="connsiteX4" fmla="*/ 1212 w 10000"/>
                <a:gd name="connsiteY4" fmla="*/ 2873 h 11593"/>
                <a:gd name="connsiteX5" fmla="*/ 508 w 10000"/>
                <a:gd name="connsiteY5" fmla="*/ 2902 h 11593"/>
                <a:gd name="connsiteX6" fmla="*/ 12 w 10000"/>
                <a:gd name="connsiteY6" fmla="*/ 3735 h 11593"/>
                <a:gd name="connsiteX7" fmla="*/ 151 w 10000"/>
                <a:gd name="connsiteY7" fmla="*/ 3915 h 11593"/>
                <a:gd name="connsiteX8" fmla="*/ 48 w 10000"/>
                <a:gd name="connsiteY8" fmla="*/ 4200 h 11593"/>
                <a:gd name="connsiteX9" fmla="*/ 625 w 10000"/>
                <a:gd name="connsiteY9" fmla="*/ 4283 h 11593"/>
                <a:gd name="connsiteX10" fmla="*/ 625 w 10000"/>
                <a:gd name="connsiteY10" fmla="*/ 4464 h 11593"/>
                <a:gd name="connsiteX11" fmla="*/ 605 w 10000"/>
                <a:gd name="connsiteY11" fmla="*/ 4883 h 11593"/>
                <a:gd name="connsiteX12" fmla="*/ 1216 w 10000"/>
                <a:gd name="connsiteY12" fmla="*/ 5036 h 11593"/>
                <a:gd name="connsiteX13" fmla="*/ 1216 w 10000"/>
                <a:gd name="connsiteY13" fmla="*/ 5386 h 11593"/>
                <a:gd name="connsiteX14" fmla="*/ 1539 w 10000"/>
                <a:gd name="connsiteY14" fmla="*/ 5641 h 11593"/>
                <a:gd name="connsiteX15" fmla="*/ 1437 w 10000"/>
                <a:gd name="connsiteY15" fmla="*/ 6028 h 11593"/>
                <a:gd name="connsiteX16" fmla="*/ 1891 w 10000"/>
                <a:gd name="connsiteY16" fmla="*/ 6371 h 11593"/>
                <a:gd name="connsiteX17" fmla="*/ 2167 w 10000"/>
                <a:gd name="connsiteY17" fmla="*/ 6995 h 11593"/>
                <a:gd name="connsiteX18" fmla="*/ 2419 w 10000"/>
                <a:gd name="connsiteY18" fmla="*/ 7237 h 11593"/>
                <a:gd name="connsiteX19" fmla="*/ 2318 w 10000"/>
                <a:gd name="connsiteY19" fmla="*/ 7445 h 11593"/>
                <a:gd name="connsiteX20" fmla="*/ 2454 w 10000"/>
                <a:gd name="connsiteY20" fmla="*/ 7677 h 11593"/>
                <a:gd name="connsiteX21" fmla="*/ 2434 w 10000"/>
                <a:gd name="connsiteY21" fmla="*/ 8010 h 11593"/>
                <a:gd name="connsiteX22" fmla="*/ 2696 w 10000"/>
                <a:gd name="connsiteY22" fmla="*/ 8044 h 11593"/>
                <a:gd name="connsiteX23" fmla="*/ 2980 w 10000"/>
                <a:gd name="connsiteY23" fmla="*/ 8412 h 11593"/>
                <a:gd name="connsiteX24" fmla="*/ 3050 w 10000"/>
                <a:gd name="connsiteY24" fmla="*/ 8984 h 11593"/>
                <a:gd name="connsiteX25" fmla="*/ 3114 w 10000"/>
                <a:gd name="connsiteY25" fmla="*/ 9195 h 11593"/>
                <a:gd name="connsiteX26" fmla="*/ 3471 w 10000"/>
                <a:gd name="connsiteY26" fmla="*/ 9683 h 11593"/>
                <a:gd name="connsiteX27" fmla="*/ 3471 w 10000"/>
                <a:gd name="connsiteY27" fmla="*/ 10052 h 11593"/>
                <a:gd name="connsiteX28" fmla="*/ 3997 w 10000"/>
                <a:gd name="connsiteY28" fmla="*/ 10450 h 11593"/>
                <a:gd name="connsiteX29" fmla="*/ 4285 w 10000"/>
                <a:gd name="connsiteY29" fmla="*/ 10027 h 11593"/>
                <a:gd name="connsiteX30" fmla="*/ 4643 w 10000"/>
                <a:gd name="connsiteY30" fmla="*/ 10346 h 11593"/>
                <a:gd name="connsiteX31" fmla="*/ 4928 w 10000"/>
                <a:gd name="connsiteY31" fmla="*/ 9869 h 11593"/>
                <a:gd name="connsiteX32" fmla="*/ 5251 w 10000"/>
                <a:gd name="connsiteY32" fmla="*/ 10626 h 11593"/>
                <a:gd name="connsiteX33" fmla="*/ 5709 w 10000"/>
                <a:gd name="connsiteY33" fmla="*/ 11047 h 11593"/>
                <a:gd name="connsiteX34" fmla="*/ 5759 w 10000"/>
                <a:gd name="connsiteY34" fmla="*/ 11418 h 11593"/>
                <a:gd name="connsiteX35" fmla="*/ 5946 w 10000"/>
                <a:gd name="connsiteY35" fmla="*/ 11466 h 11593"/>
                <a:gd name="connsiteX36" fmla="*/ 6216 w 10000"/>
                <a:gd name="connsiteY36" fmla="*/ 11122 h 11593"/>
                <a:gd name="connsiteX37" fmla="*/ 6558 w 10000"/>
                <a:gd name="connsiteY37" fmla="*/ 11333 h 11593"/>
                <a:gd name="connsiteX38" fmla="*/ 6675 w 10000"/>
                <a:gd name="connsiteY38" fmla="*/ 11151 h 11593"/>
                <a:gd name="connsiteX39" fmla="*/ 6797 w 10000"/>
                <a:gd name="connsiteY39" fmla="*/ 11122 h 11593"/>
                <a:gd name="connsiteX40" fmla="*/ 7029 w 10000"/>
                <a:gd name="connsiteY40" fmla="*/ 11593 h 11593"/>
                <a:gd name="connsiteX41" fmla="*/ 7251 w 10000"/>
                <a:gd name="connsiteY41" fmla="*/ 11200 h 11593"/>
                <a:gd name="connsiteX42" fmla="*/ 7521 w 10000"/>
                <a:gd name="connsiteY42" fmla="*/ 11226 h 11593"/>
                <a:gd name="connsiteX43" fmla="*/ 7727 w 10000"/>
                <a:gd name="connsiteY43" fmla="*/ 11016 h 11593"/>
                <a:gd name="connsiteX44" fmla="*/ 8015 w 10000"/>
                <a:gd name="connsiteY44" fmla="*/ 11226 h 11593"/>
                <a:gd name="connsiteX45" fmla="*/ 8389 w 10000"/>
                <a:gd name="connsiteY45" fmla="*/ 10576 h 11593"/>
                <a:gd name="connsiteX46" fmla="*/ 8521 w 10000"/>
                <a:gd name="connsiteY46" fmla="*/ 10576 h 11593"/>
                <a:gd name="connsiteX47" fmla="*/ 8760 w 10000"/>
                <a:gd name="connsiteY47" fmla="*/ 10052 h 11593"/>
                <a:gd name="connsiteX48" fmla="*/ 9775 w 10000"/>
                <a:gd name="connsiteY48" fmla="*/ 10027 h 11593"/>
                <a:gd name="connsiteX49" fmla="*/ 10000 w 10000"/>
                <a:gd name="connsiteY49" fmla="*/ 9815 h 11593"/>
                <a:gd name="connsiteX50" fmla="*/ 9983 w 10000"/>
                <a:gd name="connsiteY50" fmla="*/ 9558 h 11593"/>
                <a:gd name="connsiteX51" fmla="*/ 9915 w 10000"/>
                <a:gd name="connsiteY51" fmla="*/ 8984 h 11593"/>
                <a:gd name="connsiteX52" fmla="*/ 9491 w 10000"/>
                <a:gd name="connsiteY52" fmla="*/ 8797 h 11593"/>
                <a:gd name="connsiteX53" fmla="*/ 9288 w 10000"/>
                <a:gd name="connsiteY53" fmla="*/ 7884 h 11593"/>
                <a:gd name="connsiteX54" fmla="*/ 9169 w 10000"/>
                <a:gd name="connsiteY54" fmla="*/ 7780 h 11593"/>
                <a:gd name="connsiteX55" fmla="*/ 9138 w 10000"/>
                <a:gd name="connsiteY55" fmla="*/ 7130 h 11593"/>
                <a:gd name="connsiteX56" fmla="*/ 8985 w 10000"/>
                <a:gd name="connsiteY56" fmla="*/ 7100 h 11593"/>
                <a:gd name="connsiteX57" fmla="*/ 8928 w 10000"/>
                <a:gd name="connsiteY57" fmla="*/ 6766 h 11593"/>
                <a:gd name="connsiteX58" fmla="*/ 8674 w 10000"/>
                <a:gd name="connsiteY58" fmla="*/ 6683 h 11593"/>
                <a:gd name="connsiteX59" fmla="*/ 8590 w 10000"/>
                <a:gd name="connsiteY59" fmla="*/ 6167 h 11593"/>
                <a:gd name="connsiteX60" fmla="*/ 8168 w 10000"/>
                <a:gd name="connsiteY60" fmla="*/ 5668 h 11593"/>
                <a:gd name="connsiteX61" fmla="*/ 7708 w 10000"/>
                <a:gd name="connsiteY61" fmla="*/ 5589 h 11593"/>
                <a:gd name="connsiteX62" fmla="*/ 7829 w 10000"/>
                <a:gd name="connsiteY62" fmla="*/ 5015 h 11593"/>
                <a:gd name="connsiteX63" fmla="*/ 7796 w 10000"/>
                <a:gd name="connsiteY63" fmla="*/ 4596 h 11593"/>
                <a:gd name="connsiteX64" fmla="*/ 8185 w 10000"/>
                <a:gd name="connsiteY64" fmla="*/ 4625 h 11593"/>
                <a:gd name="connsiteX65" fmla="*/ 8269 w 10000"/>
                <a:gd name="connsiteY65" fmla="*/ 4750 h 11593"/>
                <a:gd name="connsiteX66" fmla="*/ 8506 w 10000"/>
                <a:gd name="connsiteY66" fmla="*/ 4488 h 11593"/>
                <a:gd name="connsiteX67" fmla="*/ 8575 w 10000"/>
                <a:gd name="connsiteY67" fmla="*/ 3556 h 11593"/>
                <a:gd name="connsiteX68" fmla="*/ 8474 w 10000"/>
                <a:gd name="connsiteY68" fmla="*/ 2847 h 11593"/>
                <a:gd name="connsiteX69" fmla="*/ 8760 w 10000"/>
                <a:gd name="connsiteY69" fmla="*/ 2274 h 11593"/>
                <a:gd name="connsiteX70" fmla="*/ 8312 w 10000"/>
                <a:gd name="connsiteY70" fmla="*/ 1628 h 11593"/>
                <a:gd name="connsiteX0" fmla="*/ 8312 w 10000"/>
                <a:gd name="connsiteY0" fmla="*/ 1628 h 11593"/>
                <a:gd name="connsiteX1" fmla="*/ 4634 w 10000"/>
                <a:gd name="connsiteY1" fmla="*/ 38 h 11593"/>
                <a:gd name="connsiteX2" fmla="*/ 2597 w 10000"/>
                <a:gd name="connsiteY2" fmla="*/ 3412 h 11593"/>
                <a:gd name="connsiteX3" fmla="*/ 1875 w 10000"/>
                <a:gd name="connsiteY3" fmla="*/ 2231 h 11593"/>
                <a:gd name="connsiteX4" fmla="*/ 1212 w 10000"/>
                <a:gd name="connsiteY4" fmla="*/ 2873 h 11593"/>
                <a:gd name="connsiteX5" fmla="*/ 508 w 10000"/>
                <a:gd name="connsiteY5" fmla="*/ 2902 h 11593"/>
                <a:gd name="connsiteX6" fmla="*/ 12 w 10000"/>
                <a:gd name="connsiteY6" fmla="*/ 3735 h 11593"/>
                <a:gd name="connsiteX7" fmla="*/ 151 w 10000"/>
                <a:gd name="connsiteY7" fmla="*/ 3915 h 11593"/>
                <a:gd name="connsiteX8" fmla="*/ 48 w 10000"/>
                <a:gd name="connsiteY8" fmla="*/ 4200 h 11593"/>
                <a:gd name="connsiteX9" fmla="*/ 625 w 10000"/>
                <a:gd name="connsiteY9" fmla="*/ 4283 h 11593"/>
                <a:gd name="connsiteX10" fmla="*/ 625 w 10000"/>
                <a:gd name="connsiteY10" fmla="*/ 4464 h 11593"/>
                <a:gd name="connsiteX11" fmla="*/ 605 w 10000"/>
                <a:gd name="connsiteY11" fmla="*/ 4883 h 11593"/>
                <a:gd name="connsiteX12" fmla="*/ 1216 w 10000"/>
                <a:gd name="connsiteY12" fmla="*/ 5036 h 11593"/>
                <a:gd name="connsiteX13" fmla="*/ 1216 w 10000"/>
                <a:gd name="connsiteY13" fmla="*/ 5386 h 11593"/>
                <a:gd name="connsiteX14" fmla="*/ 1539 w 10000"/>
                <a:gd name="connsiteY14" fmla="*/ 5641 h 11593"/>
                <a:gd name="connsiteX15" fmla="*/ 1437 w 10000"/>
                <a:gd name="connsiteY15" fmla="*/ 6028 h 11593"/>
                <a:gd name="connsiteX16" fmla="*/ 1891 w 10000"/>
                <a:gd name="connsiteY16" fmla="*/ 6371 h 11593"/>
                <a:gd name="connsiteX17" fmla="*/ 2167 w 10000"/>
                <a:gd name="connsiteY17" fmla="*/ 6995 h 11593"/>
                <a:gd name="connsiteX18" fmla="*/ 2419 w 10000"/>
                <a:gd name="connsiteY18" fmla="*/ 7237 h 11593"/>
                <a:gd name="connsiteX19" fmla="*/ 2318 w 10000"/>
                <a:gd name="connsiteY19" fmla="*/ 7445 h 11593"/>
                <a:gd name="connsiteX20" fmla="*/ 2454 w 10000"/>
                <a:gd name="connsiteY20" fmla="*/ 7677 h 11593"/>
                <a:gd name="connsiteX21" fmla="*/ 2434 w 10000"/>
                <a:gd name="connsiteY21" fmla="*/ 8010 h 11593"/>
                <a:gd name="connsiteX22" fmla="*/ 2696 w 10000"/>
                <a:gd name="connsiteY22" fmla="*/ 8044 h 11593"/>
                <a:gd name="connsiteX23" fmla="*/ 2980 w 10000"/>
                <a:gd name="connsiteY23" fmla="*/ 8412 h 11593"/>
                <a:gd name="connsiteX24" fmla="*/ 3050 w 10000"/>
                <a:gd name="connsiteY24" fmla="*/ 8984 h 11593"/>
                <a:gd name="connsiteX25" fmla="*/ 3114 w 10000"/>
                <a:gd name="connsiteY25" fmla="*/ 9195 h 11593"/>
                <a:gd name="connsiteX26" fmla="*/ 3471 w 10000"/>
                <a:gd name="connsiteY26" fmla="*/ 9683 h 11593"/>
                <a:gd name="connsiteX27" fmla="*/ 3471 w 10000"/>
                <a:gd name="connsiteY27" fmla="*/ 10052 h 11593"/>
                <a:gd name="connsiteX28" fmla="*/ 3997 w 10000"/>
                <a:gd name="connsiteY28" fmla="*/ 10450 h 11593"/>
                <a:gd name="connsiteX29" fmla="*/ 4285 w 10000"/>
                <a:gd name="connsiteY29" fmla="*/ 10027 h 11593"/>
                <a:gd name="connsiteX30" fmla="*/ 4643 w 10000"/>
                <a:gd name="connsiteY30" fmla="*/ 10346 h 11593"/>
                <a:gd name="connsiteX31" fmla="*/ 4928 w 10000"/>
                <a:gd name="connsiteY31" fmla="*/ 9869 h 11593"/>
                <a:gd name="connsiteX32" fmla="*/ 5251 w 10000"/>
                <a:gd name="connsiteY32" fmla="*/ 10626 h 11593"/>
                <a:gd name="connsiteX33" fmla="*/ 5709 w 10000"/>
                <a:gd name="connsiteY33" fmla="*/ 11047 h 11593"/>
                <a:gd name="connsiteX34" fmla="*/ 5759 w 10000"/>
                <a:gd name="connsiteY34" fmla="*/ 11418 h 11593"/>
                <a:gd name="connsiteX35" fmla="*/ 5946 w 10000"/>
                <a:gd name="connsiteY35" fmla="*/ 11466 h 11593"/>
                <a:gd name="connsiteX36" fmla="*/ 6216 w 10000"/>
                <a:gd name="connsiteY36" fmla="*/ 11122 h 11593"/>
                <a:gd name="connsiteX37" fmla="*/ 6558 w 10000"/>
                <a:gd name="connsiteY37" fmla="*/ 11333 h 11593"/>
                <a:gd name="connsiteX38" fmla="*/ 6675 w 10000"/>
                <a:gd name="connsiteY38" fmla="*/ 11151 h 11593"/>
                <a:gd name="connsiteX39" fmla="*/ 6797 w 10000"/>
                <a:gd name="connsiteY39" fmla="*/ 11122 h 11593"/>
                <a:gd name="connsiteX40" fmla="*/ 7029 w 10000"/>
                <a:gd name="connsiteY40" fmla="*/ 11593 h 11593"/>
                <a:gd name="connsiteX41" fmla="*/ 7251 w 10000"/>
                <a:gd name="connsiteY41" fmla="*/ 11200 h 11593"/>
                <a:gd name="connsiteX42" fmla="*/ 7521 w 10000"/>
                <a:gd name="connsiteY42" fmla="*/ 11226 h 11593"/>
                <a:gd name="connsiteX43" fmla="*/ 7727 w 10000"/>
                <a:gd name="connsiteY43" fmla="*/ 11016 h 11593"/>
                <a:gd name="connsiteX44" fmla="*/ 8015 w 10000"/>
                <a:gd name="connsiteY44" fmla="*/ 11226 h 11593"/>
                <a:gd name="connsiteX45" fmla="*/ 8389 w 10000"/>
                <a:gd name="connsiteY45" fmla="*/ 10576 h 11593"/>
                <a:gd name="connsiteX46" fmla="*/ 8521 w 10000"/>
                <a:gd name="connsiteY46" fmla="*/ 10576 h 11593"/>
                <a:gd name="connsiteX47" fmla="*/ 8760 w 10000"/>
                <a:gd name="connsiteY47" fmla="*/ 10052 h 11593"/>
                <a:gd name="connsiteX48" fmla="*/ 9775 w 10000"/>
                <a:gd name="connsiteY48" fmla="*/ 10027 h 11593"/>
                <a:gd name="connsiteX49" fmla="*/ 10000 w 10000"/>
                <a:gd name="connsiteY49" fmla="*/ 9815 h 11593"/>
                <a:gd name="connsiteX50" fmla="*/ 9983 w 10000"/>
                <a:gd name="connsiteY50" fmla="*/ 9558 h 11593"/>
                <a:gd name="connsiteX51" fmla="*/ 9915 w 10000"/>
                <a:gd name="connsiteY51" fmla="*/ 8984 h 11593"/>
                <a:gd name="connsiteX52" fmla="*/ 9491 w 10000"/>
                <a:gd name="connsiteY52" fmla="*/ 8797 h 11593"/>
                <a:gd name="connsiteX53" fmla="*/ 9288 w 10000"/>
                <a:gd name="connsiteY53" fmla="*/ 7884 h 11593"/>
                <a:gd name="connsiteX54" fmla="*/ 9169 w 10000"/>
                <a:gd name="connsiteY54" fmla="*/ 7780 h 11593"/>
                <a:gd name="connsiteX55" fmla="*/ 9138 w 10000"/>
                <a:gd name="connsiteY55" fmla="*/ 7130 h 11593"/>
                <a:gd name="connsiteX56" fmla="*/ 8985 w 10000"/>
                <a:gd name="connsiteY56" fmla="*/ 7100 h 11593"/>
                <a:gd name="connsiteX57" fmla="*/ 8928 w 10000"/>
                <a:gd name="connsiteY57" fmla="*/ 6766 h 11593"/>
                <a:gd name="connsiteX58" fmla="*/ 8674 w 10000"/>
                <a:gd name="connsiteY58" fmla="*/ 6683 h 11593"/>
                <a:gd name="connsiteX59" fmla="*/ 8590 w 10000"/>
                <a:gd name="connsiteY59" fmla="*/ 6167 h 11593"/>
                <a:gd name="connsiteX60" fmla="*/ 8168 w 10000"/>
                <a:gd name="connsiteY60" fmla="*/ 5668 h 11593"/>
                <a:gd name="connsiteX61" fmla="*/ 7708 w 10000"/>
                <a:gd name="connsiteY61" fmla="*/ 5589 h 11593"/>
                <a:gd name="connsiteX62" fmla="*/ 7829 w 10000"/>
                <a:gd name="connsiteY62" fmla="*/ 5015 h 11593"/>
                <a:gd name="connsiteX63" fmla="*/ 7796 w 10000"/>
                <a:gd name="connsiteY63" fmla="*/ 4596 h 11593"/>
                <a:gd name="connsiteX64" fmla="*/ 8185 w 10000"/>
                <a:gd name="connsiteY64" fmla="*/ 4625 h 11593"/>
                <a:gd name="connsiteX65" fmla="*/ 8269 w 10000"/>
                <a:gd name="connsiteY65" fmla="*/ 4750 h 11593"/>
                <a:gd name="connsiteX66" fmla="*/ 8506 w 10000"/>
                <a:gd name="connsiteY66" fmla="*/ 4488 h 11593"/>
                <a:gd name="connsiteX67" fmla="*/ 8575 w 10000"/>
                <a:gd name="connsiteY67" fmla="*/ 3556 h 11593"/>
                <a:gd name="connsiteX68" fmla="*/ 8474 w 10000"/>
                <a:gd name="connsiteY68" fmla="*/ 2847 h 11593"/>
                <a:gd name="connsiteX69" fmla="*/ 8760 w 10000"/>
                <a:gd name="connsiteY69" fmla="*/ 2274 h 11593"/>
                <a:gd name="connsiteX70" fmla="*/ 8312 w 10000"/>
                <a:gd name="connsiteY70" fmla="*/ 1628 h 11593"/>
                <a:gd name="connsiteX0" fmla="*/ 8312 w 10000"/>
                <a:gd name="connsiteY0" fmla="*/ 1628 h 11593"/>
                <a:gd name="connsiteX1" fmla="*/ 4634 w 10000"/>
                <a:gd name="connsiteY1" fmla="*/ 38 h 11593"/>
                <a:gd name="connsiteX2" fmla="*/ 2597 w 10000"/>
                <a:gd name="connsiteY2" fmla="*/ 3412 h 11593"/>
                <a:gd name="connsiteX3" fmla="*/ 1875 w 10000"/>
                <a:gd name="connsiteY3" fmla="*/ 2231 h 11593"/>
                <a:gd name="connsiteX4" fmla="*/ 1212 w 10000"/>
                <a:gd name="connsiteY4" fmla="*/ 2873 h 11593"/>
                <a:gd name="connsiteX5" fmla="*/ 508 w 10000"/>
                <a:gd name="connsiteY5" fmla="*/ 2902 h 11593"/>
                <a:gd name="connsiteX6" fmla="*/ 12 w 10000"/>
                <a:gd name="connsiteY6" fmla="*/ 3735 h 11593"/>
                <a:gd name="connsiteX7" fmla="*/ 151 w 10000"/>
                <a:gd name="connsiteY7" fmla="*/ 3915 h 11593"/>
                <a:gd name="connsiteX8" fmla="*/ 48 w 10000"/>
                <a:gd name="connsiteY8" fmla="*/ 4200 h 11593"/>
                <a:gd name="connsiteX9" fmla="*/ 625 w 10000"/>
                <a:gd name="connsiteY9" fmla="*/ 4283 h 11593"/>
                <a:gd name="connsiteX10" fmla="*/ 625 w 10000"/>
                <a:gd name="connsiteY10" fmla="*/ 4464 h 11593"/>
                <a:gd name="connsiteX11" fmla="*/ 605 w 10000"/>
                <a:gd name="connsiteY11" fmla="*/ 4883 h 11593"/>
                <a:gd name="connsiteX12" fmla="*/ 1216 w 10000"/>
                <a:gd name="connsiteY12" fmla="*/ 5036 h 11593"/>
                <a:gd name="connsiteX13" fmla="*/ 1216 w 10000"/>
                <a:gd name="connsiteY13" fmla="*/ 5386 h 11593"/>
                <a:gd name="connsiteX14" fmla="*/ 1539 w 10000"/>
                <a:gd name="connsiteY14" fmla="*/ 5641 h 11593"/>
                <a:gd name="connsiteX15" fmla="*/ 1437 w 10000"/>
                <a:gd name="connsiteY15" fmla="*/ 6028 h 11593"/>
                <a:gd name="connsiteX16" fmla="*/ 1891 w 10000"/>
                <a:gd name="connsiteY16" fmla="*/ 6371 h 11593"/>
                <a:gd name="connsiteX17" fmla="*/ 2167 w 10000"/>
                <a:gd name="connsiteY17" fmla="*/ 6995 h 11593"/>
                <a:gd name="connsiteX18" fmla="*/ 2419 w 10000"/>
                <a:gd name="connsiteY18" fmla="*/ 7237 h 11593"/>
                <a:gd name="connsiteX19" fmla="*/ 2318 w 10000"/>
                <a:gd name="connsiteY19" fmla="*/ 7445 h 11593"/>
                <a:gd name="connsiteX20" fmla="*/ 2454 w 10000"/>
                <a:gd name="connsiteY20" fmla="*/ 7677 h 11593"/>
                <a:gd name="connsiteX21" fmla="*/ 2434 w 10000"/>
                <a:gd name="connsiteY21" fmla="*/ 8010 h 11593"/>
                <a:gd name="connsiteX22" fmla="*/ 2696 w 10000"/>
                <a:gd name="connsiteY22" fmla="*/ 8044 h 11593"/>
                <a:gd name="connsiteX23" fmla="*/ 2980 w 10000"/>
                <a:gd name="connsiteY23" fmla="*/ 8412 h 11593"/>
                <a:gd name="connsiteX24" fmla="*/ 3050 w 10000"/>
                <a:gd name="connsiteY24" fmla="*/ 8984 h 11593"/>
                <a:gd name="connsiteX25" fmla="*/ 3114 w 10000"/>
                <a:gd name="connsiteY25" fmla="*/ 9195 h 11593"/>
                <a:gd name="connsiteX26" fmla="*/ 3471 w 10000"/>
                <a:gd name="connsiteY26" fmla="*/ 9683 h 11593"/>
                <a:gd name="connsiteX27" fmla="*/ 3471 w 10000"/>
                <a:gd name="connsiteY27" fmla="*/ 10052 h 11593"/>
                <a:gd name="connsiteX28" fmla="*/ 3997 w 10000"/>
                <a:gd name="connsiteY28" fmla="*/ 10450 h 11593"/>
                <a:gd name="connsiteX29" fmla="*/ 4285 w 10000"/>
                <a:gd name="connsiteY29" fmla="*/ 10027 h 11593"/>
                <a:gd name="connsiteX30" fmla="*/ 4643 w 10000"/>
                <a:gd name="connsiteY30" fmla="*/ 10346 h 11593"/>
                <a:gd name="connsiteX31" fmla="*/ 4928 w 10000"/>
                <a:gd name="connsiteY31" fmla="*/ 9869 h 11593"/>
                <a:gd name="connsiteX32" fmla="*/ 5251 w 10000"/>
                <a:gd name="connsiteY32" fmla="*/ 10626 h 11593"/>
                <a:gd name="connsiteX33" fmla="*/ 5709 w 10000"/>
                <a:gd name="connsiteY33" fmla="*/ 11047 h 11593"/>
                <a:gd name="connsiteX34" fmla="*/ 5759 w 10000"/>
                <a:gd name="connsiteY34" fmla="*/ 11418 h 11593"/>
                <a:gd name="connsiteX35" fmla="*/ 5946 w 10000"/>
                <a:gd name="connsiteY35" fmla="*/ 11466 h 11593"/>
                <a:gd name="connsiteX36" fmla="*/ 6216 w 10000"/>
                <a:gd name="connsiteY36" fmla="*/ 11122 h 11593"/>
                <a:gd name="connsiteX37" fmla="*/ 6558 w 10000"/>
                <a:gd name="connsiteY37" fmla="*/ 11333 h 11593"/>
                <a:gd name="connsiteX38" fmla="*/ 6675 w 10000"/>
                <a:gd name="connsiteY38" fmla="*/ 11151 h 11593"/>
                <a:gd name="connsiteX39" fmla="*/ 6797 w 10000"/>
                <a:gd name="connsiteY39" fmla="*/ 11122 h 11593"/>
                <a:gd name="connsiteX40" fmla="*/ 7029 w 10000"/>
                <a:gd name="connsiteY40" fmla="*/ 11593 h 11593"/>
                <a:gd name="connsiteX41" fmla="*/ 7251 w 10000"/>
                <a:gd name="connsiteY41" fmla="*/ 11200 h 11593"/>
                <a:gd name="connsiteX42" fmla="*/ 7521 w 10000"/>
                <a:gd name="connsiteY42" fmla="*/ 11226 h 11593"/>
                <a:gd name="connsiteX43" fmla="*/ 7727 w 10000"/>
                <a:gd name="connsiteY43" fmla="*/ 11016 h 11593"/>
                <a:gd name="connsiteX44" fmla="*/ 8015 w 10000"/>
                <a:gd name="connsiteY44" fmla="*/ 11226 h 11593"/>
                <a:gd name="connsiteX45" fmla="*/ 8389 w 10000"/>
                <a:gd name="connsiteY45" fmla="*/ 10576 h 11593"/>
                <a:gd name="connsiteX46" fmla="*/ 8521 w 10000"/>
                <a:gd name="connsiteY46" fmla="*/ 10576 h 11593"/>
                <a:gd name="connsiteX47" fmla="*/ 8760 w 10000"/>
                <a:gd name="connsiteY47" fmla="*/ 10052 h 11593"/>
                <a:gd name="connsiteX48" fmla="*/ 9775 w 10000"/>
                <a:gd name="connsiteY48" fmla="*/ 10027 h 11593"/>
                <a:gd name="connsiteX49" fmla="*/ 10000 w 10000"/>
                <a:gd name="connsiteY49" fmla="*/ 9815 h 11593"/>
                <a:gd name="connsiteX50" fmla="*/ 9983 w 10000"/>
                <a:gd name="connsiteY50" fmla="*/ 9558 h 11593"/>
                <a:gd name="connsiteX51" fmla="*/ 9915 w 10000"/>
                <a:gd name="connsiteY51" fmla="*/ 8984 h 11593"/>
                <a:gd name="connsiteX52" fmla="*/ 9491 w 10000"/>
                <a:gd name="connsiteY52" fmla="*/ 8797 h 11593"/>
                <a:gd name="connsiteX53" fmla="*/ 9288 w 10000"/>
                <a:gd name="connsiteY53" fmla="*/ 7884 h 11593"/>
                <a:gd name="connsiteX54" fmla="*/ 9169 w 10000"/>
                <a:gd name="connsiteY54" fmla="*/ 7780 h 11593"/>
                <a:gd name="connsiteX55" fmla="*/ 9138 w 10000"/>
                <a:gd name="connsiteY55" fmla="*/ 7130 h 11593"/>
                <a:gd name="connsiteX56" fmla="*/ 8985 w 10000"/>
                <a:gd name="connsiteY56" fmla="*/ 7100 h 11593"/>
                <a:gd name="connsiteX57" fmla="*/ 8928 w 10000"/>
                <a:gd name="connsiteY57" fmla="*/ 6766 h 11593"/>
                <a:gd name="connsiteX58" fmla="*/ 8674 w 10000"/>
                <a:gd name="connsiteY58" fmla="*/ 6683 h 11593"/>
                <a:gd name="connsiteX59" fmla="*/ 8590 w 10000"/>
                <a:gd name="connsiteY59" fmla="*/ 6167 h 11593"/>
                <a:gd name="connsiteX60" fmla="*/ 8168 w 10000"/>
                <a:gd name="connsiteY60" fmla="*/ 5668 h 11593"/>
                <a:gd name="connsiteX61" fmla="*/ 7708 w 10000"/>
                <a:gd name="connsiteY61" fmla="*/ 5589 h 11593"/>
                <a:gd name="connsiteX62" fmla="*/ 7829 w 10000"/>
                <a:gd name="connsiteY62" fmla="*/ 5015 h 11593"/>
                <a:gd name="connsiteX63" fmla="*/ 7796 w 10000"/>
                <a:gd name="connsiteY63" fmla="*/ 4596 h 11593"/>
                <a:gd name="connsiteX64" fmla="*/ 8185 w 10000"/>
                <a:gd name="connsiteY64" fmla="*/ 4625 h 11593"/>
                <a:gd name="connsiteX65" fmla="*/ 8269 w 10000"/>
                <a:gd name="connsiteY65" fmla="*/ 4750 h 11593"/>
                <a:gd name="connsiteX66" fmla="*/ 8506 w 10000"/>
                <a:gd name="connsiteY66" fmla="*/ 4488 h 11593"/>
                <a:gd name="connsiteX67" fmla="*/ 8575 w 10000"/>
                <a:gd name="connsiteY67" fmla="*/ 3556 h 11593"/>
                <a:gd name="connsiteX68" fmla="*/ 8474 w 10000"/>
                <a:gd name="connsiteY68" fmla="*/ 2847 h 11593"/>
                <a:gd name="connsiteX69" fmla="*/ 8760 w 10000"/>
                <a:gd name="connsiteY69" fmla="*/ 2274 h 11593"/>
                <a:gd name="connsiteX70" fmla="*/ 8312 w 10000"/>
                <a:gd name="connsiteY70" fmla="*/ 1628 h 11593"/>
                <a:gd name="connsiteX0" fmla="*/ 8312 w 10000"/>
                <a:gd name="connsiteY0" fmla="*/ 21 h 9986"/>
                <a:gd name="connsiteX1" fmla="*/ 3551 w 10000"/>
                <a:gd name="connsiteY1" fmla="*/ 1494 h 9986"/>
                <a:gd name="connsiteX2" fmla="*/ 2597 w 10000"/>
                <a:gd name="connsiteY2" fmla="*/ 1805 h 9986"/>
                <a:gd name="connsiteX3" fmla="*/ 1875 w 10000"/>
                <a:gd name="connsiteY3" fmla="*/ 624 h 9986"/>
                <a:gd name="connsiteX4" fmla="*/ 1212 w 10000"/>
                <a:gd name="connsiteY4" fmla="*/ 1266 h 9986"/>
                <a:gd name="connsiteX5" fmla="*/ 508 w 10000"/>
                <a:gd name="connsiteY5" fmla="*/ 1295 h 9986"/>
                <a:gd name="connsiteX6" fmla="*/ 12 w 10000"/>
                <a:gd name="connsiteY6" fmla="*/ 2128 h 9986"/>
                <a:gd name="connsiteX7" fmla="*/ 151 w 10000"/>
                <a:gd name="connsiteY7" fmla="*/ 2308 h 9986"/>
                <a:gd name="connsiteX8" fmla="*/ 48 w 10000"/>
                <a:gd name="connsiteY8" fmla="*/ 2593 h 9986"/>
                <a:gd name="connsiteX9" fmla="*/ 625 w 10000"/>
                <a:gd name="connsiteY9" fmla="*/ 2676 h 9986"/>
                <a:gd name="connsiteX10" fmla="*/ 625 w 10000"/>
                <a:gd name="connsiteY10" fmla="*/ 2857 h 9986"/>
                <a:gd name="connsiteX11" fmla="*/ 605 w 10000"/>
                <a:gd name="connsiteY11" fmla="*/ 3276 h 9986"/>
                <a:gd name="connsiteX12" fmla="*/ 1216 w 10000"/>
                <a:gd name="connsiteY12" fmla="*/ 3429 h 9986"/>
                <a:gd name="connsiteX13" fmla="*/ 1216 w 10000"/>
                <a:gd name="connsiteY13" fmla="*/ 3779 h 9986"/>
                <a:gd name="connsiteX14" fmla="*/ 1539 w 10000"/>
                <a:gd name="connsiteY14" fmla="*/ 4034 h 9986"/>
                <a:gd name="connsiteX15" fmla="*/ 1437 w 10000"/>
                <a:gd name="connsiteY15" fmla="*/ 4421 h 9986"/>
                <a:gd name="connsiteX16" fmla="*/ 1891 w 10000"/>
                <a:gd name="connsiteY16" fmla="*/ 4764 h 9986"/>
                <a:gd name="connsiteX17" fmla="*/ 2167 w 10000"/>
                <a:gd name="connsiteY17" fmla="*/ 5388 h 9986"/>
                <a:gd name="connsiteX18" fmla="*/ 2419 w 10000"/>
                <a:gd name="connsiteY18" fmla="*/ 5630 h 9986"/>
                <a:gd name="connsiteX19" fmla="*/ 2318 w 10000"/>
                <a:gd name="connsiteY19" fmla="*/ 5838 h 9986"/>
                <a:gd name="connsiteX20" fmla="*/ 2454 w 10000"/>
                <a:gd name="connsiteY20" fmla="*/ 6070 h 9986"/>
                <a:gd name="connsiteX21" fmla="*/ 2434 w 10000"/>
                <a:gd name="connsiteY21" fmla="*/ 6403 h 9986"/>
                <a:gd name="connsiteX22" fmla="*/ 2696 w 10000"/>
                <a:gd name="connsiteY22" fmla="*/ 6437 h 9986"/>
                <a:gd name="connsiteX23" fmla="*/ 2980 w 10000"/>
                <a:gd name="connsiteY23" fmla="*/ 6805 h 9986"/>
                <a:gd name="connsiteX24" fmla="*/ 3050 w 10000"/>
                <a:gd name="connsiteY24" fmla="*/ 7377 h 9986"/>
                <a:gd name="connsiteX25" fmla="*/ 3114 w 10000"/>
                <a:gd name="connsiteY25" fmla="*/ 7588 h 9986"/>
                <a:gd name="connsiteX26" fmla="*/ 3471 w 10000"/>
                <a:gd name="connsiteY26" fmla="*/ 8076 h 9986"/>
                <a:gd name="connsiteX27" fmla="*/ 3471 w 10000"/>
                <a:gd name="connsiteY27" fmla="*/ 8445 h 9986"/>
                <a:gd name="connsiteX28" fmla="*/ 3997 w 10000"/>
                <a:gd name="connsiteY28" fmla="*/ 8843 h 9986"/>
                <a:gd name="connsiteX29" fmla="*/ 4285 w 10000"/>
                <a:gd name="connsiteY29" fmla="*/ 8420 h 9986"/>
                <a:gd name="connsiteX30" fmla="*/ 4643 w 10000"/>
                <a:gd name="connsiteY30" fmla="*/ 8739 h 9986"/>
                <a:gd name="connsiteX31" fmla="*/ 4928 w 10000"/>
                <a:gd name="connsiteY31" fmla="*/ 8262 h 9986"/>
                <a:gd name="connsiteX32" fmla="*/ 5251 w 10000"/>
                <a:gd name="connsiteY32" fmla="*/ 9019 h 9986"/>
                <a:gd name="connsiteX33" fmla="*/ 5709 w 10000"/>
                <a:gd name="connsiteY33" fmla="*/ 9440 h 9986"/>
                <a:gd name="connsiteX34" fmla="*/ 5759 w 10000"/>
                <a:gd name="connsiteY34" fmla="*/ 9811 h 9986"/>
                <a:gd name="connsiteX35" fmla="*/ 5946 w 10000"/>
                <a:gd name="connsiteY35" fmla="*/ 9859 h 9986"/>
                <a:gd name="connsiteX36" fmla="*/ 6216 w 10000"/>
                <a:gd name="connsiteY36" fmla="*/ 9515 h 9986"/>
                <a:gd name="connsiteX37" fmla="*/ 6558 w 10000"/>
                <a:gd name="connsiteY37" fmla="*/ 9726 h 9986"/>
                <a:gd name="connsiteX38" fmla="*/ 6675 w 10000"/>
                <a:gd name="connsiteY38" fmla="*/ 9544 h 9986"/>
                <a:gd name="connsiteX39" fmla="*/ 6797 w 10000"/>
                <a:gd name="connsiteY39" fmla="*/ 9515 h 9986"/>
                <a:gd name="connsiteX40" fmla="*/ 7029 w 10000"/>
                <a:gd name="connsiteY40" fmla="*/ 9986 h 9986"/>
                <a:gd name="connsiteX41" fmla="*/ 7251 w 10000"/>
                <a:gd name="connsiteY41" fmla="*/ 9593 h 9986"/>
                <a:gd name="connsiteX42" fmla="*/ 7521 w 10000"/>
                <a:gd name="connsiteY42" fmla="*/ 9619 h 9986"/>
                <a:gd name="connsiteX43" fmla="*/ 7727 w 10000"/>
                <a:gd name="connsiteY43" fmla="*/ 9409 h 9986"/>
                <a:gd name="connsiteX44" fmla="*/ 8015 w 10000"/>
                <a:gd name="connsiteY44" fmla="*/ 9619 h 9986"/>
                <a:gd name="connsiteX45" fmla="*/ 8389 w 10000"/>
                <a:gd name="connsiteY45" fmla="*/ 8969 h 9986"/>
                <a:gd name="connsiteX46" fmla="*/ 8521 w 10000"/>
                <a:gd name="connsiteY46" fmla="*/ 8969 h 9986"/>
                <a:gd name="connsiteX47" fmla="*/ 8760 w 10000"/>
                <a:gd name="connsiteY47" fmla="*/ 8445 h 9986"/>
                <a:gd name="connsiteX48" fmla="*/ 9775 w 10000"/>
                <a:gd name="connsiteY48" fmla="*/ 8420 h 9986"/>
                <a:gd name="connsiteX49" fmla="*/ 10000 w 10000"/>
                <a:gd name="connsiteY49" fmla="*/ 8208 h 9986"/>
                <a:gd name="connsiteX50" fmla="*/ 9983 w 10000"/>
                <a:gd name="connsiteY50" fmla="*/ 7951 h 9986"/>
                <a:gd name="connsiteX51" fmla="*/ 9915 w 10000"/>
                <a:gd name="connsiteY51" fmla="*/ 7377 h 9986"/>
                <a:gd name="connsiteX52" fmla="*/ 9491 w 10000"/>
                <a:gd name="connsiteY52" fmla="*/ 7190 h 9986"/>
                <a:gd name="connsiteX53" fmla="*/ 9288 w 10000"/>
                <a:gd name="connsiteY53" fmla="*/ 6277 h 9986"/>
                <a:gd name="connsiteX54" fmla="*/ 9169 w 10000"/>
                <a:gd name="connsiteY54" fmla="*/ 6173 h 9986"/>
                <a:gd name="connsiteX55" fmla="*/ 9138 w 10000"/>
                <a:gd name="connsiteY55" fmla="*/ 5523 h 9986"/>
                <a:gd name="connsiteX56" fmla="*/ 8985 w 10000"/>
                <a:gd name="connsiteY56" fmla="*/ 5493 h 9986"/>
                <a:gd name="connsiteX57" fmla="*/ 8928 w 10000"/>
                <a:gd name="connsiteY57" fmla="*/ 5159 h 9986"/>
                <a:gd name="connsiteX58" fmla="*/ 8674 w 10000"/>
                <a:gd name="connsiteY58" fmla="*/ 5076 h 9986"/>
                <a:gd name="connsiteX59" fmla="*/ 8590 w 10000"/>
                <a:gd name="connsiteY59" fmla="*/ 4560 h 9986"/>
                <a:gd name="connsiteX60" fmla="*/ 8168 w 10000"/>
                <a:gd name="connsiteY60" fmla="*/ 4061 h 9986"/>
                <a:gd name="connsiteX61" fmla="*/ 7708 w 10000"/>
                <a:gd name="connsiteY61" fmla="*/ 3982 h 9986"/>
                <a:gd name="connsiteX62" fmla="*/ 7829 w 10000"/>
                <a:gd name="connsiteY62" fmla="*/ 3408 h 9986"/>
                <a:gd name="connsiteX63" fmla="*/ 7796 w 10000"/>
                <a:gd name="connsiteY63" fmla="*/ 2989 h 9986"/>
                <a:gd name="connsiteX64" fmla="*/ 8185 w 10000"/>
                <a:gd name="connsiteY64" fmla="*/ 3018 h 9986"/>
                <a:gd name="connsiteX65" fmla="*/ 8269 w 10000"/>
                <a:gd name="connsiteY65" fmla="*/ 3143 h 9986"/>
                <a:gd name="connsiteX66" fmla="*/ 8506 w 10000"/>
                <a:gd name="connsiteY66" fmla="*/ 2881 h 9986"/>
                <a:gd name="connsiteX67" fmla="*/ 8575 w 10000"/>
                <a:gd name="connsiteY67" fmla="*/ 1949 h 9986"/>
                <a:gd name="connsiteX68" fmla="*/ 8474 w 10000"/>
                <a:gd name="connsiteY68" fmla="*/ 1240 h 9986"/>
                <a:gd name="connsiteX69" fmla="*/ 8760 w 10000"/>
                <a:gd name="connsiteY69" fmla="*/ 667 h 9986"/>
                <a:gd name="connsiteX70" fmla="*/ 8312 w 10000"/>
                <a:gd name="connsiteY70" fmla="*/ 21 h 9986"/>
                <a:gd name="connsiteX0" fmla="*/ 8312 w 10000"/>
                <a:gd name="connsiteY0" fmla="*/ 21 h 10000"/>
                <a:gd name="connsiteX1" fmla="*/ 5284 w 10000"/>
                <a:gd name="connsiteY1" fmla="*/ 1113 h 10000"/>
                <a:gd name="connsiteX2" fmla="*/ 3551 w 10000"/>
                <a:gd name="connsiteY2" fmla="*/ 1496 h 10000"/>
                <a:gd name="connsiteX3" fmla="*/ 2597 w 10000"/>
                <a:gd name="connsiteY3" fmla="*/ 1808 h 10000"/>
                <a:gd name="connsiteX4" fmla="*/ 1875 w 10000"/>
                <a:gd name="connsiteY4" fmla="*/ 625 h 10000"/>
                <a:gd name="connsiteX5" fmla="*/ 1212 w 10000"/>
                <a:gd name="connsiteY5" fmla="*/ 1268 h 10000"/>
                <a:gd name="connsiteX6" fmla="*/ 508 w 10000"/>
                <a:gd name="connsiteY6" fmla="*/ 1297 h 10000"/>
                <a:gd name="connsiteX7" fmla="*/ 12 w 10000"/>
                <a:gd name="connsiteY7" fmla="*/ 2131 h 10000"/>
                <a:gd name="connsiteX8" fmla="*/ 151 w 10000"/>
                <a:gd name="connsiteY8" fmla="*/ 2311 h 10000"/>
                <a:gd name="connsiteX9" fmla="*/ 48 w 10000"/>
                <a:gd name="connsiteY9" fmla="*/ 2597 h 10000"/>
                <a:gd name="connsiteX10" fmla="*/ 625 w 10000"/>
                <a:gd name="connsiteY10" fmla="*/ 2680 h 10000"/>
                <a:gd name="connsiteX11" fmla="*/ 625 w 10000"/>
                <a:gd name="connsiteY11" fmla="*/ 2861 h 10000"/>
                <a:gd name="connsiteX12" fmla="*/ 605 w 10000"/>
                <a:gd name="connsiteY12" fmla="*/ 3281 h 10000"/>
                <a:gd name="connsiteX13" fmla="*/ 1216 w 10000"/>
                <a:gd name="connsiteY13" fmla="*/ 3434 h 10000"/>
                <a:gd name="connsiteX14" fmla="*/ 1216 w 10000"/>
                <a:gd name="connsiteY14" fmla="*/ 3784 h 10000"/>
                <a:gd name="connsiteX15" fmla="*/ 1539 w 10000"/>
                <a:gd name="connsiteY15" fmla="*/ 4040 h 10000"/>
                <a:gd name="connsiteX16" fmla="*/ 1437 w 10000"/>
                <a:gd name="connsiteY16" fmla="*/ 4427 h 10000"/>
                <a:gd name="connsiteX17" fmla="*/ 1891 w 10000"/>
                <a:gd name="connsiteY17" fmla="*/ 4771 h 10000"/>
                <a:gd name="connsiteX18" fmla="*/ 2167 w 10000"/>
                <a:gd name="connsiteY18" fmla="*/ 5396 h 10000"/>
                <a:gd name="connsiteX19" fmla="*/ 2419 w 10000"/>
                <a:gd name="connsiteY19" fmla="*/ 5638 h 10000"/>
                <a:gd name="connsiteX20" fmla="*/ 2318 w 10000"/>
                <a:gd name="connsiteY20" fmla="*/ 5846 h 10000"/>
                <a:gd name="connsiteX21" fmla="*/ 2454 w 10000"/>
                <a:gd name="connsiteY21" fmla="*/ 6079 h 10000"/>
                <a:gd name="connsiteX22" fmla="*/ 2434 w 10000"/>
                <a:gd name="connsiteY22" fmla="*/ 6412 h 10000"/>
                <a:gd name="connsiteX23" fmla="*/ 2696 w 10000"/>
                <a:gd name="connsiteY23" fmla="*/ 6446 h 10000"/>
                <a:gd name="connsiteX24" fmla="*/ 2980 w 10000"/>
                <a:gd name="connsiteY24" fmla="*/ 6815 h 10000"/>
                <a:gd name="connsiteX25" fmla="*/ 3050 w 10000"/>
                <a:gd name="connsiteY25" fmla="*/ 7387 h 10000"/>
                <a:gd name="connsiteX26" fmla="*/ 3114 w 10000"/>
                <a:gd name="connsiteY26" fmla="*/ 7599 h 10000"/>
                <a:gd name="connsiteX27" fmla="*/ 3471 w 10000"/>
                <a:gd name="connsiteY27" fmla="*/ 8087 h 10000"/>
                <a:gd name="connsiteX28" fmla="*/ 3471 w 10000"/>
                <a:gd name="connsiteY28" fmla="*/ 8457 h 10000"/>
                <a:gd name="connsiteX29" fmla="*/ 3997 w 10000"/>
                <a:gd name="connsiteY29" fmla="*/ 8855 h 10000"/>
                <a:gd name="connsiteX30" fmla="*/ 4285 w 10000"/>
                <a:gd name="connsiteY30" fmla="*/ 8432 h 10000"/>
                <a:gd name="connsiteX31" fmla="*/ 4643 w 10000"/>
                <a:gd name="connsiteY31" fmla="*/ 8751 h 10000"/>
                <a:gd name="connsiteX32" fmla="*/ 4928 w 10000"/>
                <a:gd name="connsiteY32" fmla="*/ 8274 h 10000"/>
                <a:gd name="connsiteX33" fmla="*/ 5251 w 10000"/>
                <a:gd name="connsiteY33" fmla="*/ 9032 h 10000"/>
                <a:gd name="connsiteX34" fmla="*/ 5709 w 10000"/>
                <a:gd name="connsiteY34" fmla="*/ 9453 h 10000"/>
                <a:gd name="connsiteX35" fmla="*/ 5759 w 10000"/>
                <a:gd name="connsiteY35" fmla="*/ 9825 h 10000"/>
                <a:gd name="connsiteX36" fmla="*/ 5946 w 10000"/>
                <a:gd name="connsiteY36" fmla="*/ 9873 h 10000"/>
                <a:gd name="connsiteX37" fmla="*/ 6216 w 10000"/>
                <a:gd name="connsiteY37" fmla="*/ 9528 h 10000"/>
                <a:gd name="connsiteX38" fmla="*/ 6558 w 10000"/>
                <a:gd name="connsiteY38" fmla="*/ 9740 h 10000"/>
                <a:gd name="connsiteX39" fmla="*/ 6675 w 10000"/>
                <a:gd name="connsiteY39" fmla="*/ 9557 h 10000"/>
                <a:gd name="connsiteX40" fmla="*/ 6797 w 10000"/>
                <a:gd name="connsiteY40" fmla="*/ 9528 h 10000"/>
                <a:gd name="connsiteX41" fmla="*/ 7029 w 10000"/>
                <a:gd name="connsiteY41" fmla="*/ 10000 h 10000"/>
                <a:gd name="connsiteX42" fmla="*/ 7251 w 10000"/>
                <a:gd name="connsiteY42" fmla="*/ 9606 h 10000"/>
                <a:gd name="connsiteX43" fmla="*/ 7521 w 10000"/>
                <a:gd name="connsiteY43" fmla="*/ 9632 h 10000"/>
                <a:gd name="connsiteX44" fmla="*/ 7727 w 10000"/>
                <a:gd name="connsiteY44" fmla="*/ 9422 h 10000"/>
                <a:gd name="connsiteX45" fmla="*/ 8015 w 10000"/>
                <a:gd name="connsiteY45" fmla="*/ 9632 h 10000"/>
                <a:gd name="connsiteX46" fmla="*/ 8389 w 10000"/>
                <a:gd name="connsiteY46" fmla="*/ 8982 h 10000"/>
                <a:gd name="connsiteX47" fmla="*/ 8521 w 10000"/>
                <a:gd name="connsiteY47" fmla="*/ 8982 h 10000"/>
                <a:gd name="connsiteX48" fmla="*/ 8760 w 10000"/>
                <a:gd name="connsiteY48" fmla="*/ 8457 h 10000"/>
                <a:gd name="connsiteX49" fmla="*/ 9775 w 10000"/>
                <a:gd name="connsiteY49" fmla="*/ 8432 h 10000"/>
                <a:gd name="connsiteX50" fmla="*/ 10000 w 10000"/>
                <a:gd name="connsiteY50" fmla="*/ 8220 h 10000"/>
                <a:gd name="connsiteX51" fmla="*/ 9983 w 10000"/>
                <a:gd name="connsiteY51" fmla="*/ 7962 h 10000"/>
                <a:gd name="connsiteX52" fmla="*/ 9915 w 10000"/>
                <a:gd name="connsiteY52" fmla="*/ 7387 h 10000"/>
                <a:gd name="connsiteX53" fmla="*/ 9491 w 10000"/>
                <a:gd name="connsiteY53" fmla="*/ 7200 h 10000"/>
                <a:gd name="connsiteX54" fmla="*/ 9288 w 10000"/>
                <a:gd name="connsiteY54" fmla="*/ 6286 h 10000"/>
                <a:gd name="connsiteX55" fmla="*/ 9169 w 10000"/>
                <a:gd name="connsiteY55" fmla="*/ 6182 h 10000"/>
                <a:gd name="connsiteX56" fmla="*/ 9138 w 10000"/>
                <a:gd name="connsiteY56" fmla="*/ 5531 h 10000"/>
                <a:gd name="connsiteX57" fmla="*/ 8985 w 10000"/>
                <a:gd name="connsiteY57" fmla="*/ 5501 h 10000"/>
                <a:gd name="connsiteX58" fmla="*/ 8928 w 10000"/>
                <a:gd name="connsiteY58" fmla="*/ 5166 h 10000"/>
                <a:gd name="connsiteX59" fmla="*/ 8674 w 10000"/>
                <a:gd name="connsiteY59" fmla="*/ 5083 h 10000"/>
                <a:gd name="connsiteX60" fmla="*/ 8590 w 10000"/>
                <a:gd name="connsiteY60" fmla="*/ 4566 h 10000"/>
                <a:gd name="connsiteX61" fmla="*/ 8168 w 10000"/>
                <a:gd name="connsiteY61" fmla="*/ 4067 h 10000"/>
                <a:gd name="connsiteX62" fmla="*/ 7708 w 10000"/>
                <a:gd name="connsiteY62" fmla="*/ 3988 h 10000"/>
                <a:gd name="connsiteX63" fmla="*/ 7829 w 10000"/>
                <a:gd name="connsiteY63" fmla="*/ 3413 h 10000"/>
                <a:gd name="connsiteX64" fmla="*/ 7796 w 10000"/>
                <a:gd name="connsiteY64" fmla="*/ 2993 h 10000"/>
                <a:gd name="connsiteX65" fmla="*/ 8185 w 10000"/>
                <a:gd name="connsiteY65" fmla="*/ 3022 h 10000"/>
                <a:gd name="connsiteX66" fmla="*/ 8269 w 10000"/>
                <a:gd name="connsiteY66" fmla="*/ 3147 h 10000"/>
                <a:gd name="connsiteX67" fmla="*/ 8506 w 10000"/>
                <a:gd name="connsiteY67" fmla="*/ 2885 h 10000"/>
                <a:gd name="connsiteX68" fmla="*/ 8575 w 10000"/>
                <a:gd name="connsiteY68" fmla="*/ 1952 h 10000"/>
                <a:gd name="connsiteX69" fmla="*/ 8474 w 10000"/>
                <a:gd name="connsiteY69" fmla="*/ 1242 h 10000"/>
                <a:gd name="connsiteX70" fmla="*/ 8760 w 10000"/>
                <a:gd name="connsiteY70" fmla="*/ 668 h 10000"/>
                <a:gd name="connsiteX71" fmla="*/ 8312 w 10000"/>
                <a:gd name="connsiteY71" fmla="*/ 21 h 10000"/>
                <a:gd name="connsiteX0" fmla="*/ 8312 w 10000"/>
                <a:gd name="connsiteY0" fmla="*/ 25 h 10004"/>
                <a:gd name="connsiteX1" fmla="*/ 4417 w 10000"/>
                <a:gd name="connsiteY1" fmla="*/ 1596 h 10004"/>
                <a:gd name="connsiteX2" fmla="*/ 3551 w 10000"/>
                <a:gd name="connsiteY2" fmla="*/ 1500 h 10004"/>
                <a:gd name="connsiteX3" fmla="*/ 2597 w 10000"/>
                <a:gd name="connsiteY3" fmla="*/ 1812 h 10004"/>
                <a:gd name="connsiteX4" fmla="*/ 1875 w 10000"/>
                <a:gd name="connsiteY4" fmla="*/ 629 h 10004"/>
                <a:gd name="connsiteX5" fmla="*/ 1212 w 10000"/>
                <a:gd name="connsiteY5" fmla="*/ 1272 h 10004"/>
                <a:gd name="connsiteX6" fmla="*/ 508 w 10000"/>
                <a:gd name="connsiteY6" fmla="*/ 1301 h 10004"/>
                <a:gd name="connsiteX7" fmla="*/ 12 w 10000"/>
                <a:gd name="connsiteY7" fmla="*/ 2135 h 10004"/>
                <a:gd name="connsiteX8" fmla="*/ 151 w 10000"/>
                <a:gd name="connsiteY8" fmla="*/ 2315 h 10004"/>
                <a:gd name="connsiteX9" fmla="*/ 48 w 10000"/>
                <a:gd name="connsiteY9" fmla="*/ 2601 h 10004"/>
                <a:gd name="connsiteX10" fmla="*/ 625 w 10000"/>
                <a:gd name="connsiteY10" fmla="*/ 2684 h 10004"/>
                <a:gd name="connsiteX11" fmla="*/ 625 w 10000"/>
                <a:gd name="connsiteY11" fmla="*/ 2865 h 10004"/>
                <a:gd name="connsiteX12" fmla="*/ 605 w 10000"/>
                <a:gd name="connsiteY12" fmla="*/ 3285 h 10004"/>
                <a:gd name="connsiteX13" fmla="*/ 1216 w 10000"/>
                <a:gd name="connsiteY13" fmla="*/ 3438 h 10004"/>
                <a:gd name="connsiteX14" fmla="*/ 1216 w 10000"/>
                <a:gd name="connsiteY14" fmla="*/ 3788 h 10004"/>
                <a:gd name="connsiteX15" fmla="*/ 1539 w 10000"/>
                <a:gd name="connsiteY15" fmla="*/ 4044 h 10004"/>
                <a:gd name="connsiteX16" fmla="*/ 1437 w 10000"/>
                <a:gd name="connsiteY16" fmla="*/ 4431 h 10004"/>
                <a:gd name="connsiteX17" fmla="*/ 1891 w 10000"/>
                <a:gd name="connsiteY17" fmla="*/ 4775 h 10004"/>
                <a:gd name="connsiteX18" fmla="*/ 2167 w 10000"/>
                <a:gd name="connsiteY18" fmla="*/ 5400 h 10004"/>
                <a:gd name="connsiteX19" fmla="*/ 2419 w 10000"/>
                <a:gd name="connsiteY19" fmla="*/ 5642 h 10004"/>
                <a:gd name="connsiteX20" fmla="*/ 2318 w 10000"/>
                <a:gd name="connsiteY20" fmla="*/ 5850 h 10004"/>
                <a:gd name="connsiteX21" fmla="*/ 2454 w 10000"/>
                <a:gd name="connsiteY21" fmla="*/ 6083 h 10004"/>
                <a:gd name="connsiteX22" fmla="*/ 2434 w 10000"/>
                <a:gd name="connsiteY22" fmla="*/ 6416 h 10004"/>
                <a:gd name="connsiteX23" fmla="*/ 2696 w 10000"/>
                <a:gd name="connsiteY23" fmla="*/ 6450 h 10004"/>
                <a:gd name="connsiteX24" fmla="*/ 2980 w 10000"/>
                <a:gd name="connsiteY24" fmla="*/ 6819 h 10004"/>
                <a:gd name="connsiteX25" fmla="*/ 3050 w 10000"/>
                <a:gd name="connsiteY25" fmla="*/ 7391 h 10004"/>
                <a:gd name="connsiteX26" fmla="*/ 3114 w 10000"/>
                <a:gd name="connsiteY26" fmla="*/ 7603 h 10004"/>
                <a:gd name="connsiteX27" fmla="*/ 3471 w 10000"/>
                <a:gd name="connsiteY27" fmla="*/ 8091 h 10004"/>
                <a:gd name="connsiteX28" fmla="*/ 3471 w 10000"/>
                <a:gd name="connsiteY28" fmla="*/ 8461 h 10004"/>
                <a:gd name="connsiteX29" fmla="*/ 3997 w 10000"/>
                <a:gd name="connsiteY29" fmla="*/ 8859 h 10004"/>
                <a:gd name="connsiteX30" fmla="*/ 4285 w 10000"/>
                <a:gd name="connsiteY30" fmla="*/ 8436 h 10004"/>
                <a:gd name="connsiteX31" fmla="*/ 4643 w 10000"/>
                <a:gd name="connsiteY31" fmla="*/ 8755 h 10004"/>
                <a:gd name="connsiteX32" fmla="*/ 4928 w 10000"/>
                <a:gd name="connsiteY32" fmla="*/ 8278 h 10004"/>
                <a:gd name="connsiteX33" fmla="*/ 5251 w 10000"/>
                <a:gd name="connsiteY33" fmla="*/ 9036 h 10004"/>
                <a:gd name="connsiteX34" fmla="*/ 5709 w 10000"/>
                <a:gd name="connsiteY34" fmla="*/ 9457 h 10004"/>
                <a:gd name="connsiteX35" fmla="*/ 5759 w 10000"/>
                <a:gd name="connsiteY35" fmla="*/ 9829 h 10004"/>
                <a:gd name="connsiteX36" fmla="*/ 5946 w 10000"/>
                <a:gd name="connsiteY36" fmla="*/ 9877 h 10004"/>
                <a:gd name="connsiteX37" fmla="*/ 6216 w 10000"/>
                <a:gd name="connsiteY37" fmla="*/ 9532 h 10004"/>
                <a:gd name="connsiteX38" fmla="*/ 6558 w 10000"/>
                <a:gd name="connsiteY38" fmla="*/ 9744 h 10004"/>
                <a:gd name="connsiteX39" fmla="*/ 6675 w 10000"/>
                <a:gd name="connsiteY39" fmla="*/ 9561 h 10004"/>
                <a:gd name="connsiteX40" fmla="*/ 6797 w 10000"/>
                <a:gd name="connsiteY40" fmla="*/ 9532 h 10004"/>
                <a:gd name="connsiteX41" fmla="*/ 7029 w 10000"/>
                <a:gd name="connsiteY41" fmla="*/ 10004 h 10004"/>
                <a:gd name="connsiteX42" fmla="*/ 7251 w 10000"/>
                <a:gd name="connsiteY42" fmla="*/ 9610 h 10004"/>
                <a:gd name="connsiteX43" fmla="*/ 7521 w 10000"/>
                <a:gd name="connsiteY43" fmla="*/ 9636 h 10004"/>
                <a:gd name="connsiteX44" fmla="*/ 7727 w 10000"/>
                <a:gd name="connsiteY44" fmla="*/ 9426 h 10004"/>
                <a:gd name="connsiteX45" fmla="*/ 8015 w 10000"/>
                <a:gd name="connsiteY45" fmla="*/ 9636 h 10004"/>
                <a:gd name="connsiteX46" fmla="*/ 8389 w 10000"/>
                <a:gd name="connsiteY46" fmla="*/ 8986 h 10004"/>
                <a:gd name="connsiteX47" fmla="*/ 8521 w 10000"/>
                <a:gd name="connsiteY47" fmla="*/ 8986 h 10004"/>
                <a:gd name="connsiteX48" fmla="*/ 8760 w 10000"/>
                <a:gd name="connsiteY48" fmla="*/ 8461 h 10004"/>
                <a:gd name="connsiteX49" fmla="*/ 9775 w 10000"/>
                <a:gd name="connsiteY49" fmla="*/ 8436 h 10004"/>
                <a:gd name="connsiteX50" fmla="*/ 10000 w 10000"/>
                <a:gd name="connsiteY50" fmla="*/ 8224 h 10004"/>
                <a:gd name="connsiteX51" fmla="*/ 9983 w 10000"/>
                <a:gd name="connsiteY51" fmla="*/ 7966 h 10004"/>
                <a:gd name="connsiteX52" fmla="*/ 9915 w 10000"/>
                <a:gd name="connsiteY52" fmla="*/ 7391 h 10004"/>
                <a:gd name="connsiteX53" fmla="*/ 9491 w 10000"/>
                <a:gd name="connsiteY53" fmla="*/ 7204 h 10004"/>
                <a:gd name="connsiteX54" fmla="*/ 9288 w 10000"/>
                <a:gd name="connsiteY54" fmla="*/ 6290 h 10004"/>
                <a:gd name="connsiteX55" fmla="*/ 9169 w 10000"/>
                <a:gd name="connsiteY55" fmla="*/ 6186 h 10004"/>
                <a:gd name="connsiteX56" fmla="*/ 9138 w 10000"/>
                <a:gd name="connsiteY56" fmla="*/ 5535 h 10004"/>
                <a:gd name="connsiteX57" fmla="*/ 8985 w 10000"/>
                <a:gd name="connsiteY57" fmla="*/ 5505 h 10004"/>
                <a:gd name="connsiteX58" fmla="*/ 8928 w 10000"/>
                <a:gd name="connsiteY58" fmla="*/ 5170 h 10004"/>
                <a:gd name="connsiteX59" fmla="*/ 8674 w 10000"/>
                <a:gd name="connsiteY59" fmla="*/ 5087 h 10004"/>
                <a:gd name="connsiteX60" fmla="*/ 8590 w 10000"/>
                <a:gd name="connsiteY60" fmla="*/ 4570 h 10004"/>
                <a:gd name="connsiteX61" fmla="*/ 8168 w 10000"/>
                <a:gd name="connsiteY61" fmla="*/ 4071 h 10004"/>
                <a:gd name="connsiteX62" fmla="*/ 7708 w 10000"/>
                <a:gd name="connsiteY62" fmla="*/ 3992 h 10004"/>
                <a:gd name="connsiteX63" fmla="*/ 7829 w 10000"/>
                <a:gd name="connsiteY63" fmla="*/ 3417 h 10004"/>
                <a:gd name="connsiteX64" fmla="*/ 7796 w 10000"/>
                <a:gd name="connsiteY64" fmla="*/ 2997 h 10004"/>
                <a:gd name="connsiteX65" fmla="*/ 8185 w 10000"/>
                <a:gd name="connsiteY65" fmla="*/ 3026 h 10004"/>
                <a:gd name="connsiteX66" fmla="*/ 8269 w 10000"/>
                <a:gd name="connsiteY66" fmla="*/ 3151 h 10004"/>
                <a:gd name="connsiteX67" fmla="*/ 8506 w 10000"/>
                <a:gd name="connsiteY67" fmla="*/ 2889 h 10004"/>
                <a:gd name="connsiteX68" fmla="*/ 8575 w 10000"/>
                <a:gd name="connsiteY68" fmla="*/ 1956 h 10004"/>
                <a:gd name="connsiteX69" fmla="*/ 8474 w 10000"/>
                <a:gd name="connsiteY69" fmla="*/ 1246 h 10004"/>
                <a:gd name="connsiteX70" fmla="*/ 8760 w 10000"/>
                <a:gd name="connsiteY70" fmla="*/ 672 h 10004"/>
                <a:gd name="connsiteX71" fmla="*/ 8312 w 10000"/>
                <a:gd name="connsiteY71" fmla="*/ 25 h 10004"/>
                <a:gd name="connsiteX0" fmla="*/ 8312 w 10000"/>
                <a:gd name="connsiteY0" fmla="*/ 25 h 10004"/>
                <a:gd name="connsiteX1" fmla="*/ 5862 w 10000"/>
                <a:gd name="connsiteY1" fmla="*/ 1021 h 10004"/>
                <a:gd name="connsiteX2" fmla="*/ 4417 w 10000"/>
                <a:gd name="connsiteY2" fmla="*/ 1596 h 10004"/>
                <a:gd name="connsiteX3" fmla="*/ 3551 w 10000"/>
                <a:gd name="connsiteY3" fmla="*/ 1500 h 10004"/>
                <a:gd name="connsiteX4" fmla="*/ 2597 w 10000"/>
                <a:gd name="connsiteY4" fmla="*/ 1812 h 10004"/>
                <a:gd name="connsiteX5" fmla="*/ 1875 w 10000"/>
                <a:gd name="connsiteY5" fmla="*/ 629 h 10004"/>
                <a:gd name="connsiteX6" fmla="*/ 1212 w 10000"/>
                <a:gd name="connsiteY6" fmla="*/ 1272 h 10004"/>
                <a:gd name="connsiteX7" fmla="*/ 508 w 10000"/>
                <a:gd name="connsiteY7" fmla="*/ 1301 h 10004"/>
                <a:gd name="connsiteX8" fmla="*/ 12 w 10000"/>
                <a:gd name="connsiteY8" fmla="*/ 2135 h 10004"/>
                <a:gd name="connsiteX9" fmla="*/ 151 w 10000"/>
                <a:gd name="connsiteY9" fmla="*/ 2315 h 10004"/>
                <a:gd name="connsiteX10" fmla="*/ 48 w 10000"/>
                <a:gd name="connsiteY10" fmla="*/ 2601 h 10004"/>
                <a:gd name="connsiteX11" fmla="*/ 625 w 10000"/>
                <a:gd name="connsiteY11" fmla="*/ 2684 h 10004"/>
                <a:gd name="connsiteX12" fmla="*/ 625 w 10000"/>
                <a:gd name="connsiteY12" fmla="*/ 2865 h 10004"/>
                <a:gd name="connsiteX13" fmla="*/ 605 w 10000"/>
                <a:gd name="connsiteY13" fmla="*/ 3285 h 10004"/>
                <a:gd name="connsiteX14" fmla="*/ 1216 w 10000"/>
                <a:gd name="connsiteY14" fmla="*/ 3438 h 10004"/>
                <a:gd name="connsiteX15" fmla="*/ 1216 w 10000"/>
                <a:gd name="connsiteY15" fmla="*/ 3788 h 10004"/>
                <a:gd name="connsiteX16" fmla="*/ 1539 w 10000"/>
                <a:gd name="connsiteY16" fmla="*/ 4044 h 10004"/>
                <a:gd name="connsiteX17" fmla="*/ 1437 w 10000"/>
                <a:gd name="connsiteY17" fmla="*/ 4431 h 10004"/>
                <a:gd name="connsiteX18" fmla="*/ 1891 w 10000"/>
                <a:gd name="connsiteY18" fmla="*/ 4775 h 10004"/>
                <a:gd name="connsiteX19" fmla="*/ 2167 w 10000"/>
                <a:gd name="connsiteY19" fmla="*/ 5400 h 10004"/>
                <a:gd name="connsiteX20" fmla="*/ 2419 w 10000"/>
                <a:gd name="connsiteY20" fmla="*/ 5642 h 10004"/>
                <a:gd name="connsiteX21" fmla="*/ 2318 w 10000"/>
                <a:gd name="connsiteY21" fmla="*/ 5850 h 10004"/>
                <a:gd name="connsiteX22" fmla="*/ 2454 w 10000"/>
                <a:gd name="connsiteY22" fmla="*/ 6083 h 10004"/>
                <a:gd name="connsiteX23" fmla="*/ 2434 w 10000"/>
                <a:gd name="connsiteY23" fmla="*/ 6416 h 10004"/>
                <a:gd name="connsiteX24" fmla="*/ 2696 w 10000"/>
                <a:gd name="connsiteY24" fmla="*/ 6450 h 10004"/>
                <a:gd name="connsiteX25" fmla="*/ 2980 w 10000"/>
                <a:gd name="connsiteY25" fmla="*/ 6819 h 10004"/>
                <a:gd name="connsiteX26" fmla="*/ 3050 w 10000"/>
                <a:gd name="connsiteY26" fmla="*/ 7391 h 10004"/>
                <a:gd name="connsiteX27" fmla="*/ 3114 w 10000"/>
                <a:gd name="connsiteY27" fmla="*/ 7603 h 10004"/>
                <a:gd name="connsiteX28" fmla="*/ 3471 w 10000"/>
                <a:gd name="connsiteY28" fmla="*/ 8091 h 10004"/>
                <a:gd name="connsiteX29" fmla="*/ 3471 w 10000"/>
                <a:gd name="connsiteY29" fmla="*/ 8461 h 10004"/>
                <a:gd name="connsiteX30" fmla="*/ 3997 w 10000"/>
                <a:gd name="connsiteY30" fmla="*/ 8859 h 10004"/>
                <a:gd name="connsiteX31" fmla="*/ 4285 w 10000"/>
                <a:gd name="connsiteY31" fmla="*/ 8436 h 10004"/>
                <a:gd name="connsiteX32" fmla="*/ 4643 w 10000"/>
                <a:gd name="connsiteY32" fmla="*/ 8755 h 10004"/>
                <a:gd name="connsiteX33" fmla="*/ 4928 w 10000"/>
                <a:gd name="connsiteY33" fmla="*/ 8278 h 10004"/>
                <a:gd name="connsiteX34" fmla="*/ 5251 w 10000"/>
                <a:gd name="connsiteY34" fmla="*/ 9036 h 10004"/>
                <a:gd name="connsiteX35" fmla="*/ 5709 w 10000"/>
                <a:gd name="connsiteY35" fmla="*/ 9457 h 10004"/>
                <a:gd name="connsiteX36" fmla="*/ 5759 w 10000"/>
                <a:gd name="connsiteY36" fmla="*/ 9829 h 10004"/>
                <a:gd name="connsiteX37" fmla="*/ 5946 w 10000"/>
                <a:gd name="connsiteY37" fmla="*/ 9877 h 10004"/>
                <a:gd name="connsiteX38" fmla="*/ 6216 w 10000"/>
                <a:gd name="connsiteY38" fmla="*/ 9532 h 10004"/>
                <a:gd name="connsiteX39" fmla="*/ 6558 w 10000"/>
                <a:gd name="connsiteY39" fmla="*/ 9744 h 10004"/>
                <a:gd name="connsiteX40" fmla="*/ 6675 w 10000"/>
                <a:gd name="connsiteY40" fmla="*/ 9561 h 10004"/>
                <a:gd name="connsiteX41" fmla="*/ 6797 w 10000"/>
                <a:gd name="connsiteY41" fmla="*/ 9532 h 10004"/>
                <a:gd name="connsiteX42" fmla="*/ 7029 w 10000"/>
                <a:gd name="connsiteY42" fmla="*/ 10004 h 10004"/>
                <a:gd name="connsiteX43" fmla="*/ 7251 w 10000"/>
                <a:gd name="connsiteY43" fmla="*/ 9610 h 10004"/>
                <a:gd name="connsiteX44" fmla="*/ 7521 w 10000"/>
                <a:gd name="connsiteY44" fmla="*/ 9636 h 10004"/>
                <a:gd name="connsiteX45" fmla="*/ 7727 w 10000"/>
                <a:gd name="connsiteY45" fmla="*/ 9426 h 10004"/>
                <a:gd name="connsiteX46" fmla="*/ 8015 w 10000"/>
                <a:gd name="connsiteY46" fmla="*/ 9636 h 10004"/>
                <a:gd name="connsiteX47" fmla="*/ 8389 w 10000"/>
                <a:gd name="connsiteY47" fmla="*/ 8986 h 10004"/>
                <a:gd name="connsiteX48" fmla="*/ 8521 w 10000"/>
                <a:gd name="connsiteY48" fmla="*/ 8986 h 10004"/>
                <a:gd name="connsiteX49" fmla="*/ 8760 w 10000"/>
                <a:gd name="connsiteY49" fmla="*/ 8461 h 10004"/>
                <a:gd name="connsiteX50" fmla="*/ 9775 w 10000"/>
                <a:gd name="connsiteY50" fmla="*/ 8436 h 10004"/>
                <a:gd name="connsiteX51" fmla="*/ 10000 w 10000"/>
                <a:gd name="connsiteY51" fmla="*/ 8224 h 10004"/>
                <a:gd name="connsiteX52" fmla="*/ 9983 w 10000"/>
                <a:gd name="connsiteY52" fmla="*/ 7966 h 10004"/>
                <a:gd name="connsiteX53" fmla="*/ 9915 w 10000"/>
                <a:gd name="connsiteY53" fmla="*/ 7391 h 10004"/>
                <a:gd name="connsiteX54" fmla="*/ 9491 w 10000"/>
                <a:gd name="connsiteY54" fmla="*/ 7204 h 10004"/>
                <a:gd name="connsiteX55" fmla="*/ 9288 w 10000"/>
                <a:gd name="connsiteY55" fmla="*/ 6290 h 10004"/>
                <a:gd name="connsiteX56" fmla="*/ 9169 w 10000"/>
                <a:gd name="connsiteY56" fmla="*/ 6186 h 10004"/>
                <a:gd name="connsiteX57" fmla="*/ 9138 w 10000"/>
                <a:gd name="connsiteY57" fmla="*/ 5535 h 10004"/>
                <a:gd name="connsiteX58" fmla="*/ 8985 w 10000"/>
                <a:gd name="connsiteY58" fmla="*/ 5505 h 10004"/>
                <a:gd name="connsiteX59" fmla="*/ 8928 w 10000"/>
                <a:gd name="connsiteY59" fmla="*/ 5170 h 10004"/>
                <a:gd name="connsiteX60" fmla="*/ 8674 w 10000"/>
                <a:gd name="connsiteY60" fmla="*/ 5087 h 10004"/>
                <a:gd name="connsiteX61" fmla="*/ 8590 w 10000"/>
                <a:gd name="connsiteY61" fmla="*/ 4570 h 10004"/>
                <a:gd name="connsiteX62" fmla="*/ 8168 w 10000"/>
                <a:gd name="connsiteY62" fmla="*/ 4071 h 10004"/>
                <a:gd name="connsiteX63" fmla="*/ 7708 w 10000"/>
                <a:gd name="connsiteY63" fmla="*/ 3992 h 10004"/>
                <a:gd name="connsiteX64" fmla="*/ 7829 w 10000"/>
                <a:gd name="connsiteY64" fmla="*/ 3417 h 10004"/>
                <a:gd name="connsiteX65" fmla="*/ 7796 w 10000"/>
                <a:gd name="connsiteY65" fmla="*/ 2997 h 10004"/>
                <a:gd name="connsiteX66" fmla="*/ 8185 w 10000"/>
                <a:gd name="connsiteY66" fmla="*/ 3026 h 10004"/>
                <a:gd name="connsiteX67" fmla="*/ 8269 w 10000"/>
                <a:gd name="connsiteY67" fmla="*/ 3151 h 10004"/>
                <a:gd name="connsiteX68" fmla="*/ 8506 w 10000"/>
                <a:gd name="connsiteY68" fmla="*/ 2889 h 10004"/>
                <a:gd name="connsiteX69" fmla="*/ 8575 w 10000"/>
                <a:gd name="connsiteY69" fmla="*/ 1956 h 10004"/>
                <a:gd name="connsiteX70" fmla="*/ 8474 w 10000"/>
                <a:gd name="connsiteY70" fmla="*/ 1246 h 10004"/>
                <a:gd name="connsiteX71" fmla="*/ 8760 w 10000"/>
                <a:gd name="connsiteY71" fmla="*/ 672 h 10004"/>
                <a:gd name="connsiteX72" fmla="*/ 8312 w 10000"/>
                <a:gd name="connsiteY72" fmla="*/ 25 h 10004"/>
                <a:gd name="connsiteX0" fmla="*/ 8312 w 10000"/>
                <a:gd name="connsiteY0" fmla="*/ 5 h 9984"/>
                <a:gd name="connsiteX1" fmla="*/ 5645 w 10000"/>
                <a:gd name="connsiteY1" fmla="*/ 426 h 9984"/>
                <a:gd name="connsiteX2" fmla="*/ 4417 w 10000"/>
                <a:gd name="connsiteY2" fmla="*/ 1576 h 9984"/>
                <a:gd name="connsiteX3" fmla="*/ 3551 w 10000"/>
                <a:gd name="connsiteY3" fmla="*/ 1480 h 9984"/>
                <a:gd name="connsiteX4" fmla="*/ 2597 w 10000"/>
                <a:gd name="connsiteY4" fmla="*/ 1792 h 9984"/>
                <a:gd name="connsiteX5" fmla="*/ 1875 w 10000"/>
                <a:gd name="connsiteY5" fmla="*/ 609 h 9984"/>
                <a:gd name="connsiteX6" fmla="*/ 1212 w 10000"/>
                <a:gd name="connsiteY6" fmla="*/ 1252 h 9984"/>
                <a:gd name="connsiteX7" fmla="*/ 508 w 10000"/>
                <a:gd name="connsiteY7" fmla="*/ 1281 h 9984"/>
                <a:gd name="connsiteX8" fmla="*/ 12 w 10000"/>
                <a:gd name="connsiteY8" fmla="*/ 2115 h 9984"/>
                <a:gd name="connsiteX9" fmla="*/ 151 w 10000"/>
                <a:gd name="connsiteY9" fmla="*/ 2295 h 9984"/>
                <a:gd name="connsiteX10" fmla="*/ 48 w 10000"/>
                <a:gd name="connsiteY10" fmla="*/ 2581 h 9984"/>
                <a:gd name="connsiteX11" fmla="*/ 625 w 10000"/>
                <a:gd name="connsiteY11" fmla="*/ 2664 h 9984"/>
                <a:gd name="connsiteX12" fmla="*/ 625 w 10000"/>
                <a:gd name="connsiteY12" fmla="*/ 2845 h 9984"/>
                <a:gd name="connsiteX13" fmla="*/ 605 w 10000"/>
                <a:gd name="connsiteY13" fmla="*/ 3265 h 9984"/>
                <a:gd name="connsiteX14" fmla="*/ 1216 w 10000"/>
                <a:gd name="connsiteY14" fmla="*/ 3418 h 9984"/>
                <a:gd name="connsiteX15" fmla="*/ 1216 w 10000"/>
                <a:gd name="connsiteY15" fmla="*/ 3768 h 9984"/>
                <a:gd name="connsiteX16" fmla="*/ 1539 w 10000"/>
                <a:gd name="connsiteY16" fmla="*/ 4024 h 9984"/>
                <a:gd name="connsiteX17" fmla="*/ 1437 w 10000"/>
                <a:gd name="connsiteY17" fmla="*/ 4411 h 9984"/>
                <a:gd name="connsiteX18" fmla="*/ 1891 w 10000"/>
                <a:gd name="connsiteY18" fmla="*/ 4755 h 9984"/>
                <a:gd name="connsiteX19" fmla="*/ 2167 w 10000"/>
                <a:gd name="connsiteY19" fmla="*/ 5380 h 9984"/>
                <a:gd name="connsiteX20" fmla="*/ 2419 w 10000"/>
                <a:gd name="connsiteY20" fmla="*/ 5622 h 9984"/>
                <a:gd name="connsiteX21" fmla="*/ 2318 w 10000"/>
                <a:gd name="connsiteY21" fmla="*/ 5830 h 9984"/>
                <a:gd name="connsiteX22" fmla="*/ 2454 w 10000"/>
                <a:gd name="connsiteY22" fmla="*/ 6063 h 9984"/>
                <a:gd name="connsiteX23" fmla="*/ 2434 w 10000"/>
                <a:gd name="connsiteY23" fmla="*/ 6396 h 9984"/>
                <a:gd name="connsiteX24" fmla="*/ 2696 w 10000"/>
                <a:gd name="connsiteY24" fmla="*/ 6430 h 9984"/>
                <a:gd name="connsiteX25" fmla="*/ 2980 w 10000"/>
                <a:gd name="connsiteY25" fmla="*/ 6799 h 9984"/>
                <a:gd name="connsiteX26" fmla="*/ 3050 w 10000"/>
                <a:gd name="connsiteY26" fmla="*/ 7371 h 9984"/>
                <a:gd name="connsiteX27" fmla="*/ 3114 w 10000"/>
                <a:gd name="connsiteY27" fmla="*/ 7583 h 9984"/>
                <a:gd name="connsiteX28" fmla="*/ 3471 w 10000"/>
                <a:gd name="connsiteY28" fmla="*/ 8071 h 9984"/>
                <a:gd name="connsiteX29" fmla="*/ 3471 w 10000"/>
                <a:gd name="connsiteY29" fmla="*/ 8441 h 9984"/>
                <a:gd name="connsiteX30" fmla="*/ 3997 w 10000"/>
                <a:gd name="connsiteY30" fmla="*/ 8839 h 9984"/>
                <a:gd name="connsiteX31" fmla="*/ 4285 w 10000"/>
                <a:gd name="connsiteY31" fmla="*/ 8416 h 9984"/>
                <a:gd name="connsiteX32" fmla="*/ 4643 w 10000"/>
                <a:gd name="connsiteY32" fmla="*/ 8735 h 9984"/>
                <a:gd name="connsiteX33" fmla="*/ 4928 w 10000"/>
                <a:gd name="connsiteY33" fmla="*/ 8258 h 9984"/>
                <a:gd name="connsiteX34" fmla="*/ 5251 w 10000"/>
                <a:gd name="connsiteY34" fmla="*/ 9016 h 9984"/>
                <a:gd name="connsiteX35" fmla="*/ 5709 w 10000"/>
                <a:gd name="connsiteY35" fmla="*/ 9437 h 9984"/>
                <a:gd name="connsiteX36" fmla="*/ 5759 w 10000"/>
                <a:gd name="connsiteY36" fmla="*/ 9809 h 9984"/>
                <a:gd name="connsiteX37" fmla="*/ 5946 w 10000"/>
                <a:gd name="connsiteY37" fmla="*/ 9857 h 9984"/>
                <a:gd name="connsiteX38" fmla="*/ 6216 w 10000"/>
                <a:gd name="connsiteY38" fmla="*/ 9512 h 9984"/>
                <a:gd name="connsiteX39" fmla="*/ 6558 w 10000"/>
                <a:gd name="connsiteY39" fmla="*/ 9724 h 9984"/>
                <a:gd name="connsiteX40" fmla="*/ 6675 w 10000"/>
                <a:gd name="connsiteY40" fmla="*/ 9541 h 9984"/>
                <a:gd name="connsiteX41" fmla="*/ 6797 w 10000"/>
                <a:gd name="connsiteY41" fmla="*/ 9512 h 9984"/>
                <a:gd name="connsiteX42" fmla="*/ 7029 w 10000"/>
                <a:gd name="connsiteY42" fmla="*/ 9984 h 9984"/>
                <a:gd name="connsiteX43" fmla="*/ 7251 w 10000"/>
                <a:gd name="connsiteY43" fmla="*/ 9590 h 9984"/>
                <a:gd name="connsiteX44" fmla="*/ 7521 w 10000"/>
                <a:gd name="connsiteY44" fmla="*/ 9616 h 9984"/>
                <a:gd name="connsiteX45" fmla="*/ 7727 w 10000"/>
                <a:gd name="connsiteY45" fmla="*/ 9406 h 9984"/>
                <a:gd name="connsiteX46" fmla="*/ 8015 w 10000"/>
                <a:gd name="connsiteY46" fmla="*/ 9616 h 9984"/>
                <a:gd name="connsiteX47" fmla="*/ 8389 w 10000"/>
                <a:gd name="connsiteY47" fmla="*/ 8966 h 9984"/>
                <a:gd name="connsiteX48" fmla="*/ 8521 w 10000"/>
                <a:gd name="connsiteY48" fmla="*/ 8966 h 9984"/>
                <a:gd name="connsiteX49" fmla="*/ 8760 w 10000"/>
                <a:gd name="connsiteY49" fmla="*/ 8441 h 9984"/>
                <a:gd name="connsiteX50" fmla="*/ 9775 w 10000"/>
                <a:gd name="connsiteY50" fmla="*/ 8416 h 9984"/>
                <a:gd name="connsiteX51" fmla="*/ 10000 w 10000"/>
                <a:gd name="connsiteY51" fmla="*/ 8204 h 9984"/>
                <a:gd name="connsiteX52" fmla="*/ 9983 w 10000"/>
                <a:gd name="connsiteY52" fmla="*/ 7946 h 9984"/>
                <a:gd name="connsiteX53" fmla="*/ 9915 w 10000"/>
                <a:gd name="connsiteY53" fmla="*/ 7371 h 9984"/>
                <a:gd name="connsiteX54" fmla="*/ 9491 w 10000"/>
                <a:gd name="connsiteY54" fmla="*/ 7184 h 9984"/>
                <a:gd name="connsiteX55" fmla="*/ 9288 w 10000"/>
                <a:gd name="connsiteY55" fmla="*/ 6270 h 9984"/>
                <a:gd name="connsiteX56" fmla="*/ 9169 w 10000"/>
                <a:gd name="connsiteY56" fmla="*/ 6166 h 9984"/>
                <a:gd name="connsiteX57" fmla="*/ 9138 w 10000"/>
                <a:gd name="connsiteY57" fmla="*/ 5515 h 9984"/>
                <a:gd name="connsiteX58" fmla="*/ 8985 w 10000"/>
                <a:gd name="connsiteY58" fmla="*/ 5485 h 9984"/>
                <a:gd name="connsiteX59" fmla="*/ 8928 w 10000"/>
                <a:gd name="connsiteY59" fmla="*/ 5150 h 9984"/>
                <a:gd name="connsiteX60" fmla="*/ 8674 w 10000"/>
                <a:gd name="connsiteY60" fmla="*/ 5067 h 9984"/>
                <a:gd name="connsiteX61" fmla="*/ 8590 w 10000"/>
                <a:gd name="connsiteY61" fmla="*/ 4550 h 9984"/>
                <a:gd name="connsiteX62" fmla="*/ 8168 w 10000"/>
                <a:gd name="connsiteY62" fmla="*/ 4051 h 9984"/>
                <a:gd name="connsiteX63" fmla="*/ 7708 w 10000"/>
                <a:gd name="connsiteY63" fmla="*/ 3972 h 9984"/>
                <a:gd name="connsiteX64" fmla="*/ 7829 w 10000"/>
                <a:gd name="connsiteY64" fmla="*/ 3397 h 9984"/>
                <a:gd name="connsiteX65" fmla="*/ 7796 w 10000"/>
                <a:gd name="connsiteY65" fmla="*/ 2977 h 9984"/>
                <a:gd name="connsiteX66" fmla="*/ 8185 w 10000"/>
                <a:gd name="connsiteY66" fmla="*/ 3006 h 9984"/>
                <a:gd name="connsiteX67" fmla="*/ 8269 w 10000"/>
                <a:gd name="connsiteY67" fmla="*/ 3131 h 9984"/>
                <a:gd name="connsiteX68" fmla="*/ 8506 w 10000"/>
                <a:gd name="connsiteY68" fmla="*/ 2869 h 9984"/>
                <a:gd name="connsiteX69" fmla="*/ 8575 w 10000"/>
                <a:gd name="connsiteY69" fmla="*/ 1936 h 9984"/>
                <a:gd name="connsiteX70" fmla="*/ 8474 w 10000"/>
                <a:gd name="connsiteY70" fmla="*/ 1226 h 9984"/>
                <a:gd name="connsiteX71" fmla="*/ 8760 w 10000"/>
                <a:gd name="connsiteY71" fmla="*/ 652 h 9984"/>
                <a:gd name="connsiteX72" fmla="*/ 8312 w 10000"/>
                <a:gd name="connsiteY72" fmla="*/ 5 h 9984"/>
                <a:gd name="connsiteX0" fmla="*/ 8312 w 10000"/>
                <a:gd name="connsiteY0" fmla="*/ 5 h 10000"/>
                <a:gd name="connsiteX1" fmla="*/ 5645 w 10000"/>
                <a:gd name="connsiteY1" fmla="*/ 427 h 10000"/>
                <a:gd name="connsiteX2" fmla="*/ 6512 w 10000"/>
                <a:gd name="connsiteY2" fmla="*/ 138 h 10000"/>
                <a:gd name="connsiteX3" fmla="*/ 4417 w 10000"/>
                <a:gd name="connsiteY3" fmla="*/ 1579 h 10000"/>
                <a:gd name="connsiteX4" fmla="*/ 3551 w 10000"/>
                <a:gd name="connsiteY4" fmla="*/ 1482 h 10000"/>
                <a:gd name="connsiteX5" fmla="*/ 2597 w 10000"/>
                <a:gd name="connsiteY5" fmla="*/ 1795 h 10000"/>
                <a:gd name="connsiteX6" fmla="*/ 1875 w 10000"/>
                <a:gd name="connsiteY6" fmla="*/ 610 h 10000"/>
                <a:gd name="connsiteX7" fmla="*/ 1212 w 10000"/>
                <a:gd name="connsiteY7" fmla="*/ 1254 h 10000"/>
                <a:gd name="connsiteX8" fmla="*/ 508 w 10000"/>
                <a:gd name="connsiteY8" fmla="*/ 1283 h 10000"/>
                <a:gd name="connsiteX9" fmla="*/ 12 w 10000"/>
                <a:gd name="connsiteY9" fmla="*/ 2118 h 10000"/>
                <a:gd name="connsiteX10" fmla="*/ 151 w 10000"/>
                <a:gd name="connsiteY10" fmla="*/ 2299 h 10000"/>
                <a:gd name="connsiteX11" fmla="*/ 48 w 10000"/>
                <a:gd name="connsiteY11" fmla="*/ 2585 h 10000"/>
                <a:gd name="connsiteX12" fmla="*/ 625 w 10000"/>
                <a:gd name="connsiteY12" fmla="*/ 2668 h 10000"/>
                <a:gd name="connsiteX13" fmla="*/ 625 w 10000"/>
                <a:gd name="connsiteY13" fmla="*/ 2850 h 10000"/>
                <a:gd name="connsiteX14" fmla="*/ 605 w 10000"/>
                <a:gd name="connsiteY14" fmla="*/ 3270 h 10000"/>
                <a:gd name="connsiteX15" fmla="*/ 1216 w 10000"/>
                <a:gd name="connsiteY15" fmla="*/ 3423 h 10000"/>
                <a:gd name="connsiteX16" fmla="*/ 1216 w 10000"/>
                <a:gd name="connsiteY16" fmla="*/ 3774 h 10000"/>
                <a:gd name="connsiteX17" fmla="*/ 1539 w 10000"/>
                <a:gd name="connsiteY17" fmla="*/ 4030 h 10000"/>
                <a:gd name="connsiteX18" fmla="*/ 1437 w 10000"/>
                <a:gd name="connsiteY18" fmla="*/ 4418 h 10000"/>
                <a:gd name="connsiteX19" fmla="*/ 1891 w 10000"/>
                <a:gd name="connsiteY19" fmla="*/ 4763 h 10000"/>
                <a:gd name="connsiteX20" fmla="*/ 2167 w 10000"/>
                <a:gd name="connsiteY20" fmla="*/ 5389 h 10000"/>
                <a:gd name="connsiteX21" fmla="*/ 2419 w 10000"/>
                <a:gd name="connsiteY21" fmla="*/ 5631 h 10000"/>
                <a:gd name="connsiteX22" fmla="*/ 2318 w 10000"/>
                <a:gd name="connsiteY22" fmla="*/ 5839 h 10000"/>
                <a:gd name="connsiteX23" fmla="*/ 2454 w 10000"/>
                <a:gd name="connsiteY23" fmla="*/ 6073 h 10000"/>
                <a:gd name="connsiteX24" fmla="*/ 2434 w 10000"/>
                <a:gd name="connsiteY24" fmla="*/ 6406 h 10000"/>
                <a:gd name="connsiteX25" fmla="*/ 2696 w 10000"/>
                <a:gd name="connsiteY25" fmla="*/ 6440 h 10000"/>
                <a:gd name="connsiteX26" fmla="*/ 2980 w 10000"/>
                <a:gd name="connsiteY26" fmla="*/ 6810 h 10000"/>
                <a:gd name="connsiteX27" fmla="*/ 3050 w 10000"/>
                <a:gd name="connsiteY27" fmla="*/ 7383 h 10000"/>
                <a:gd name="connsiteX28" fmla="*/ 3114 w 10000"/>
                <a:gd name="connsiteY28" fmla="*/ 7595 h 10000"/>
                <a:gd name="connsiteX29" fmla="*/ 3471 w 10000"/>
                <a:gd name="connsiteY29" fmla="*/ 8084 h 10000"/>
                <a:gd name="connsiteX30" fmla="*/ 3471 w 10000"/>
                <a:gd name="connsiteY30" fmla="*/ 8455 h 10000"/>
                <a:gd name="connsiteX31" fmla="*/ 3997 w 10000"/>
                <a:gd name="connsiteY31" fmla="*/ 8853 h 10000"/>
                <a:gd name="connsiteX32" fmla="*/ 4285 w 10000"/>
                <a:gd name="connsiteY32" fmla="*/ 8429 h 10000"/>
                <a:gd name="connsiteX33" fmla="*/ 4643 w 10000"/>
                <a:gd name="connsiteY33" fmla="*/ 8749 h 10000"/>
                <a:gd name="connsiteX34" fmla="*/ 4928 w 10000"/>
                <a:gd name="connsiteY34" fmla="*/ 8271 h 10000"/>
                <a:gd name="connsiteX35" fmla="*/ 5251 w 10000"/>
                <a:gd name="connsiteY35" fmla="*/ 9030 h 10000"/>
                <a:gd name="connsiteX36" fmla="*/ 5709 w 10000"/>
                <a:gd name="connsiteY36" fmla="*/ 9452 h 10000"/>
                <a:gd name="connsiteX37" fmla="*/ 5759 w 10000"/>
                <a:gd name="connsiteY37" fmla="*/ 9825 h 10000"/>
                <a:gd name="connsiteX38" fmla="*/ 5946 w 10000"/>
                <a:gd name="connsiteY38" fmla="*/ 9873 h 10000"/>
                <a:gd name="connsiteX39" fmla="*/ 6216 w 10000"/>
                <a:gd name="connsiteY39" fmla="*/ 9527 h 10000"/>
                <a:gd name="connsiteX40" fmla="*/ 6558 w 10000"/>
                <a:gd name="connsiteY40" fmla="*/ 9740 h 10000"/>
                <a:gd name="connsiteX41" fmla="*/ 6675 w 10000"/>
                <a:gd name="connsiteY41" fmla="*/ 9556 h 10000"/>
                <a:gd name="connsiteX42" fmla="*/ 6797 w 10000"/>
                <a:gd name="connsiteY42" fmla="*/ 9527 h 10000"/>
                <a:gd name="connsiteX43" fmla="*/ 7029 w 10000"/>
                <a:gd name="connsiteY43" fmla="*/ 10000 h 10000"/>
                <a:gd name="connsiteX44" fmla="*/ 7251 w 10000"/>
                <a:gd name="connsiteY44" fmla="*/ 9605 h 10000"/>
                <a:gd name="connsiteX45" fmla="*/ 7521 w 10000"/>
                <a:gd name="connsiteY45" fmla="*/ 9631 h 10000"/>
                <a:gd name="connsiteX46" fmla="*/ 7727 w 10000"/>
                <a:gd name="connsiteY46" fmla="*/ 9421 h 10000"/>
                <a:gd name="connsiteX47" fmla="*/ 8015 w 10000"/>
                <a:gd name="connsiteY47" fmla="*/ 9631 h 10000"/>
                <a:gd name="connsiteX48" fmla="*/ 8389 w 10000"/>
                <a:gd name="connsiteY48" fmla="*/ 8980 h 10000"/>
                <a:gd name="connsiteX49" fmla="*/ 8521 w 10000"/>
                <a:gd name="connsiteY49" fmla="*/ 8980 h 10000"/>
                <a:gd name="connsiteX50" fmla="*/ 8760 w 10000"/>
                <a:gd name="connsiteY50" fmla="*/ 8455 h 10000"/>
                <a:gd name="connsiteX51" fmla="*/ 9775 w 10000"/>
                <a:gd name="connsiteY51" fmla="*/ 8429 h 10000"/>
                <a:gd name="connsiteX52" fmla="*/ 10000 w 10000"/>
                <a:gd name="connsiteY52" fmla="*/ 8217 h 10000"/>
                <a:gd name="connsiteX53" fmla="*/ 9983 w 10000"/>
                <a:gd name="connsiteY53" fmla="*/ 7959 h 10000"/>
                <a:gd name="connsiteX54" fmla="*/ 9915 w 10000"/>
                <a:gd name="connsiteY54" fmla="*/ 7383 h 10000"/>
                <a:gd name="connsiteX55" fmla="*/ 9491 w 10000"/>
                <a:gd name="connsiteY55" fmla="*/ 7196 h 10000"/>
                <a:gd name="connsiteX56" fmla="*/ 9288 w 10000"/>
                <a:gd name="connsiteY56" fmla="*/ 6280 h 10000"/>
                <a:gd name="connsiteX57" fmla="*/ 9169 w 10000"/>
                <a:gd name="connsiteY57" fmla="*/ 6176 h 10000"/>
                <a:gd name="connsiteX58" fmla="*/ 9138 w 10000"/>
                <a:gd name="connsiteY58" fmla="*/ 5524 h 10000"/>
                <a:gd name="connsiteX59" fmla="*/ 8985 w 10000"/>
                <a:gd name="connsiteY59" fmla="*/ 5494 h 10000"/>
                <a:gd name="connsiteX60" fmla="*/ 8928 w 10000"/>
                <a:gd name="connsiteY60" fmla="*/ 5158 h 10000"/>
                <a:gd name="connsiteX61" fmla="*/ 8674 w 10000"/>
                <a:gd name="connsiteY61" fmla="*/ 5075 h 10000"/>
                <a:gd name="connsiteX62" fmla="*/ 8590 w 10000"/>
                <a:gd name="connsiteY62" fmla="*/ 4557 h 10000"/>
                <a:gd name="connsiteX63" fmla="*/ 8168 w 10000"/>
                <a:gd name="connsiteY63" fmla="*/ 4057 h 10000"/>
                <a:gd name="connsiteX64" fmla="*/ 7708 w 10000"/>
                <a:gd name="connsiteY64" fmla="*/ 3978 h 10000"/>
                <a:gd name="connsiteX65" fmla="*/ 7829 w 10000"/>
                <a:gd name="connsiteY65" fmla="*/ 3402 h 10000"/>
                <a:gd name="connsiteX66" fmla="*/ 7796 w 10000"/>
                <a:gd name="connsiteY66" fmla="*/ 2982 h 10000"/>
                <a:gd name="connsiteX67" fmla="*/ 8185 w 10000"/>
                <a:gd name="connsiteY67" fmla="*/ 3011 h 10000"/>
                <a:gd name="connsiteX68" fmla="*/ 8269 w 10000"/>
                <a:gd name="connsiteY68" fmla="*/ 3136 h 10000"/>
                <a:gd name="connsiteX69" fmla="*/ 8506 w 10000"/>
                <a:gd name="connsiteY69" fmla="*/ 2874 h 10000"/>
                <a:gd name="connsiteX70" fmla="*/ 8575 w 10000"/>
                <a:gd name="connsiteY70" fmla="*/ 1939 h 10000"/>
                <a:gd name="connsiteX71" fmla="*/ 8474 w 10000"/>
                <a:gd name="connsiteY71" fmla="*/ 1228 h 10000"/>
                <a:gd name="connsiteX72" fmla="*/ 8760 w 10000"/>
                <a:gd name="connsiteY72" fmla="*/ 653 h 10000"/>
                <a:gd name="connsiteX73" fmla="*/ 8312 w 10000"/>
                <a:gd name="connsiteY73" fmla="*/ 5 h 10000"/>
                <a:gd name="connsiteX0" fmla="*/ 8312 w 10000"/>
                <a:gd name="connsiteY0" fmla="*/ 5 h 10000"/>
                <a:gd name="connsiteX1" fmla="*/ 5645 w 10000"/>
                <a:gd name="connsiteY1" fmla="*/ 427 h 10000"/>
                <a:gd name="connsiteX2" fmla="*/ 6223 w 10000"/>
                <a:gd name="connsiteY2" fmla="*/ 1770 h 10000"/>
                <a:gd name="connsiteX3" fmla="*/ 4417 w 10000"/>
                <a:gd name="connsiteY3" fmla="*/ 1579 h 10000"/>
                <a:gd name="connsiteX4" fmla="*/ 3551 w 10000"/>
                <a:gd name="connsiteY4" fmla="*/ 1482 h 10000"/>
                <a:gd name="connsiteX5" fmla="*/ 2597 w 10000"/>
                <a:gd name="connsiteY5" fmla="*/ 1795 h 10000"/>
                <a:gd name="connsiteX6" fmla="*/ 1875 w 10000"/>
                <a:gd name="connsiteY6" fmla="*/ 610 h 10000"/>
                <a:gd name="connsiteX7" fmla="*/ 1212 w 10000"/>
                <a:gd name="connsiteY7" fmla="*/ 1254 h 10000"/>
                <a:gd name="connsiteX8" fmla="*/ 508 w 10000"/>
                <a:gd name="connsiteY8" fmla="*/ 1283 h 10000"/>
                <a:gd name="connsiteX9" fmla="*/ 12 w 10000"/>
                <a:gd name="connsiteY9" fmla="*/ 2118 h 10000"/>
                <a:gd name="connsiteX10" fmla="*/ 151 w 10000"/>
                <a:gd name="connsiteY10" fmla="*/ 2299 h 10000"/>
                <a:gd name="connsiteX11" fmla="*/ 48 w 10000"/>
                <a:gd name="connsiteY11" fmla="*/ 2585 h 10000"/>
                <a:gd name="connsiteX12" fmla="*/ 625 w 10000"/>
                <a:gd name="connsiteY12" fmla="*/ 2668 h 10000"/>
                <a:gd name="connsiteX13" fmla="*/ 625 w 10000"/>
                <a:gd name="connsiteY13" fmla="*/ 2850 h 10000"/>
                <a:gd name="connsiteX14" fmla="*/ 605 w 10000"/>
                <a:gd name="connsiteY14" fmla="*/ 3270 h 10000"/>
                <a:gd name="connsiteX15" fmla="*/ 1216 w 10000"/>
                <a:gd name="connsiteY15" fmla="*/ 3423 h 10000"/>
                <a:gd name="connsiteX16" fmla="*/ 1216 w 10000"/>
                <a:gd name="connsiteY16" fmla="*/ 3774 h 10000"/>
                <a:gd name="connsiteX17" fmla="*/ 1539 w 10000"/>
                <a:gd name="connsiteY17" fmla="*/ 4030 h 10000"/>
                <a:gd name="connsiteX18" fmla="*/ 1437 w 10000"/>
                <a:gd name="connsiteY18" fmla="*/ 4418 h 10000"/>
                <a:gd name="connsiteX19" fmla="*/ 1891 w 10000"/>
                <a:gd name="connsiteY19" fmla="*/ 4763 h 10000"/>
                <a:gd name="connsiteX20" fmla="*/ 2167 w 10000"/>
                <a:gd name="connsiteY20" fmla="*/ 5389 h 10000"/>
                <a:gd name="connsiteX21" fmla="*/ 2419 w 10000"/>
                <a:gd name="connsiteY21" fmla="*/ 5631 h 10000"/>
                <a:gd name="connsiteX22" fmla="*/ 2318 w 10000"/>
                <a:gd name="connsiteY22" fmla="*/ 5839 h 10000"/>
                <a:gd name="connsiteX23" fmla="*/ 2454 w 10000"/>
                <a:gd name="connsiteY23" fmla="*/ 6073 h 10000"/>
                <a:gd name="connsiteX24" fmla="*/ 2434 w 10000"/>
                <a:gd name="connsiteY24" fmla="*/ 6406 h 10000"/>
                <a:gd name="connsiteX25" fmla="*/ 2696 w 10000"/>
                <a:gd name="connsiteY25" fmla="*/ 6440 h 10000"/>
                <a:gd name="connsiteX26" fmla="*/ 2980 w 10000"/>
                <a:gd name="connsiteY26" fmla="*/ 6810 h 10000"/>
                <a:gd name="connsiteX27" fmla="*/ 3050 w 10000"/>
                <a:gd name="connsiteY27" fmla="*/ 7383 h 10000"/>
                <a:gd name="connsiteX28" fmla="*/ 3114 w 10000"/>
                <a:gd name="connsiteY28" fmla="*/ 7595 h 10000"/>
                <a:gd name="connsiteX29" fmla="*/ 3471 w 10000"/>
                <a:gd name="connsiteY29" fmla="*/ 8084 h 10000"/>
                <a:gd name="connsiteX30" fmla="*/ 3471 w 10000"/>
                <a:gd name="connsiteY30" fmla="*/ 8455 h 10000"/>
                <a:gd name="connsiteX31" fmla="*/ 3997 w 10000"/>
                <a:gd name="connsiteY31" fmla="*/ 8853 h 10000"/>
                <a:gd name="connsiteX32" fmla="*/ 4285 w 10000"/>
                <a:gd name="connsiteY32" fmla="*/ 8429 h 10000"/>
                <a:gd name="connsiteX33" fmla="*/ 4643 w 10000"/>
                <a:gd name="connsiteY33" fmla="*/ 8749 h 10000"/>
                <a:gd name="connsiteX34" fmla="*/ 4928 w 10000"/>
                <a:gd name="connsiteY34" fmla="*/ 8271 h 10000"/>
                <a:gd name="connsiteX35" fmla="*/ 5251 w 10000"/>
                <a:gd name="connsiteY35" fmla="*/ 9030 h 10000"/>
                <a:gd name="connsiteX36" fmla="*/ 5709 w 10000"/>
                <a:gd name="connsiteY36" fmla="*/ 9452 h 10000"/>
                <a:gd name="connsiteX37" fmla="*/ 5759 w 10000"/>
                <a:gd name="connsiteY37" fmla="*/ 9825 h 10000"/>
                <a:gd name="connsiteX38" fmla="*/ 5946 w 10000"/>
                <a:gd name="connsiteY38" fmla="*/ 9873 h 10000"/>
                <a:gd name="connsiteX39" fmla="*/ 6216 w 10000"/>
                <a:gd name="connsiteY39" fmla="*/ 9527 h 10000"/>
                <a:gd name="connsiteX40" fmla="*/ 6558 w 10000"/>
                <a:gd name="connsiteY40" fmla="*/ 9740 h 10000"/>
                <a:gd name="connsiteX41" fmla="*/ 6675 w 10000"/>
                <a:gd name="connsiteY41" fmla="*/ 9556 h 10000"/>
                <a:gd name="connsiteX42" fmla="*/ 6797 w 10000"/>
                <a:gd name="connsiteY42" fmla="*/ 9527 h 10000"/>
                <a:gd name="connsiteX43" fmla="*/ 7029 w 10000"/>
                <a:gd name="connsiteY43" fmla="*/ 10000 h 10000"/>
                <a:gd name="connsiteX44" fmla="*/ 7251 w 10000"/>
                <a:gd name="connsiteY44" fmla="*/ 9605 h 10000"/>
                <a:gd name="connsiteX45" fmla="*/ 7521 w 10000"/>
                <a:gd name="connsiteY45" fmla="*/ 9631 h 10000"/>
                <a:gd name="connsiteX46" fmla="*/ 7727 w 10000"/>
                <a:gd name="connsiteY46" fmla="*/ 9421 h 10000"/>
                <a:gd name="connsiteX47" fmla="*/ 8015 w 10000"/>
                <a:gd name="connsiteY47" fmla="*/ 9631 h 10000"/>
                <a:gd name="connsiteX48" fmla="*/ 8389 w 10000"/>
                <a:gd name="connsiteY48" fmla="*/ 8980 h 10000"/>
                <a:gd name="connsiteX49" fmla="*/ 8521 w 10000"/>
                <a:gd name="connsiteY49" fmla="*/ 8980 h 10000"/>
                <a:gd name="connsiteX50" fmla="*/ 8760 w 10000"/>
                <a:gd name="connsiteY50" fmla="*/ 8455 h 10000"/>
                <a:gd name="connsiteX51" fmla="*/ 9775 w 10000"/>
                <a:gd name="connsiteY51" fmla="*/ 8429 h 10000"/>
                <a:gd name="connsiteX52" fmla="*/ 10000 w 10000"/>
                <a:gd name="connsiteY52" fmla="*/ 8217 h 10000"/>
                <a:gd name="connsiteX53" fmla="*/ 9983 w 10000"/>
                <a:gd name="connsiteY53" fmla="*/ 7959 h 10000"/>
                <a:gd name="connsiteX54" fmla="*/ 9915 w 10000"/>
                <a:gd name="connsiteY54" fmla="*/ 7383 h 10000"/>
                <a:gd name="connsiteX55" fmla="*/ 9491 w 10000"/>
                <a:gd name="connsiteY55" fmla="*/ 7196 h 10000"/>
                <a:gd name="connsiteX56" fmla="*/ 9288 w 10000"/>
                <a:gd name="connsiteY56" fmla="*/ 6280 h 10000"/>
                <a:gd name="connsiteX57" fmla="*/ 9169 w 10000"/>
                <a:gd name="connsiteY57" fmla="*/ 6176 h 10000"/>
                <a:gd name="connsiteX58" fmla="*/ 9138 w 10000"/>
                <a:gd name="connsiteY58" fmla="*/ 5524 h 10000"/>
                <a:gd name="connsiteX59" fmla="*/ 8985 w 10000"/>
                <a:gd name="connsiteY59" fmla="*/ 5494 h 10000"/>
                <a:gd name="connsiteX60" fmla="*/ 8928 w 10000"/>
                <a:gd name="connsiteY60" fmla="*/ 5158 h 10000"/>
                <a:gd name="connsiteX61" fmla="*/ 8674 w 10000"/>
                <a:gd name="connsiteY61" fmla="*/ 5075 h 10000"/>
                <a:gd name="connsiteX62" fmla="*/ 8590 w 10000"/>
                <a:gd name="connsiteY62" fmla="*/ 4557 h 10000"/>
                <a:gd name="connsiteX63" fmla="*/ 8168 w 10000"/>
                <a:gd name="connsiteY63" fmla="*/ 4057 h 10000"/>
                <a:gd name="connsiteX64" fmla="*/ 7708 w 10000"/>
                <a:gd name="connsiteY64" fmla="*/ 3978 h 10000"/>
                <a:gd name="connsiteX65" fmla="*/ 7829 w 10000"/>
                <a:gd name="connsiteY65" fmla="*/ 3402 h 10000"/>
                <a:gd name="connsiteX66" fmla="*/ 7796 w 10000"/>
                <a:gd name="connsiteY66" fmla="*/ 2982 h 10000"/>
                <a:gd name="connsiteX67" fmla="*/ 8185 w 10000"/>
                <a:gd name="connsiteY67" fmla="*/ 3011 h 10000"/>
                <a:gd name="connsiteX68" fmla="*/ 8269 w 10000"/>
                <a:gd name="connsiteY68" fmla="*/ 3136 h 10000"/>
                <a:gd name="connsiteX69" fmla="*/ 8506 w 10000"/>
                <a:gd name="connsiteY69" fmla="*/ 2874 h 10000"/>
                <a:gd name="connsiteX70" fmla="*/ 8575 w 10000"/>
                <a:gd name="connsiteY70" fmla="*/ 1939 h 10000"/>
                <a:gd name="connsiteX71" fmla="*/ 8474 w 10000"/>
                <a:gd name="connsiteY71" fmla="*/ 1228 h 10000"/>
                <a:gd name="connsiteX72" fmla="*/ 8760 w 10000"/>
                <a:gd name="connsiteY72" fmla="*/ 653 h 10000"/>
                <a:gd name="connsiteX73" fmla="*/ 8312 w 10000"/>
                <a:gd name="connsiteY73" fmla="*/ 5 h 10000"/>
                <a:gd name="connsiteX0" fmla="*/ 8312 w 10000"/>
                <a:gd name="connsiteY0" fmla="*/ 5 h 10000"/>
                <a:gd name="connsiteX1" fmla="*/ 5645 w 10000"/>
                <a:gd name="connsiteY1" fmla="*/ 427 h 10000"/>
                <a:gd name="connsiteX2" fmla="*/ 5356 w 10000"/>
                <a:gd name="connsiteY2" fmla="*/ 714 h 10000"/>
                <a:gd name="connsiteX3" fmla="*/ 4417 w 10000"/>
                <a:gd name="connsiteY3" fmla="*/ 1579 h 10000"/>
                <a:gd name="connsiteX4" fmla="*/ 3551 w 10000"/>
                <a:gd name="connsiteY4" fmla="*/ 1482 h 10000"/>
                <a:gd name="connsiteX5" fmla="*/ 2597 w 10000"/>
                <a:gd name="connsiteY5" fmla="*/ 1795 h 10000"/>
                <a:gd name="connsiteX6" fmla="*/ 1875 w 10000"/>
                <a:gd name="connsiteY6" fmla="*/ 610 h 10000"/>
                <a:gd name="connsiteX7" fmla="*/ 1212 w 10000"/>
                <a:gd name="connsiteY7" fmla="*/ 1254 h 10000"/>
                <a:gd name="connsiteX8" fmla="*/ 508 w 10000"/>
                <a:gd name="connsiteY8" fmla="*/ 1283 h 10000"/>
                <a:gd name="connsiteX9" fmla="*/ 12 w 10000"/>
                <a:gd name="connsiteY9" fmla="*/ 2118 h 10000"/>
                <a:gd name="connsiteX10" fmla="*/ 151 w 10000"/>
                <a:gd name="connsiteY10" fmla="*/ 2299 h 10000"/>
                <a:gd name="connsiteX11" fmla="*/ 48 w 10000"/>
                <a:gd name="connsiteY11" fmla="*/ 2585 h 10000"/>
                <a:gd name="connsiteX12" fmla="*/ 625 w 10000"/>
                <a:gd name="connsiteY12" fmla="*/ 2668 h 10000"/>
                <a:gd name="connsiteX13" fmla="*/ 625 w 10000"/>
                <a:gd name="connsiteY13" fmla="*/ 2850 h 10000"/>
                <a:gd name="connsiteX14" fmla="*/ 605 w 10000"/>
                <a:gd name="connsiteY14" fmla="*/ 3270 h 10000"/>
                <a:gd name="connsiteX15" fmla="*/ 1216 w 10000"/>
                <a:gd name="connsiteY15" fmla="*/ 3423 h 10000"/>
                <a:gd name="connsiteX16" fmla="*/ 1216 w 10000"/>
                <a:gd name="connsiteY16" fmla="*/ 3774 h 10000"/>
                <a:gd name="connsiteX17" fmla="*/ 1539 w 10000"/>
                <a:gd name="connsiteY17" fmla="*/ 4030 h 10000"/>
                <a:gd name="connsiteX18" fmla="*/ 1437 w 10000"/>
                <a:gd name="connsiteY18" fmla="*/ 4418 h 10000"/>
                <a:gd name="connsiteX19" fmla="*/ 1891 w 10000"/>
                <a:gd name="connsiteY19" fmla="*/ 4763 h 10000"/>
                <a:gd name="connsiteX20" fmla="*/ 2167 w 10000"/>
                <a:gd name="connsiteY20" fmla="*/ 5389 h 10000"/>
                <a:gd name="connsiteX21" fmla="*/ 2419 w 10000"/>
                <a:gd name="connsiteY21" fmla="*/ 5631 h 10000"/>
                <a:gd name="connsiteX22" fmla="*/ 2318 w 10000"/>
                <a:gd name="connsiteY22" fmla="*/ 5839 h 10000"/>
                <a:gd name="connsiteX23" fmla="*/ 2454 w 10000"/>
                <a:gd name="connsiteY23" fmla="*/ 6073 h 10000"/>
                <a:gd name="connsiteX24" fmla="*/ 2434 w 10000"/>
                <a:gd name="connsiteY24" fmla="*/ 6406 h 10000"/>
                <a:gd name="connsiteX25" fmla="*/ 2696 w 10000"/>
                <a:gd name="connsiteY25" fmla="*/ 6440 h 10000"/>
                <a:gd name="connsiteX26" fmla="*/ 2980 w 10000"/>
                <a:gd name="connsiteY26" fmla="*/ 6810 h 10000"/>
                <a:gd name="connsiteX27" fmla="*/ 3050 w 10000"/>
                <a:gd name="connsiteY27" fmla="*/ 7383 h 10000"/>
                <a:gd name="connsiteX28" fmla="*/ 3114 w 10000"/>
                <a:gd name="connsiteY28" fmla="*/ 7595 h 10000"/>
                <a:gd name="connsiteX29" fmla="*/ 3471 w 10000"/>
                <a:gd name="connsiteY29" fmla="*/ 8084 h 10000"/>
                <a:gd name="connsiteX30" fmla="*/ 3471 w 10000"/>
                <a:gd name="connsiteY30" fmla="*/ 8455 h 10000"/>
                <a:gd name="connsiteX31" fmla="*/ 3997 w 10000"/>
                <a:gd name="connsiteY31" fmla="*/ 8853 h 10000"/>
                <a:gd name="connsiteX32" fmla="*/ 4285 w 10000"/>
                <a:gd name="connsiteY32" fmla="*/ 8429 h 10000"/>
                <a:gd name="connsiteX33" fmla="*/ 4643 w 10000"/>
                <a:gd name="connsiteY33" fmla="*/ 8749 h 10000"/>
                <a:gd name="connsiteX34" fmla="*/ 4928 w 10000"/>
                <a:gd name="connsiteY34" fmla="*/ 8271 h 10000"/>
                <a:gd name="connsiteX35" fmla="*/ 5251 w 10000"/>
                <a:gd name="connsiteY35" fmla="*/ 9030 h 10000"/>
                <a:gd name="connsiteX36" fmla="*/ 5709 w 10000"/>
                <a:gd name="connsiteY36" fmla="*/ 9452 h 10000"/>
                <a:gd name="connsiteX37" fmla="*/ 5759 w 10000"/>
                <a:gd name="connsiteY37" fmla="*/ 9825 h 10000"/>
                <a:gd name="connsiteX38" fmla="*/ 5946 w 10000"/>
                <a:gd name="connsiteY38" fmla="*/ 9873 h 10000"/>
                <a:gd name="connsiteX39" fmla="*/ 6216 w 10000"/>
                <a:gd name="connsiteY39" fmla="*/ 9527 h 10000"/>
                <a:gd name="connsiteX40" fmla="*/ 6558 w 10000"/>
                <a:gd name="connsiteY40" fmla="*/ 9740 h 10000"/>
                <a:gd name="connsiteX41" fmla="*/ 6675 w 10000"/>
                <a:gd name="connsiteY41" fmla="*/ 9556 h 10000"/>
                <a:gd name="connsiteX42" fmla="*/ 6797 w 10000"/>
                <a:gd name="connsiteY42" fmla="*/ 9527 h 10000"/>
                <a:gd name="connsiteX43" fmla="*/ 7029 w 10000"/>
                <a:gd name="connsiteY43" fmla="*/ 10000 h 10000"/>
                <a:gd name="connsiteX44" fmla="*/ 7251 w 10000"/>
                <a:gd name="connsiteY44" fmla="*/ 9605 h 10000"/>
                <a:gd name="connsiteX45" fmla="*/ 7521 w 10000"/>
                <a:gd name="connsiteY45" fmla="*/ 9631 h 10000"/>
                <a:gd name="connsiteX46" fmla="*/ 7727 w 10000"/>
                <a:gd name="connsiteY46" fmla="*/ 9421 h 10000"/>
                <a:gd name="connsiteX47" fmla="*/ 8015 w 10000"/>
                <a:gd name="connsiteY47" fmla="*/ 9631 h 10000"/>
                <a:gd name="connsiteX48" fmla="*/ 8389 w 10000"/>
                <a:gd name="connsiteY48" fmla="*/ 8980 h 10000"/>
                <a:gd name="connsiteX49" fmla="*/ 8521 w 10000"/>
                <a:gd name="connsiteY49" fmla="*/ 8980 h 10000"/>
                <a:gd name="connsiteX50" fmla="*/ 8760 w 10000"/>
                <a:gd name="connsiteY50" fmla="*/ 8455 h 10000"/>
                <a:gd name="connsiteX51" fmla="*/ 9775 w 10000"/>
                <a:gd name="connsiteY51" fmla="*/ 8429 h 10000"/>
                <a:gd name="connsiteX52" fmla="*/ 10000 w 10000"/>
                <a:gd name="connsiteY52" fmla="*/ 8217 h 10000"/>
                <a:gd name="connsiteX53" fmla="*/ 9983 w 10000"/>
                <a:gd name="connsiteY53" fmla="*/ 7959 h 10000"/>
                <a:gd name="connsiteX54" fmla="*/ 9915 w 10000"/>
                <a:gd name="connsiteY54" fmla="*/ 7383 h 10000"/>
                <a:gd name="connsiteX55" fmla="*/ 9491 w 10000"/>
                <a:gd name="connsiteY55" fmla="*/ 7196 h 10000"/>
                <a:gd name="connsiteX56" fmla="*/ 9288 w 10000"/>
                <a:gd name="connsiteY56" fmla="*/ 6280 h 10000"/>
                <a:gd name="connsiteX57" fmla="*/ 9169 w 10000"/>
                <a:gd name="connsiteY57" fmla="*/ 6176 h 10000"/>
                <a:gd name="connsiteX58" fmla="*/ 9138 w 10000"/>
                <a:gd name="connsiteY58" fmla="*/ 5524 h 10000"/>
                <a:gd name="connsiteX59" fmla="*/ 8985 w 10000"/>
                <a:gd name="connsiteY59" fmla="*/ 5494 h 10000"/>
                <a:gd name="connsiteX60" fmla="*/ 8928 w 10000"/>
                <a:gd name="connsiteY60" fmla="*/ 5158 h 10000"/>
                <a:gd name="connsiteX61" fmla="*/ 8674 w 10000"/>
                <a:gd name="connsiteY61" fmla="*/ 5075 h 10000"/>
                <a:gd name="connsiteX62" fmla="*/ 8590 w 10000"/>
                <a:gd name="connsiteY62" fmla="*/ 4557 h 10000"/>
                <a:gd name="connsiteX63" fmla="*/ 8168 w 10000"/>
                <a:gd name="connsiteY63" fmla="*/ 4057 h 10000"/>
                <a:gd name="connsiteX64" fmla="*/ 7708 w 10000"/>
                <a:gd name="connsiteY64" fmla="*/ 3978 h 10000"/>
                <a:gd name="connsiteX65" fmla="*/ 7829 w 10000"/>
                <a:gd name="connsiteY65" fmla="*/ 3402 h 10000"/>
                <a:gd name="connsiteX66" fmla="*/ 7796 w 10000"/>
                <a:gd name="connsiteY66" fmla="*/ 2982 h 10000"/>
                <a:gd name="connsiteX67" fmla="*/ 8185 w 10000"/>
                <a:gd name="connsiteY67" fmla="*/ 3011 h 10000"/>
                <a:gd name="connsiteX68" fmla="*/ 8269 w 10000"/>
                <a:gd name="connsiteY68" fmla="*/ 3136 h 10000"/>
                <a:gd name="connsiteX69" fmla="*/ 8506 w 10000"/>
                <a:gd name="connsiteY69" fmla="*/ 2874 h 10000"/>
                <a:gd name="connsiteX70" fmla="*/ 8575 w 10000"/>
                <a:gd name="connsiteY70" fmla="*/ 1939 h 10000"/>
                <a:gd name="connsiteX71" fmla="*/ 8474 w 10000"/>
                <a:gd name="connsiteY71" fmla="*/ 1228 h 10000"/>
                <a:gd name="connsiteX72" fmla="*/ 8760 w 10000"/>
                <a:gd name="connsiteY72" fmla="*/ 653 h 10000"/>
                <a:gd name="connsiteX73" fmla="*/ 8312 w 10000"/>
                <a:gd name="connsiteY73" fmla="*/ 5 h 10000"/>
                <a:gd name="connsiteX0" fmla="*/ 8312 w 10000"/>
                <a:gd name="connsiteY0" fmla="*/ 20 h 10015"/>
                <a:gd name="connsiteX1" fmla="*/ 6367 w 10000"/>
                <a:gd name="connsiteY1" fmla="*/ 1498 h 10015"/>
                <a:gd name="connsiteX2" fmla="*/ 5356 w 10000"/>
                <a:gd name="connsiteY2" fmla="*/ 729 h 10015"/>
                <a:gd name="connsiteX3" fmla="*/ 4417 w 10000"/>
                <a:gd name="connsiteY3" fmla="*/ 1594 h 10015"/>
                <a:gd name="connsiteX4" fmla="*/ 3551 w 10000"/>
                <a:gd name="connsiteY4" fmla="*/ 1497 h 10015"/>
                <a:gd name="connsiteX5" fmla="*/ 2597 w 10000"/>
                <a:gd name="connsiteY5" fmla="*/ 1810 h 10015"/>
                <a:gd name="connsiteX6" fmla="*/ 1875 w 10000"/>
                <a:gd name="connsiteY6" fmla="*/ 625 h 10015"/>
                <a:gd name="connsiteX7" fmla="*/ 1212 w 10000"/>
                <a:gd name="connsiteY7" fmla="*/ 1269 h 10015"/>
                <a:gd name="connsiteX8" fmla="*/ 508 w 10000"/>
                <a:gd name="connsiteY8" fmla="*/ 1298 h 10015"/>
                <a:gd name="connsiteX9" fmla="*/ 12 w 10000"/>
                <a:gd name="connsiteY9" fmla="*/ 2133 h 10015"/>
                <a:gd name="connsiteX10" fmla="*/ 151 w 10000"/>
                <a:gd name="connsiteY10" fmla="*/ 2314 h 10015"/>
                <a:gd name="connsiteX11" fmla="*/ 48 w 10000"/>
                <a:gd name="connsiteY11" fmla="*/ 2600 h 10015"/>
                <a:gd name="connsiteX12" fmla="*/ 625 w 10000"/>
                <a:gd name="connsiteY12" fmla="*/ 2683 h 10015"/>
                <a:gd name="connsiteX13" fmla="*/ 625 w 10000"/>
                <a:gd name="connsiteY13" fmla="*/ 2865 h 10015"/>
                <a:gd name="connsiteX14" fmla="*/ 605 w 10000"/>
                <a:gd name="connsiteY14" fmla="*/ 3285 h 10015"/>
                <a:gd name="connsiteX15" fmla="*/ 1216 w 10000"/>
                <a:gd name="connsiteY15" fmla="*/ 3438 h 10015"/>
                <a:gd name="connsiteX16" fmla="*/ 1216 w 10000"/>
                <a:gd name="connsiteY16" fmla="*/ 3789 h 10015"/>
                <a:gd name="connsiteX17" fmla="*/ 1539 w 10000"/>
                <a:gd name="connsiteY17" fmla="*/ 4045 h 10015"/>
                <a:gd name="connsiteX18" fmla="*/ 1437 w 10000"/>
                <a:gd name="connsiteY18" fmla="*/ 4433 h 10015"/>
                <a:gd name="connsiteX19" fmla="*/ 1891 w 10000"/>
                <a:gd name="connsiteY19" fmla="*/ 4778 h 10015"/>
                <a:gd name="connsiteX20" fmla="*/ 2167 w 10000"/>
                <a:gd name="connsiteY20" fmla="*/ 5404 h 10015"/>
                <a:gd name="connsiteX21" fmla="*/ 2419 w 10000"/>
                <a:gd name="connsiteY21" fmla="*/ 5646 h 10015"/>
                <a:gd name="connsiteX22" fmla="*/ 2318 w 10000"/>
                <a:gd name="connsiteY22" fmla="*/ 5854 h 10015"/>
                <a:gd name="connsiteX23" fmla="*/ 2454 w 10000"/>
                <a:gd name="connsiteY23" fmla="*/ 6088 h 10015"/>
                <a:gd name="connsiteX24" fmla="*/ 2434 w 10000"/>
                <a:gd name="connsiteY24" fmla="*/ 6421 h 10015"/>
                <a:gd name="connsiteX25" fmla="*/ 2696 w 10000"/>
                <a:gd name="connsiteY25" fmla="*/ 6455 h 10015"/>
                <a:gd name="connsiteX26" fmla="*/ 2980 w 10000"/>
                <a:gd name="connsiteY26" fmla="*/ 6825 h 10015"/>
                <a:gd name="connsiteX27" fmla="*/ 3050 w 10000"/>
                <a:gd name="connsiteY27" fmla="*/ 7398 h 10015"/>
                <a:gd name="connsiteX28" fmla="*/ 3114 w 10000"/>
                <a:gd name="connsiteY28" fmla="*/ 7610 h 10015"/>
                <a:gd name="connsiteX29" fmla="*/ 3471 w 10000"/>
                <a:gd name="connsiteY29" fmla="*/ 8099 h 10015"/>
                <a:gd name="connsiteX30" fmla="*/ 3471 w 10000"/>
                <a:gd name="connsiteY30" fmla="*/ 8470 h 10015"/>
                <a:gd name="connsiteX31" fmla="*/ 3997 w 10000"/>
                <a:gd name="connsiteY31" fmla="*/ 8868 h 10015"/>
                <a:gd name="connsiteX32" fmla="*/ 4285 w 10000"/>
                <a:gd name="connsiteY32" fmla="*/ 8444 h 10015"/>
                <a:gd name="connsiteX33" fmla="*/ 4643 w 10000"/>
                <a:gd name="connsiteY33" fmla="*/ 8764 h 10015"/>
                <a:gd name="connsiteX34" fmla="*/ 4928 w 10000"/>
                <a:gd name="connsiteY34" fmla="*/ 8286 h 10015"/>
                <a:gd name="connsiteX35" fmla="*/ 5251 w 10000"/>
                <a:gd name="connsiteY35" fmla="*/ 9045 h 10015"/>
                <a:gd name="connsiteX36" fmla="*/ 5709 w 10000"/>
                <a:gd name="connsiteY36" fmla="*/ 9467 h 10015"/>
                <a:gd name="connsiteX37" fmla="*/ 5759 w 10000"/>
                <a:gd name="connsiteY37" fmla="*/ 9840 h 10015"/>
                <a:gd name="connsiteX38" fmla="*/ 5946 w 10000"/>
                <a:gd name="connsiteY38" fmla="*/ 9888 h 10015"/>
                <a:gd name="connsiteX39" fmla="*/ 6216 w 10000"/>
                <a:gd name="connsiteY39" fmla="*/ 9542 h 10015"/>
                <a:gd name="connsiteX40" fmla="*/ 6558 w 10000"/>
                <a:gd name="connsiteY40" fmla="*/ 9755 h 10015"/>
                <a:gd name="connsiteX41" fmla="*/ 6675 w 10000"/>
                <a:gd name="connsiteY41" fmla="*/ 9571 h 10015"/>
                <a:gd name="connsiteX42" fmla="*/ 6797 w 10000"/>
                <a:gd name="connsiteY42" fmla="*/ 9542 h 10015"/>
                <a:gd name="connsiteX43" fmla="*/ 7029 w 10000"/>
                <a:gd name="connsiteY43" fmla="*/ 10015 h 10015"/>
                <a:gd name="connsiteX44" fmla="*/ 7251 w 10000"/>
                <a:gd name="connsiteY44" fmla="*/ 9620 h 10015"/>
                <a:gd name="connsiteX45" fmla="*/ 7521 w 10000"/>
                <a:gd name="connsiteY45" fmla="*/ 9646 h 10015"/>
                <a:gd name="connsiteX46" fmla="*/ 7727 w 10000"/>
                <a:gd name="connsiteY46" fmla="*/ 9436 h 10015"/>
                <a:gd name="connsiteX47" fmla="*/ 8015 w 10000"/>
                <a:gd name="connsiteY47" fmla="*/ 9646 h 10015"/>
                <a:gd name="connsiteX48" fmla="*/ 8389 w 10000"/>
                <a:gd name="connsiteY48" fmla="*/ 8995 h 10015"/>
                <a:gd name="connsiteX49" fmla="*/ 8521 w 10000"/>
                <a:gd name="connsiteY49" fmla="*/ 8995 h 10015"/>
                <a:gd name="connsiteX50" fmla="*/ 8760 w 10000"/>
                <a:gd name="connsiteY50" fmla="*/ 8470 h 10015"/>
                <a:gd name="connsiteX51" fmla="*/ 9775 w 10000"/>
                <a:gd name="connsiteY51" fmla="*/ 8444 h 10015"/>
                <a:gd name="connsiteX52" fmla="*/ 10000 w 10000"/>
                <a:gd name="connsiteY52" fmla="*/ 8232 h 10015"/>
                <a:gd name="connsiteX53" fmla="*/ 9983 w 10000"/>
                <a:gd name="connsiteY53" fmla="*/ 7974 h 10015"/>
                <a:gd name="connsiteX54" fmla="*/ 9915 w 10000"/>
                <a:gd name="connsiteY54" fmla="*/ 7398 h 10015"/>
                <a:gd name="connsiteX55" fmla="*/ 9491 w 10000"/>
                <a:gd name="connsiteY55" fmla="*/ 7211 h 10015"/>
                <a:gd name="connsiteX56" fmla="*/ 9288 w 10000"/>
                <a:gd name="connsiteY56" fmla="*/ 6295 h 10015"/>
                <a:gd name="connsiteX57" fmla="*/ 9169 w 10000"/>
                <a:gd name="connsiteY57" fmla="*/ 6191 h 10015"/>
                <a:gd name="connsiteX58" fmla="*/ 9138 w 10000"/>
                <a:gd name="connsiteY58" fmla="*/ 5539 h 10015"/>
                <a:gd name="connsiteX59" fmla="*/ 8985 w 10000"/>
                <a:gd name="connsiteY59" fmla="*/ 5509 h 10015"/>
                <a:gd name="connsiteX60" fmla="*/ 8928 w 10000"/>
                <a:gd name="connsiteY60" fmla="*/ 5173 h 10015"/>
                <a:gd name="connsiteX61" fmla="*/ 8674 w 10000"/>
                <a:gd name="connsiteY61" fmla="*/ 5090 h 10015"/>
                <a:gd name="connsiteX62" fmla="*/ 8590 w 10000"/>
                <a:gd name="connsiteY62" fmla="*/ 4572 h 10015"/>
                <a:gd name="connsiteX63" fmla="*/ 8168 w 10000"/>
                <a:gd name="connsiteY63" fmla="*/ 4072 h 10015"/>
                <a:gd name="connsiteX64" fmla="*/ 7708 w 10000"/>
                <a:gd name="connsiteY64" fmla="*/ 3993 h 10015"/>
                <a:gd name="connsiteX65" fmla="*/ 7829 w 10000"/>
                <a:gd name="connsiteY65" fmla="*/ 3417 h 10015"/>
                <a:gd name="connsiteX66" fmla="*/ 7796 w 10000"/>
                <a:gd name="connsiteY66" fmla="*/ 2997 h 10015"/>
                <a:gd name="connsiteX67" fmla="*/ 8185 w 10000"/>
                <a:gd name="connsiteY67" fmla="*/ 3026 h 10015"/>
                <a:gd name="connsiteX68" fmla="*/ 8269 w 10000"/>
                <a:gd name="connsiteY68" fmla="*/ 3151 h 10015"/>
                <a:gd name="connsiteX69" fmla="*/ 8506 w 10000"/>
                <a:gd name="connsiteY69" fmla="*/ 2889 h 10015"/>
                <a:gd name="connsiteX70" fmla="*/ 8575 w 10000"/>
                <a:gd name="connsiteY70" fmla="*/ 1954 h 10015"/>
                <a:gd name="connsiteX71" fmla="*/ 8474 w 10000"/>
                <a:gd name="connsiteY71" fmla="*/ 1243 h 10015"/>
                <a:gd name="connsiteX72" fmla="*/ 8760 w 10000"/>
                <a:gd name="connsiteY72" fmla="*/ 668 h 10015"/>
                <a:gd name="connsiteX73" fmla="*/ 8312 w 10000"/>
                <a:gd name="connsiteY73" fmla="*/ 20 h 10015"/>
                <a:gd name="connsiteX0" fmla="*/ 8312 w 10000"/>
                <a:gd name="connsiteY0" fmla="*/ 20 h 10015"/>
                <a:gd name="connsiteX1" fmla="*/ 7451 w 10000"/>
                <a:gd name="connsiteY1" fmla="*/ 921 h 10015"/>
                <a:gd name="connsiteX2" fmla="*/ 6367 w 10000"/>
                <a:gd name="connsiteY2" fmla="*/ 1498 h 10015"/>
                <a:gd name="connsiteX3" fmla="*/ 5356 w 10000"/>
                <a:gd name="connsiteY3" fmla="*/ 729 h 10015"/>
                <a:gd name="connsiteX4" fmla="*/ 4417 w 10000"/>
                <a:gd name="connsiteY4" fmla="*/ 1594 h 10015"/>
                <a:gd name="connsiteX5" fmla="*/ 3551 w 10000"/>
                <a:gd name="connsiteY5" fmla="*/ 1497 h 10015"/>
                <a:gd name="connsiteX6" fmla="*/ 2597 w 10000"/>
                <a:gd name="connsiteY6" fmla="*/ 1810 h 10015"/>
                <a:gd name="connsiteX7" fmla="*/ 1875 w 10000"/>
                <a:gd name="connsiteY7" fmla="*/ 625 h 10015"/>
                <a:gd name="connsiteX8" fmla="*/ 1212 w 10000"/>
                <a:gd name="connsiteY8" fmla="*/ 1269 h 10015"/>
                <a:gd name="connsiteX9" fmla="*/ 508 w 10000"/>
                <a:gd name="connsiteY9" fmla="*/ 1298 h 10015"/>
                <a:gd name="connsiteX10" fmla="*/ 12 w 10000"/>
                <a:gd name="connsiteY10" fmla="*/ 2133 h 10015"/>
                <a:gd name="connsiteX11" fmla="*/ 151 w 10000"/>
                <a:gd name="connsiteY11" fmla="*/ 2314 h 10015"/>
                <a:gd name="connsiteX12" fmla="*/ 48 w 10000"/>
                <a:gd name="connsiteY12" fmla="*/ 2600 h 10015"/>
                <a:gd name="connsiteX13" fmla="*/ 625 w 10000"/>
                <a:gd name="connsiteY13" fmla="*/ 2683 h 10015"/>
                <a:gd name="connsiteX14" fmla="*/ 625 w 10000"/>
                <a:gd name="connsiteY14" fmla="*/ 2865 h 10015"/>
                <a:gd name="connsiteX15" fmla="*/ 605 w 10000"/>
                <a:gd name="connsiteY15" fmla="*/ 3285 h 10015"/>
                <a:gd name="connsiteX16" fmla="*/ 1216 w 10000"/>
                <a:gd name="connsiteY16" fmla="*/ 3438 h 10015"/>
                <a:gd name="connsiteX17" fmla="*/ 1216 w 10000"/>
                <a:gd name="connsiteY17" fmla="*/ 3789 h 10015"/>
                <a:gd name="connsiteX18" fmla="*/ 1539 w 10000"/>
                <a:gd name="connsiteY18" fmla="*/ 4045 h 10015"/>
                <a:gd name="connsiteX19" fmla="*/ 1437 w 10000"/>
                <a:gd name="connsiteY19" fmla="*/ 4433 h 10015"/>
                <a:gd name="connsiteX20" fmla="*/ 1891 w 10000"/>
                <a:gd name="connsiteY20" fmla="*/ 4778 h 10015"/>
                <a:gd name="connsiteX21" fmla="*/ 2167 w 10000"/>
                <a:gd name="connsiteY21" fmla="*/ 5404 h 10015"/>
                <a:gd name="connsiteX22" fmla="*/ 2419 w 10000"/>
                <a:gd name="connsiteY22" fmla="*/ 5646 h 10015"/>
                <a:gd name="connsiteX23" fmla="*/ 2318 w 10000"/>
                <a:gd name="connsiteY23" fmla="*/ 5854 h 10015"/>
                <a:gd name="connsiteX24" fmla="*/ 2454 w 10000"/>
                <a:gd name="connsiteY24" fmla="*/ 6088 h 10015"/>
                <a:gd name="connsiteX25" fmla="*/ 2434 w 10000"/>
                <a:gd name="connsiteY25" fmla="*/ 6421 h 10015"/>
                <a:gd name="connsiteX26" fmla="*/ 2696 w 10000"/>
                <a:gd name="connsiteY26" fmla="*/ 6455 h 10015"/>
                <a:gd name="connsiteX27" fmla="*/ 2980 w 10000"/>
                <a:gd name="connsiteY27" fmla="*/ 6825 h 10015"/>
                <a:gd name="connsiteX28" fmla="*/ 3050 w 10000"/>
                <a:gd name="connsiteY28" fmla="*/ 7398 h 10015"/>
                <a:gd name="connsiteX29" fmla="*/ 3114 w 10000"/>
                <a:gd name="connsiteY29" fmla="*/ 7610 h 10015"/>
                <a:gd name="connsiteX30" fmla="*/ 3471 w 10000"/>
                <a:gd name="connsiteY30" fmla="*/ 8099 h 10015"/>
                <a:gd name="connsiteX31" fmla="*/ 3471 w 10000"/>
                <a:gd name="connsiteY31" fmla="*/ 8470 h 10015"/>
                <a:gd name="connsiteX32" fmla="*/ 3997 w 10000"/>
                <a:gd name="connsiteY32" fmla="*/ 8868 h 10015"/>
                <a:gd name="connsiteX33" fmla="*/ 4285 w 10000"/>
                <a:gd name="connsiteY33" fmla="*/ 8444 h 10015"/>
                <a:gd name="connsiteX34" fmla="*/ 4643 w 10000"/>
                <a:gd name="connsiteY34" fmla="*/ 8764 h 10015"/>
                <a:gd name="connsiteX35" fmla="*/ 4928 w 10000"/>
                <a:gd name="connsiteY35" fmla="*/ 8286 h 10015"/>
                <a:gd name="connsiteX36" fmla="*/ 5251 w 10000"/>
                <a:gd name="connsiteY36" fmla="*/ 9045 h 10015"/>
                <a:gd name="connsiteX37" fmla="*/ 5709 w 10000"/>
                <a:gd name="connsiteY37" fmla="*/ 9467 h 10015"/>
                <a:gd name="connsiteX38" fmla="*/ 5759 w 10000"/>
                <a:gd name="connsiteY38" fmla="*/ 9840 h 10015"/>
                <a:gd name="connsiteX39" fmla="*/ 5946 w 10000"/>
                <a:gd name="connsiteY39" fmla="*/ 9888 h 10015"/>
                <a:gd name="connsiteX40" fmla="*/ 6216 w 10000"/>
                <a:gd name="connsiteY40" fmla="*/ 9542 h 10015"/>
                <a:gd name="connsiteX41" fmla="*/ 6558 w 10000"/>
                <a:gd name="connsiteY41" fmla="*/ 9755 h 10015"/>
                <a:gd name="connsiteX42" fmla="*/ 6675 w 10000"/>
                <a:gd name="connsiteY42" fmla="*/ 9571 h 10015"/>
                <a:gd name="connsiteX43" fmla="*/ 6797 w 10000"/>
                <a:gd name="connsiteY43" fmla="*/ 9542 h 10015"/>
                <a:gd name="connsiteX44" fmla="*/ 7029 w 10000"/>
                <a:gd name="connsiteY44" fmla="*/ 10015 h 10015"/>
                <a:gd name="connsiteX45" fmla="*/ 7251 w 10000"/>
                <a:gd name="connsiteY45" fmla="*/ 9620 h 10015"/>
                <a:gd name="connsiteX46" fmla="*/ 7521 w 10000"/>
                <a:gd name="connsiteY46" fmla="*/ 9646 h 10015"/>
                <a:gd name="connsiteX47" fmla="*/ 7727 w 10000"/>
                <a:gd name="connsiteY47" fmla="*/ 9436 h 10015"/>
                <a:gd name="connsiteX48" fmla="*/ 8015 w 10000"/>
                <a:gd name="connsiteY48" fmla="*/ 9646 h 10015"/>
                <a:gd name="connsiteX49" fmla="*/ 8389 w 10000"/>
                <a:gd name="connsiteY49" fmla="*/ 8995 h 10015"/>
                <a:gd name="connsiteX50" fmla="*/ 8521 w 10000"/>
                <a:gd name="connsiteY50" fmla="*/ 8995 h 10015"/>
                <a:gd name="connsiteX51" fmla="*/ 8760 w 10000"/>
                <a:gd name="connsiteY51" fmla="*/ 8470 h 10015"/>
                <a:gd name="connsiteX52" fmla="*/ 9775 w 10000"/>
                <a:gd name="connsiteY52" fmla="*/ 8444 h 10015"/>
                <a:gd name="connsiteX53" fmla="*/ 10000 w 10000"/>
                <a:gd name="connsiteY53" fmla="*/ 8232 h 10015"/>
                <a:gd name="connsiteX54" fmla="*/ 9983 w 10000"/>
                <a:gd name="connsiteY54" fmla="*/ 7974 h 10015"/>
                <a:gd name="connsiteX55" fmla="*/ 9915 w 10000"/>
                <a:gd name="connsiteY55" fmla="*/ 7398 h 10015"/>
                <a:gd name="connsiteX56" fmla="*/ 9491 w 10000"/>
                <a:gd name="connsiteY56" fmla="*/ 7211 h 10015"/>
                <a:gd name="connsiteX57" fmla="*/ 9288 w 10000"/>
                <a:gd name="connsiteY57" fmla="*/ 6295 h 10015"/>
                <a:gd name="connsiteX58" fmla="*/ 9169 w 10000"/>
                <a:gd name="connsiteY58" fmla="*/ 6191 h 10015"/>
                <a:gd name="connsiteX59" fmla="*/ 9138 w 10000"/>
                <a:gd name="connsiteY59" fmla="*/ 5539 h 10015"/>
                <a:gd name="connsiteX60" fmla="*/ 8985 w 10000"/>
                <a:gd name="connsiteY60" fmla="*/ 5509 h 10015"/>
                <a:gd name="connsiteX61" fmla="*/ 8928 w 10000"/>
                <a:gd name="connsiteY61" fmla="*/ 5173 h 10015"/>
                <a:gd name="connsiteX62" fmla="*/ 8674 w 10000"/>
                <a:gd name="connsiteY62" fmla="*/ 5090 h 10015"/>
                <a:gd name="connsiteX63" fmla="*/ 8590 w 10000"/>
                <a:gd name="connsiteY63" fmla="*/ 4572 h 10015"/>
                <a:gd name="connsiteX64" fmla="*/ 8168 w 10000"/>
                <a:gd name="connsiteY64" fmla="*/ 4072 h 10015"/>
                <a:gd name="connsiteX65" fmla="*/ 7708 w 10000"/>
                <a:gd name="connsiteY65" fmla="*/ 3993 h 10015"/>
                <a:gd name="connsiteX66" fmla="*/ 7829 w 10000"/>
                <a:gd name="connsiteY66" fmla="*/ 3417 h 10015"/>
                <a:gd name="connsiteX67" fmla="*/ 7796 w 10000"/>
                <a:gd name="connsiteY67" fmla="*/ 2997 h 10015"/>
                <a:gd name="connsiteX68" fmla="*/ 8185 w 10000"/>
                <a:gd name="connsiteY68" fmla="*/ 3026 h 10015"/>
                <a:gd name="connsiteX69" fmla="*/ 8269 w 10000"/>
                <a:gd name="connsiteY69" fmla="*/ 3151 h 10015"/>
                <a:gd name="connsiteX70" fmla="*/ 8506 w 10000"/>
                <a:gd name="connsiteY70" fmla="*/ 2889 h 10015"/>
                <a:gd name="connsiteX71" fmla="*/ 8575 w 10000"/>
                <a:gd name="connsiteY71" fmla="*/ 1954 h 10015"/>
                <a:gd name="connsiteX72" fmla="*/ 8474 w 10000"/>
                <a:gd name="connsiteY72" fmla="*/ 1243 h 10015"/>
                <a:gd name="connsiteX73" fmla="*/ 8760 w 10000"/>
                <a:gd name="connsiteY73" fmla="*/ 668 h 10015"/>
                <a:gd name="connsiteX74" fmla="*/ 8312 w 10000"/>
                <a:gd name="connsiteY74" fmla="*/ 20 h 10015"/>
                <a:gd name="connsiteX0" fmla="*/ 8312 w 10000"/>
                <a:gd name="connsiteY0" fmla="*/ 598 h 10593"/>
                <a:gd name="connsiteX1" fmla="*/ 7451 w 10000"/>
                <a:gd name="connsiteY1" fmla="*/ 59 h 10593"/>
                <a:gd name="connsiteX2" fmla="*/ 6367 w 10000"/>
                <a:gd name="connsiteY2" fmla="*/ 2076 h 10593"/>
                <a:gd name="connsiteX3" fmla="*/ 5356 w 10000"/>
                <a:gd name="connsiteY3" fmla="*/ 1307 h 10593"/>
                <a:gd name="connsiteX4" fmla="*/ 4417 w 10000"/>
                <a:gd name="connsiteY4" fmla="*/ 2172 h 10593"/>
                <a:gd name="connsiteX5" fmla="*/ 3551 w 10000"/>
                <a:gd name="connsiteY5" fmla="*/ 2075 h 10593"/>
                <a:gd name="connsiteX6" fmla="*/ 2597 w 10000"/>
                <a:gd name="connsiteY6" fmla="*/ 2388 h 10593"/>
                <a:gd name="connsiteX7" fmla="*/ 1875 w 10000"/>
                <a:gd name="connsiteY7" fmla="*/ 1203 h 10593"/>
                <a:gd name="connsiteX8" fmla="*/ 1212 w 10000"/>
                <a:gd name="connsiteY8" fmla="*/ 1847 h 10593"/>
                <a:gd name="connsiteX9" fmla="*/ 508 w 10000"/>
                <a:gd name="connsiteY9" fmla="*/ 1876 h 10593"/>
                <a:gd name="connsiteX10" fmla="*/ 12 w 10000"/>
                <a:gd name="connsiteY10" fmla="*/ 2711 h 10593"/>
                <a:gd name="connsiteX11" fmla="*/ 151 w 10000"/>
                <a:gd name="connsiteY11" fmla="*/ 2892 h 10593"/>
                <a:gd name="connsiteX12" fmla="*/ 48 w 10000"/>
                <a:gd name="connsiteY12" fmla="*/ 3178 h 10593"/>
                <a:gd name="connsiteX13" fmla="*/ 625 w 10000"/>
                <a:gd name="connsiteY13" fmla="*/ 3261 h 10593"/>
                <a:gd name="connsiteX14" fmla="*/ 625 w 10000"/>
                <a:gd name="connsiteY14" fmla="*/ 3443 h 10593"/>
                <a:gd name="connsiteX15" fmla="*/ 605 w 10000"/>
                <a:gd name="connsiteY15" fmla="*/ 3863 h 10593"/>
                <a:gd name="connsiteX16" fmla="*/ 1216 w 10000"/>
                <a:gd name="connsiteY16" fmla="*/ 4016 h 10593"/>
                <a:gd name="connsiteX17" fmla="*/ 1216 w 10000"/>
                <a:gd name="connsiteY17" fmla="*/ 4367 h 10593"/>
                <a:gd name="connsiteX18" fmla="*/ 1539 w 10000"/>
                <a:gd name="connsiteY18" fmla="*/ 4623 h 10593"/>
                <a:gd name="connsiteX19" fmla="*/ 1437 w 10000"/>
                <a:gd name="connsiteY19" fmla="*/ 5011 h 10593"/>
                <a:gd name="connsiteX20" fmla="*/ 1891 w 10000"/>
                <a:gd name="connsiteY20" fmla="*/ 5356 h 10593"/>
                <a:gd name="connsiteX21" fmla="*/ 2167 w 10000"/>
                <a:gd name="connsiteY21" fmla="*/ 5982 h 10593"/>
                <a:gd name="connsiteX22" fmla="*/ 2419 w 10000"/>
                <a:gd name="connsiteY22" fmla="*/ 6224 h 10593"/>
                <a:gd name="connsiteX23" fmla="*/ 2318 w 10000"/>
                <a:gd name="connsiteY23" fmla="*/ 6432 h 10593"/>
                <a:gd name="connsiteX24" fmla="*/ 2454 w 10000"/>
                <a:gd name="connsiteY24" fmla="*/ 6666 h 10593"/>
                <a:gd name="connsiteX25" fmla="*/ 2434 w 10000"/>
                <a:gd name="connsiteY25" fmla="*/ 6999 h 10593"/>
                <a:gd name="connsiteX26" fmla="*/ 2696 w 10000"/>
                <a:gd name="connsiteY26" fmla="*/ 7033 h 10593"/>
                <a:gd name="connsiteX27" fmla="*/ 2980 w 10000"/>
                <a:gd name="connsiteY27" fmla="*/ 7403 h 10593"/>
                <a:gd name="connsiteX28" fmla="*/ 3050 w 10000"/>
                <a:gd name="connsiteY28" fmla="*/ 7976 h 10593"/>
                <a:gd name="connsiteX29" fmla="*/ 3114 w 10000"/>
                <a:gd name="connsiteY29" fmla="*/ 8188 h 10593"/>
                <a:gd name="connsiteX30" fmla="*/ 3471 w 10000"/>
                <a:gd name="connsiteY30" fmla="*/ 8677 h 10593"/>
                <a:gd name="connsiteX31" fmla="*/ 3471 w 10000"/>
                <a:gd name="connsiteY31" fmla="*/ 9048 h 10593"/>
                <a:gd name="connsiteX32" fmla="*/ 3997 w 10000"/>
                <a:gd name="connsiteY32" fmla="*/ 9446 h 10593"/>
                <a:gd name="connsiteX33" fmla="*/ 4285 w 10000"/>
                <a:gd name="connsiteY33" fmla="*/ 9022 h 10593"/>
                <a:gd name="connsiteX34" fmla="*/ 4643 w 10000"/>
                <a:gd name="connsiteY34" fmla="*/ 9342 h 10593"/>
                <a:gd name="connsiteX35" fmla="*/ 4928 w 10000"/>
                <a:gd name="connsiteY35" fmla="*/ 8864 h 10593"/>
                <a:gd name="connsiteX36" fmla="*/ 5251 w 10000"/>
                <a:gd name="connsiteY36" fmla="*/ 9623 h 10593"/>
                <a:gd name="connsiteX37" fmla="*/ 5709 w 10000"/>
                <a:gd name="connsiteY37" fmla="*/ 10045 h 10593"/>
                <a:gd name="connsiteX38" fmla="*/ 5759 w 10000"/>
                <a:gd name="connsiteY38" fmla="*/ 10418 h 10593"/>
                <a:gd name="connsiteX39" fmla="*/ 5946 w 10000"/>
                <a:gd name="connsiteY39" fmla="*/ 10466 h 10593"/>
                <a:gd name="connsiteX40" fmla="*/ 6216 w 10000"/>
                <a:gd name="connsiteY40" fmla="*/ 10120 h 10593"/>
                <a:gd name="connsiteX41" fmla="*/ 6558 w 10000"/>
                <a:gd name="connsiteY41" fmla="*/ 10333 h 10593"/>
                <a:gd name="connsiteX42" fmla="*/ 6675 w 10000"/>
                <a:gd name="connsiteY42" fmla="*/ 10149 h 10593"/>
                <a:gd name="connsiteX43" fmla="*/ 6797 w 10000"/>
                <a:gd name="connsiteY43" fmla="*/ 10120 h 10593"/>
                <a:gd name="connsiteX44" fmla="*/ 7029 w 10000"/>
                <a:gd name="connsiteY44" fmla="*/ 10593 h 10593"/>
                <a:gd name="connsiteX45" fmla="*/ 7251 w 10000"/>
                <a:gd name="connsiteY45" fmla="*/ 10198 h 10593"/>
                <a:gd name="connsiteX46" fmla="*/ 7521 w 10000"/>
                <a:gd name="connsiteY46" fmla="*/ 10224 h 10593"/>
                <a:gd name="connsiteX47" fmla="*/ 7727 w 10000"/>
                <a:gd name="connsiteY47" fmla="*/ 10014 h 10593"/>
                <a:gd name="connsiteX48" fmla="*/ 8015 w 10000"/>
                <a:gd name="connsiteY48" fmla="*/ 10224 h 10593"/>
                <a:gd name="connsiteX49" fmla="*/ 8389 w 10000"/>
                <a:gd name="connsiteY49" fmla="*/ 9573 h 10593"/>
                <a:gd name="connsiteX50" fmla="*/ 8521 w 10000"/>
                <a:gd name="connsiteY50" fmla="*/ 9573 h 10593"/>
                <a:gd name="connsiteX51" fmla="*/ 8760 w 10000"/>
                <a:gd name="connsiteY51" fmla="*/ 9048 h 10593"/>
                <a:gd name="connsiteX52" fmla="*/ 9775 w 10000"/>
                <a:gd name="connsiteY52" fmla="*/ 9022 h 10593"/>
                <a:gd name="connsiteX53" fmla="*/ 10000 w 10000"/>
                <a:gd name="connsiteY53" fmla="*/ 8810 h 10593"/>
                <a:gd name="connsiteX54" fmla="*/ 9983 w 10000"/>
                <a:gd name="connsiteY54" fmla="*/ 8552 h 10593"/>
                <a:gd name="connsiteX55" fmla="*/ 9915 w 10000"/>
                <a:gd name="connsiteY55" fmla="*/ 7976 h 10593"/>
                <a:gd name="connsiteX56" fmla="*/ 9491 w 10000"/>
                <a:gd name="connsiteY56" fmla="*/ 7789 h 10593"/>
                <a:gd name="connsiteX57" fmla="*/ 9288 w 10000"/>
                <a:gd name="connsiteY57" fmla="*/ 6873 h 10593"/>
                <a:gd name="connsiteX58" fmla="*/ 9169 w 10000"/>
                <a:gd name="connsiteY58" fmla="*/ 6769 h 10593"/>
                <a:gd name="connsiteX59" fmla="*/ 9138 w 10000"/>
                <a:gd name="connsiteY59" fmla="*/ 6117 h 10593"/>
                <a:gd name="connsiteX60" fmla="*/ 8985 w 10000"/>
                <a:gd name="connsiteY60" fmla="*/ 6087 h 10593"/>
                <a:gd name="connsiteX61" fmla="*/ 8928 w 10000"/>
                <a:gd name="connsiteY61" fmla="*/ 5751 h 10593"/>
                <a:gd name="connsiteX62" fmla="*/ 8674 w 10000"/>
                <a:gd name="connsiteY62" fmla="*/ 5668 h 10593"/>
                <a:gd name="connsiteX63" fmla="*/ 8590 w 10000"/>
                <a:gd name="connsiteY63" fmla="*/ 5150 h 10593"/>
                <a:gd name="connsiteX64" fmla="*/ 8168 w 10000"/>
                <a:gd name="connsiteY64" fmla="*/ 4650 h 10593"/>
                <a:gd name="connsiteX65" fmla="*/ 7708 w 10000"/>
                <a:gd name="connsiteY65" fmla="*/ 4571 h 10593"/>
                <a:gd name="connsiteX66" fmla="*/ 7829 w 10000"/>
                <a:gd name="connsiteY66" fmla="*/ 3995 h 10593"/>
                <a:gd name="connsiteX67" fmla="*/ 7796 w 10000"/>
                <a:gd name="connsiteY67" fmla="*/ 3575 h 10593"/>
                <a:gd name="connsiteX68" fmla="*/ 8185 w 10000"/>
                <a:gd name="connsiteY68" fmla="*/ 3604 h 10593"/>
                <a:gd name="connsiteX69" fmla="*/ 8269 w 10000"/>
                <a:gd name="connsiteY69" fmla="*/ 3729 h 10593"/>
                <a:gd name="connsiteX70" fmla="*/ 8506 w 10000"/>
                <a:gd name="connsiteY70" fmla="*/ 3467 h 10593"/>
                <a:gd name="connsiteX71" fmla="*/ 8575 w 10000"/>
                <a:gd name="connsiteY71" fmla="*/ 2532 h 10593"/>
                <a:gd name="connsiteX72" fmla="*/ 8474 w 10000"/>
                <a:gd name="connsiteY72" fmla="*/ 1821 h 10593"/>
                <a:gd name="connsiteX73" fmla="*/ 8760 w 10000"/>
                <a:gd name="connsiteY73" fmla="*/ 1246 h 10593"/>
                <a:gd name="connsiteX74" fmla="*/ 8312 w 10000"/>
                <a:gd name="connsiteY74" fmla="*/ 598 h 10593"/>
                <a:gd name="connsiteX0" fmla="*/ 8312 w 10000"/>
                <a:gd name="connsiteY0" fmla="*/ 2192 h 12187"/>
                <a:gd name="connsiteX1" fmla="*/ 7812 w 10000"/>
                <a:gd name="connsiteY1" fmla="*/ 21 h 12187"/>
                <a:gd name="connsiteX2" fmla="*/ 6367 w 10000"/>
                <a:gd name="connsiteY2" fmla="*/ 3670 h 12187"/>
                <a:gd name="connsiteX3" fmla="*/ 5356 w 10000"/>
                <a:gd name="connsiteY3" fmla="*/ 2901 h 12187"/>
                <a:gd name="connsiteX4" fmla="*/ 4417 w 10000"/>
                <a:gd name="connsiteY4" fmla="*/ 3766 h 12187"/>
                <a:gd name="connsiteX5" fmla="*/ 3551 w 10000"/>
                <a:gd name="connsiteY5" fmla="*/ 3669 h 12187"/>
                <a:gd name="connsiteX6" fmla="*/ 2597 w 10000"/>
                <a:gd name="connsiteY6" fmla="*/ 3982 h 12187"/>
                <a:gd name="connsiteX7" fmla="*/ 1875 w 10000"/>
                <a:gd name="connsiteY7" fmla="*/ 2797 h 12187"/>
                <a:gd name="connsiteX8" fmla="*/ 1212 w 10000"/>
                <a:gd name="connsiteY8" fmla="*/ 3441 h 12187"/>
                <a:gd name="connsiteX9" fmla="*/ 508 w 10000"/>
                <a:gd name="connsiteY9" fmla="*/ 3470 h 12187"/>
                <a:gd name="connsiteX10" fmla="*/ 12 w 10000"/>
                <a:gd name="connsiteY10" fmla="*/ 4305 h 12187"/>
                <a:gd name="connsiteX11" fmla="*/ 151 w 10000"/>
                <a:gd name="connsiteY11" fmla="*/ 4486 h 12187"/>
                <a:gd name="connsiteX12" fmla="*/ 48 w 10000"/>
                <a:gd name="connsiteY12" fmla="*/ 4772 h 12187"/>
                <a:gd name="connsiteX13" fmla="*/ 625 w 10000"/>
                <a:gd name="connsiteY13" fmla="*/ 4855 h 12187"/>
                <a:gd name="connsiteX14" fmla="*/ 625 w 10000"/>
                <a:gd name="connsiteY14" fmla="*/ 5037 h 12187"/>
                <a:gd name="connsiteX15" fmla="*/ 605 w 10000"/>
                <a:gd name="connsiteY15" fmla="*/ 5457 h 12187"/>
                <a:gd name="connsiteX16" fmla="*/ 1216 w 10000"/>
                <a:gd name="connsiteY16" fmla="*/ 5610 h 12187"/>
                <a:gd name="connsiteX17" fmla="*/ 1216 w 10000"/>
                <a:gd name="connsiteY17" fmla="*/ 5961 h 12187"/>
                <a:gd name="connsiteX18" fmla="*/ 1539 w 10000"/>
                <a:gd name="connsiteY18" fmla="*/ 6217 h 12187"/>
                <a:gd name="connsiteX19" fmla="*/ 1437 w 10000"/>
                <a:gd name="connsiteY19" fmla="*/ 6605 h 12187"/>
                <a:gd name="connsiteX20" fmla="*/ 1891 w 10000"/>
                <a:gd name="connsiteY20" fmla="*/ 6950 h 12187"/>
                <a:gd name="connsiteX21" fmla="*/ 2167 w 10000"/>
                <a:gd name="connsiteY21" fmla="*/ 7576 h 12187"/>
                <a:gd name="connsiteX22" fmla="*/ 2419 w 10000"/>
                <a:gd name="connsiteY22" fmla="*/ 7818 h 12187"/>
                <a:gd name="connsiteX23" fmla="*/ 2318 w 10000"/>
                <a:gd name="connsiteY23" fmla="*/ 8026 h 12187"/>
                <a:gd name="connsiteX24" fmla="*/ 2454 w 10000"/>
                <a:gd name="connsiteY24" fmla="*/ 8260 h 12187"/>
                <a:gd name="connsiteX25" fmla="*/ 2434 w 10000"/>
                <a:gd name="connsiteY25" fmla="*/ 8593 h 12187"/>
                <a:gd name="connsiteX26" fmla="*/ 2696 w 10000"/>
                <a:gd name="connsiteY26" fmla="*/ 8627 h 12187"/>
                <a:gd name="connsiteX27" fmla="*/ 2980 w 10000"/>
                <a:gd name="connsiteY27" fmla="*/ 8997 h 12187"/>
                <a:gd name="connsiteX28" fmla="*/ 3050 w 10000"/>
                <a:gd name="connsiteY28" fmla="*/ 9570 h 12187"/>
                <a:gd name="connsiteX29" fmla="*/ 3114 w 10000"/>
                <a:gd name="connsiteY29" fmla="*/ 9782 h 12187"/>
                <a:gd name="connsiteX30" fmla="*/ 3471 w 10000"/>
                <a:gd name="connsiteY30" fmla="*/ 10271 h 12187"/>
                <a:gd name="connsiteX31" fmla="*/ 3471 w 10000"/>
                <a:gd name="connsiteY31" fmla="*/ 10642 h 12187"/>
                <a:gd name="connsiteX32" fmla="*/ 3997 w 10000"/>
                <a:gd name="connsiteY32" fmla="*/ 11040 h 12187"/>
                <a:gd name="connsiteX33" fmla="*/ 4285 w 10000"/>
                <a:gd name="connsiteY33" fmla="*/ 10616 h 12187"/>
                <a:gd name="connsiteX34" fmla="*/ 4643 w 10000"/>
                <a:gd name="connsiteY34" fmla="*/ 10936 h 12187"/>
                <a:gd name="connsiteX35" fmla="*/ 4928 w 10000"/>
                <a:gd name="connsiteY35" fmla="*/ 10458 h 12187"/>
                <a:gd name="connsiteX36" fmla="*/ 5251 w 10000"/>
                <a:gd name="connsiteY36" fmla="*/ 11217 h 12187"/>
                <a:gd name="connsiteX37" fmla="*/ 5709 w 10000"/>
                <a:gd name="connsiteY37" fmla="*/ 11639 h 12187"/>
                <a:gd name="connsiteX38" fmla="*/ 5759 w 10000"/>
                <a:gd name="connsiteY38" fmla="*/ 12012 h 12187"/>
                <a:gd name="connsiteX39" fmla="*/ 5946 w 10000"/>
                <a:gd name="connsiteY39" fmla="*/ 12060 h 12187"/>
                <a:gd name="connsiteX40" fmla="*/ 6216 w 10000"/>
                <a:gd name="connsiteY40" fmla="*/ 11714 h 12187"/>
                <a:gd name="connsiteX41" fmla="*/ 6558 w 10000"/>
                <a:gd name="connsiteY41" fmla="*/ 11927 h 12187"/>
                <a:gd name="connsiteX42" fmla="*/ 6675 w 10000"/>
                <a:gd name="connsiteY42" fmla="*/ 11743 h 12187"/>
                <a:gd name="connsiteX43" fmla="*/ 6797 w 10000"/>
                <a:gd name="connsiteY43" fmla="*/ 11714 h 12187"/>
                <a:gd name="connsiteX44" fmla="*/ 7029 w 10000"/>
                <a:gd name="connsiteY44" fmla="*/ 12187 h 12187"/>
                <a:gd name="connsiteX45" fmla="*/ 7251 w 10000"/>
                <a:gd name="connsiteY45" fmla="*/ 11792 h 12187"/>
                <a:gd name="connsiteX46" fmla="*/ 7521 w 10000"/>
                <a:gd name="connsiteY46" fmla="*/ 11818 h 12187"/>
                <a:gd name="connsiteX47" fmla="*/ 7727 w 10000"/>
                <a:gd name="connsiteY47" fmla="*/ 11608 h 12187"/>
                <a:gd name="connsiteX48" fmla="*/ 8015 w 10000"/>
                <a:gd name="connsiteY48" fmla="*/ 11818 h 12187"/>
                <a:gd name="connsiteX49" fmla="*/ 8389 w 10000"/>
                <a:gd name="connsiteY49" fmla="*/ 11167 h 12187"/>
                <a:gd name="connsiteX50" fmla="*/ 8521 w 10000"/>
                <a:gd name="connsiteY50" fmla="*/ 11167 h 12187"/>
                <a:gd name="connsiteX51" fmla="*/ 8760 w 10000"/>
                <a:gd name="connsiteY51" fmla="*/ 10642 h 12187"/>
                <a:gd name="connsiteX52" fmla="*/ 9775 w 10000"/>
                <a:gd name="connsiteY52" fmla="*/ 10616 h 12187"/>
                <a:gd name="connsiteX53" fmla="*/ 10000 w 10000"/>
                <a:gd name="connsiteY53" fmla="*/ 10404 h 12187"/>
                <a:gd name="connsiteX54" fmla="*/ 9983 w 10000"/>
                <a:gd name="connsiteY54" fmla="*/ 10146 h 12187"/>
                <a:gd name="connsiteX55" fmla="*/ 9915 w 10000"/>
                <a:gd name="connsiteY55" fmla="*/ 9570 h 12187"/>
                <a:gd name="connsiteX56" fmla="*/ 9491 w 10000"/>
                <a:gd name="connsiteY56" fmla="*/ 9383 h 12187"/>
                <a:gd name="connsiteX57" fmla="*/ 9288 w 10000"/>
                <a:gd name="connsiteY57" fmla="*/ 8467 h 12187"/>
                <a:gd name="connsiteX58" fmla="*/ 9169 w 10000"/>
                <a:gd name="connsiteY58" fmla="*/ 8363 h 12187"/>
                <a:gd name="connsiteX59" fmla="*/ 9138 w 10000"/>
                <a:gd name="connsiteY59" fmla="*/ 7711 h 12187"/>
                <a:gd name="connsiteX60" fmla="*/ 8985 w 10000"/>
                <a:gd name="connsiteY60" fmla="*/ 7681 h 12187"/>
                <a:gd name="connsiteX61" fmla="*/ 8928 w 10000"/>
                <a:gd name="connsiteY61" fmla="*/ 7345 h 12187"/>
                <a:gd name="connsiteX62" fmla="*/ 8674 w 10000"/>
                <a:gd name="connsiteY62" fmla="*/ 7262 h 12187"/>
                <a:gd name="connsiteX63" fmla="*/ 8590 w 10000"/>
                <a:gd name="connsiteY63" fmla="*/ 6744 h 12187"/>
                <a:gd name="connsiteX64" fmla="*/ 8168 w 10000"/>
                <a:gd name="connsiteY64" fmla="*/ 6244 h 12187"/>
                <a:gd name="connsiteX65" fmla="*/ 7708 w 10000"/>
                <a:gd name="connsiteY65" fmla="*/ 6165 h 12187"/>
                <a:gd name="connsiteX66" fmla="*/ 7829 w 10000"/>
                <a:gd name="connsiteY66" fmla="*/ 5589 h 12187"/>
                <a:gd name="connsiteX67" fmla="*/ 7796 w 10000"/>
                <a:gd name="connsiteY67" fmla="*/ 5169 h 12187"/>
                <a:gd name="connsiteX68" fmla="*/ 8185 w 10000"/>
                <a:gd name="connsiteY68" fmla="*/ 5198 h 12187"/>
                <a:gd name="connsiteX69" fmla="*/ 8269 w 10000"/>
                <a:gd name="connsiteY69" fmla="*/ 5323 h 12187"/>
                <a:gd name="connsiteX70" fmla="*/ 8506 w 10000"/>
                <a:gd name="connsiteY70" fmla="*/ 5061 h 12187"/>
                <a:gd name="connsiteX71" fmla="*/ 8575 w 10000"/>
                <a:gd name="connsiteY71" fmla="*/ 4126 h 12187"/>
                <a:gd name="connsiteX72" fmla="*/ 8474 w 10000"/>
                <a:gd name="connsiteY72" fmla="*/ 3415 h 12187"/>
                <a:gd name="connsiteX73" fmla="*/ 8760 w 10000"/>
                <a:gd name="connsiteY73" fmla="*/ 2840 h 12187"/>
                <a:gd name="connsiteX74" fmla="*/ 8312 w 10000"/>
                <a:gd name="connsiteY74" fmla="*/ 2192 h 12187"/>
                <a:gd name="connsiteX0" fmla="*/ 8312 w 10000"/>
                <a:gd name="connsiteY0" fmla="*/ 2192 h 12187"/>
                <a:gd name="connsiteX1" fmla="*/ 7812 w 10000"/>
                <a:gd name="connsiteY1" fmla="*/ 21 h 12187"/>
                <a:gd name="connsiteX2" fmla="*/ 6873 w 10000"/>
                <a:gd name="connsiteY2" fmla="*/ 2517 h 12187"/>
                <a:gd name="connsiteX3" fmla="*/ 6367 w 10000"/>
                <a:gd name="connsiteY3" fmla="*/ 3670 h 12187"/>
                <a:gd name="connsiteX4" fmla="*/ 5356 w 10000"/>
                <a:gd name="connsiteY4" fmla="*/ 2901 h 12187"/>
                <a:gd name="connsiteX5" fmla="*/ 4417 w 10000"/>
                <a:gd name="connsiteY5" fmla="*/ 3766 h 12187"/>
                <a:gd name="connsiteX6" fmla="*/ 3551 w 10000"/>
                <a:gd name="connsiteY6" fmla="*/ 3669 h 12187"/>
                <a:gd name="connsiteX7" fmla="*/ 2597 w 10000"/>
                <a:gd name="connsiteY7" fmla="*/ 3982 h 12187"/>
                <a:gd name="connsiteX8" fmla="*/ 1875 w 10000"/>
                <a:gd name="connsiteY8" fmla="*/ 2797 h 12187"/>
                <a:gd name="connsiteX9" fmla="*/ 1212 w 10000"/>
                <a:gd name="connsiteY9" fmla="*/ 3441 h 12187"/>
                <a:gd name="connsiteX10" fmla="*/ 508 w 10000"/>
                <a:gd name="connsiteY10" fmla="*/ 3470 h 12187"/>
                <a:gd name="connsiteX11" fmla="*/ 12 w 10000"/>
                <a:gd name="connsiteY11" fmla="*/ 4305 h 12187"/>
                <a:gd name="connsiteX12" fmla="*/ 151 w 10000"/>
                <a:gd name="connsiteY12" fmla="*/ 4486 h 12187"/>
                <a:gd name="connsiteX13" fmla="*/ 48 w 10000"/>
                <a:gd name="connsiteY13" fmla="*/ 4772 h 12187"/>
                <a:gd name="connsiteX14" fmla="*/ 625 w 10000"/>
                <a:gd name="connsiteY14" fmla="*/ 4855 h 12187"/>
                <a:gd name="connsiteX15" fmla="*/ 625 w 10000"/>
                <a:gd name="connsiteY15" fmla="*/ 5037 h 12187"/>
                <a:gd name="connsiteX16" fmla="*/ 605 w 10000"/>
                <a:gd name="connsiteY16" fmla="*/ 5457 h 12187"/>
                <a:gd name="connsiteX17" fmla="*/ 1216 w 10000"/>
                <a:gd name="connsiteY17" fmla="*/ 5610 h 12187"/>
                <a:gd name="connsiteX18" fmla="*/ 1216 w 10000"/>
                <a:gd name="connsiteY18" fmla="*/ 5961 h 12187"/>
                <a:gd name="connsiteX19" fmla="*/ 1539 w 10000"/>
                <a:gd name="connsiteY19" fmla="*/ 6217 h 12187"/>
                <a:gd name="connsiteX20" fmla="*/ 1437 w 10000"/>
                <a:gd name="connsiteY20" fmla="*/ 6605 h 12187"/>
                <a:gd name="connsiteX21" fmla="*/ 1891 w 10000"/>
                <a:gd name="connsiteY21" fmla="*/ 6950 h 12187"/>
                <a:gd name="connsiteX22" fmla="*/ 2167 w 10000"/>
                <a:gd name="connsiteY22" fmla="*/ 7576 h 12187"/>
                <a:gd name="connsiteX23" fmla="*/ 2419 w 10000"/>
                <a:gd name="connsiteY23" fmla="*/ 7818 h 12187"/>
                <a:gd name="connsiteX24" fmla="*/ 2318 w 10000"/>
                <a:gd name="connsiteY24" fmla="*/ 8026 h 12187"/>
                <a:gd name="connsiteX25" fmla="*/ 2454 w 10000"/>
                <a:gd name="connsiteY25" fmla="*/ 8260 h 12187"/>
                <a:gd name="connsiteX26" fmla="*/ 2434 w 10000"/>
                <a:gd name="connsiteY26" fmla="*/ 8593 h 12187"/>
                <a:gd name="connsiteX27" fmla="*/ 2696 w 10000"/>
                <a:gd name="connsiteY27" fmla="*/ 8627 h 12187"/>
                <a:gd name="connsiteX28" fmla="*/ 2980 w 10000"/>
                <a:gd name="connsiteY28" fmla="*/ 8997 h 12187"/>
                <a:gd name="connsiteX29" fmla="*/ 3050 w 10000"/>
                <a:gd name="connsiteY29" fmla="*/ 9570 h 12187"/>
                <a:gd name="connsiteX30" fmla="*/ 3114 w 10000"/>
                <a:gd name="connsiteY30" fmla="*/ 9782 h 12187"/>
                <a:gd name="connsiteX31" fmla="*/ 3471 w 10000"/>
                <a:gd name="connsiteY31" fmla="*/ 10271 h 12187"/>
                <a:gd name="connsiteX32" fmla="*/ 3471 w 10000"/>
                <a:gd name="connsiteY32" fmla="*/ 10642 h 12187"/>
                <a:gd name="connsiteX33" fmla="*/ 3997 w 10000"/>
                <a:gd name="connsiteY33" fmla="*/ 11040 h 12187"/>
                <a:gd name="connsiteX34" fmla="*/ 4285 w 10000"/>
                <a:gd name="connsiteY34" fmla="*/ 10616 h 12187"/>
                <a:gd name="connsiteX35" fmla="*/ 4643 w 10000"/>
                <a:gd name="connsiteY35" fmla="*/ 10936 h 12187"/>
                <a:gd name="connsiteX36" fmla="*/ 4928 w 10000"/>
                <a:gd name="connsiteY36" fmla="*/ 10458 h 12187"/>
                <a:gd name="connsiteX37" fmla="*/ 5251 w 10000"/>
                <a:gd name="connsiteY37" fmla="*/ 11217 h 12187"/>
                <a:gd name="connsiteX38" fmla="*/ 5709 w 10000"/>
                <a:gd name="connsiteY38" fmla="*/ 11639 h 12187"/>
                <a:gd name="connsiteX39" fmla="*/ 5759 w 10000"/>
                <a:gd name="connsiteY39" fmla="*/ 12012 h 12187"/>
                <a:gd name="connsiteX40" fmla="*/ 5946 w 10000"/>
                <a:gd name="connsiteY40" fmla="*/ 12060 h 12187"/>
                <a:gd name="connsiteX41" fmla="*/ 6216 w 10000"/>
                <a:gd name="connsiteY41" fmla="*/ 11714 h 12187"/>
                <a:gd name="connsiteX42" fmla="*/ 6558 w 10000"/>
                <a:gd name="connsiteY42" fmla="*/ 11927 h 12187"/>
                <a:gd name="connsiteX43" fmla="*/ 6675 w 10000"/>
                <a:gd name="connsiteY43" fmla="*/ 11743 h 12187"/>
                <a:gd name="connsiteX44" fmla="*/ 6797 w 10000"/>
                <a:gd name="connsiteY44" fmla="*/ 11714 h 12187"/>
                <a:gd name="connsiteX45" fmla="*/ 7029 w 10000"/>
                <a:gd name="connsiteY45" fmla="*/ 12187 h 12187"/>
                <a:gd name="connsiteX46" fmla="*/ 7251 w 10000"/>
                <a:gd name="connsiteY46" fmla="*/ 11792 h 12187"/>
                <a:gd name="connsiteX47" fmla="*/ 7521 w 10000"/>
                <a:gd name="connsiteY47" fmla="*/ 11818 h 12187"/>
                <a:gd name="connsiteX48" fmla="*/ 7727 w 10000"/>
                <a:gd name="connsiteY48" fmla="*/ 11608 h 12187"/>
                <a:gd name="connsiteX49" fmla="*/ 8015 w 10000"/>
                <a:gd name="connsiteY49" fmla="*/ 11818 h 12187"/>
                <a:gd name="connsiteX50" fmla="*/ 8389 w 10000"/>
                <a:gd name="connsiteY50" fmla="*/ 11167 h 12187"/>
                <a:gd name="connsiteX51" fmla="*/ 8521 w 10000"/>
                <a:gd name="connsiteY51" fmla="*/ 11167 h 12187"/>
                <a:gd name="connsiteX52" fmla="*/ 8760 w 10000"/>
                <a:gd name="connsiteY52" fmla="*/ 10642 h 12187"/>
                <a:gd name="connsiteX53" fmla="*/ 9775 w 10000"/>
                <a:gd name="connsiteY53" fmla="*/ 10616 h 12187"/>
                <a:gd name="connsiteX54" fmla="*/ 10000 w 10000"/>
                <a:gd name="connsiteY54" fmla="*/ 10404 h 12187"/>
                <a:gd name="connsiteX55" fmla="*/ 9983 w 10000"/>
                <a:gd name="connsiteY55" fmla="*/ 10146 h 12187"/>
                <a:gd name="connsiteX56" fmla="*/ 9915 w 10000"/>
                <a:gd name="connsiteY56" fmla="*/ 9570 h 12187"/>
                <a:gd name="connsiteX57" fmla="*/ 9491 w 10000"/>
                <a:gd name="connsiteY57" fmla="*/ 9383 h 12187"/>
                <a:gd name="connsiteX58" fmla="*/ 9288 w 10000"/>
                <a:gd name="connsiteY58" fmla="*/ 8467 h 12187"/>
                <a:gd name="connsiteX59" fmla="*/ 9169 w 10000"/>
                <a:gd name="connsiteY59" fmla="*/ 8363 h 12187"/>
                <a:gd name="connsiteX60" fmla="*/ 9138 w 10000"/>
                <a:gd name="connsiteY60" fmla="*/ 7711 h 12187"/>
                <a:gd name="connsiteX61" fmla="*/ 8985 w 10000"/>
                <a:gd name="connsiteY61" fmla="*/ 7681 h 12187"/>
                <a:gd name="connsiteX62" fmla="*/ 8928 w 10000"/>
                <a:gd name="connsiteY62" fmla="*/ 7345 h 12187"/>
                <a:gd name="connsiteX63" fmla="*/ 8674 w 10000"/>
                <a:gd name="connsiteY63" fmla="*/ 7262 h 12187"/>
                <a:gd name="connsiteX64" fmla="*/ 8590 w 10000"/>
                <a:gd name="connsiteY64" fmla="*/ 6744 h 12187"/>
                <a:gd name="connsiteX65" fmla="*/ 8168 w 10000"/>
                <a:gd name="connsiteY65" fmla="*/ 6244 h 12187"/>
                <a:gd name="connsiteX66" fmla="*/ 7708 w 10000"/>
                <a:gd name="connsiteY66" fmla="*/ 6165 h 12187"/>
                <a:gd name="connsiteX67" fmla="*/ 7829 w 10000"/>
                <a:gd name="connsiteY67" fmla="*/ 5589 h 12187"/>
                <a:gd name="connsiteX68" fmla="*/ 7796 w 10000"/>
                <a:gd name="connsiteY68" fmla="*/ 5169 h 12187"/>
                <a:gd name="connsiteX69" fmla="*/ 8185 w 10000"/>
                <a:gd name="connsiteY69" fmla="*/ 5198 h 12187"/>
                <a:gd name="connsiteX70" fmla="*/ 8269 w 10000"/>
                <a:gd name="connsiteY70" fmla="*/ 5323 h 12187"/>
                <a:gd name="connsiteX71" fmla="*/ 8506 w 10000"/>
                <a:gd name="connsiteY71" fmla="*/ 5061 h 12187"/>
                <a:gd name="connsiteX72" fmla="*/ 8575 w 10000"/>
                <a:gd name="connsiteY72" fmla="*/ 4126 h 12187"/>
                <a:gd name="connsiteX73" fmla="*/ 8474 w 10000"/>
                <a:gd name="connsiteY73" fmla="*/ 3415 h 12187"/>
                <a:gd name="connsiteX74" fmla="*/ 8760 w 10000"/>
                <a:gd name="connsiteY74" fmla="*/ 2840 h 12187"/>
                <a:gd name="connsiteX75" fmla="*/ 8312 w 10000"/>
                <a:gd name="connsiteY75" fmla="*/ 2192 h 12187"/>
                <a:gd name="connsiteX0" fmla="*/ 8312 w 10000"/>
                <a:gd name="connsiteY0" fmla="*/ 2192 h 12187"/>
                <a:gd name="connsiteX1" fmla="*/ 7812 w 10000"/>
                <a:gd name="connsiteY1" fmla="*/ 21 h 12187"/>
                <a:gd name="connsiteX2" fmla="*/ 7523 w 10000"/>
                <a:gd name="connsiteY2" fmla="*/ 3477 h 12187"/>
                <a:gd name="connsiteX3" fmla="*/ 6367 w 10000"/>
                <a:gd name="connsiteY3" fmla="*/ 3670 h 12187"/>
                <a:gd name="connsiteX4" fmla="*/ 5356 w 10000"/>
                <a:gd name="connsiteY4" fmla="*/ 2901 h 12187"/>
                <a:gd name="connsiteX5" fmla="*/ 4417 w 10000"/>
                <a:gd name="connsiteY5" fmla="*/ 3766 h 12187"/>
                <a:gd name="connsiteX6" fmla="*/ 3551 w 10000"/>
                <a:gd name="connsiteY6" fmla="*/ 3669 h 12187"/>
                <a:gd name="connsiteX7" fmla="*/ 2597 w 10000"/>
                <a:gd name="connsiteY7" fmla="*/ 3982 h 12187"/>
                <a:gd name="connsiteX8" fmla="*/ 1875 w 10000"/>
                <a:gd name="connsiteY8" fmla="*/ 2797 h 12187"/>
                <a:gd name="connsiteX9" fmla="*/ 1212 w 10000"/>
                <a:gd name="connsiteY9" fmla="*/ 3441 h 12187"/>
                <a:gd name="connsiteX10" fmla="*/ 508 w 10000"/>
                <a:gd name="connsiteY10" fmla="*/ 3470 h 12187"/>
                <a:gd name="connsiteX11" fmla="*/ 12 w 10000"/>
                <a:gd name="connsiteY11" fmla="*/ 4305 h 12187"/>
                <a:gd name="connsiteX12" fmla="*/ 151 w 10000"/>
                <a:gd name="connsiteY12" fmla="*/ 4486 h 12187"/>
                <a:gd name="connsiteX13" fmla="*/ 48 w 10000"/>
                <a:gd name="connsiteY13" fmla="*/ 4772 h 12187"/>
                <a:gd name="connsiteX14" fmla="*/ 625 w 10000"/>
                <a:gd name="connsiteY14" fmla="*/ 4855 h 12187"/>
                <a:gd name="connsiteX15" fmla="*/ 625 w 10000"/>
                <a:gd name="connsiteY15" fmla="*/ 5037 h 12187"/>
                <a:gd name="connsiteX16" fmla="*/ 605 w 10000"/>
                <a:gd name="connsiteY16" fmla="*/ 5457 h 12187"/>
                <a:gd name="connsiteX17" fmla="*/ 1216 w 10000"/>
                <a:gd name="connsiteY17" fmla="*/ 5610 h 12187"/>
                <a:gd name="connsiteX18" fmla="*/ 1216 w 10000"/>
                <a:gd name="connsiteY18" fmla="*/ 5961 h 12187"/>
                <a:gd name="connsiteX19" fmla="*/ 1539 w 10000"/>
                <a:gd name="connsiteY19" fmla="*/ 6217 h 12187"/>
                <a:gd name="connsiteX20" fmla="*/ 1437 w 10000"/>
                <a:gd name="connsiteY20" fmla="*/ 6605 h 12187"/>
                <a:gd name="connsiteX21" fmla="*/ 1891 w 10000"/>
                <a:gd name="connsiteY21" fmla="*/ 6950 h 12187"/>
                <a:gd name="connsiteX22" fmla="*/ 2167 w 10000"/>
                <a:gd name="connsiteY22" fmla="*/ 7576 h 12187"/>
                <a:gd name="connsiteX23" fmla="*/ 2419 w 10000"/>
                <a:gd name="connsiteY23" fmla="*/ 7818 h 12187"/>
                <a:gd name="connsiteX24" fmla="*/ 2318 w 10000"/>
                <a:gd name="connsiteY24" fmla="*/ 8026 h 12187"/>
                <a:gd name="connsiteX25" fmla="*/ 2454 w 10000"/>
                <a:gd name="connsiteY25" fmla="*/ 8260 h 12187"/>
                <a:gd name="connsiteX26" fmla="*/ 2434 w 10000"/>
                <a:gd name="connsiteY26" fmla="*/ 8593 h 12187"/>
                <a:gd name="connsiteX27" fmla="*/ 2696 w 10000"/>
                <a:gd name="connsiteY27" fmla="*/ 8627 h 12187"/>
                <a:gd name="connsiteX28" fmla="*/ 2980 w 10000"/>
                <a:gd name="connsiteY28" fmla="*/ 8997 h 12187"/>
                <a:gd name="connsiteX29" fmla="*/ 3050 w 10000"/>
                <a:gd name="connsiteY29" fmla="*/ 9570 h 12187"/>
                <a:gd name="connsiteX30" fmla="*/ 3114 w 10000"/>
                <a:gd name="connsiteY30" fmla="*/ 9782 h 12187"/>
                <a:gd name="connsiteX31" fmla="*/ 3471 w 10000"/>
                <a:gd name="connsiteY31" fmla="*/ 10271 h 12187"/>
                <a:gd name="connsiteX32" fmla="*/ 3471 w 10000"/>
                <a:gd name="connsiteY32" fmla="*/ 10642 h 12187"/>
                <a:gd name="connsiteX33" fmla="*/ 3997 w 10000"/>
                <a:gd name="connsiteY33" fmla="*/ 11040 h 12187"/>
                <a:gd name="connsiteX34" fmla="*/ 4285 w 10000"/>
                <a:gd name="connsiteY34" fmla="*/ 10616 h 12187"/>
                <a:gd name="connsiteX35" fmla="*/ 4643 w 10000"/>
                <a:gd name="connsiteY35" fmla="*/ 10936 h 12187"/>
                <a:gd name="connsiteX36" fmla="*/ 4928 w 10000"/>
                <a:gd name="connsiteY36" fmla="*/ 10458 h 12187"/>
                <a:gd name="connsiteX37" fmla="*/ 5251 w 10000"/>
                <a:gd name="connsiteY37" fmla="*/ 11217 h 12187"/>
                <a:gd name="connsiteX38" fmla="*/ 5709 w 10000"/>
                <a:gd name="connsiteY38" fmla="*/ 11639 h 12187"/>
                <a:gd name="connsiteX39" fmla="*/ 5759 w 10000"/>
                <a:gd name="connsiteY39" fmla="*/ 12012 h 12187"/>
                <a:gd name="connsiteX40" fmla="*/ 5946 w 10000"/>
                <a:gd name="connsiteY40" fmla="*/ 12060 h 12187"/>
                <a:gd name="connsiteX41" fmla="*/ 6216 w 10000"/>
                <a:gd name="connsiteY41" fmla="*/ 11714 h 12187"/>
                <a:gd name="connsiteX42" fmla="*/ 6558 w 10000"/>
                <a:gd name="connsiteY42" fmla="*/ 11927 h 12187"/>
                <a:gd name="connsiteX43" fmla="*/ 6675 w 10000"/>
                <a:gd name="connsiteY43" fmla="*/ 11743 h 12187"/>
                <a:gd name="connsiteX44" fmla="*/ 6797 w 10000"/>
                <a:gd name="connsiteY44" fmla="*/ 11714 h 12187"/>
                <a:gd name="connsiteX45" fmla="*/ 7029 w 10000"/>
                <a:gd name="connsiteY45" fmla="*/ 12187 h 12187"/>
                <a:gd name="connsiteX46" fmla="*/ 7251 w 10000"/>
                <a:gd name="connsiteY46" fmla="*/ 11792 h 12187"/>
                <a:gd name="connsiteX47" fmla="*/ 7521 w 10000"/>
                <a:gd name="connsiteY47" fmla="*/ 11818 h 12187"/>
                <a:gd name="connsiteX48" fmla="*/ 7727 w 10000"/>
                <a:gd name="connsiteY48" fmla="*/ 11608 h 12187"/>
                <a:gd name="connsiteX49" fmla="*/ 8015 w 10000"/>
                <a:gd name="connsiteY49" fmla="*/ 11818 h 12187"/>
                <a:gd name="connsiteX50" fmla="*/ 8389 w 10000"/>
                <a:gd name="connsiteY50" fmla="*/ 11167 h 12187"/>
                <a:gd name="connsiteX51" fmla="*/ 8521 w 10000"/>
                <a:gd name="connsiteY51" fmla="*/ 11167 h 12187"/>
                <a:gd name="connsiteX52" fmla="*/ 8760 w 10000"/>
                <a:gd name="connsiteY52" fmla="*/ 10642 h 12187"/>
                <a:gd name="connsiteX53" fmla="*/ 9775 w 10000"/>
                <a:gd name="connsiteY53" fmla="*/ 10616 h 12187"/>
                <a:gd name="connsiteX54" fmla="*/ 10000 w 10000"/>
                <a:gd name="connsiteY54" fmla="*/ 10404 h 12187"/>
                <a:gd name="connsiteX55" fmla="*/ 9983 w 10000"/>
                <a:gd name="connsiteY55" fmla="*/ 10146 h 12187"/>
                <a:gd name="connsiteX56" fmla="*/ 9915 w 10000"/>
                <a:gd name="connsiteY56" fmla="*/ 9570 h 12187"/>
                <a:gd name="connsiteX57" fmla="*/ 9491 w 10000"/>
                <a:gd name="connsiteY57" fmla="*/ 9383 h 12187"/>
                <a:gd name="connsiteX58" fmla="*/ 9288 w 10000"/>
                <a:gd name="connsiteY58" fmla="*/ 8467 h 12187"/>
                <a:gd name="connsiteX59" fmla="*/ 9169 w 10000"/>
                <a:gd name="connsiteY59" fmla="*/ 8363 h 12187"/>
                <a:gd name="connsiteX60" fmla="*/ 9138 w 10000"/>
                <a:gd name="connsiteY60" fmla="*/ 7711 h 12187"/>
                <a:gd name="connsiteX61" fmla="*/ 8985 w 10000"/>
                <a:gd name="connsiteY61" fmla="*/ 7681 h 12187"/>
                <a:gd name="connsiteX62" fmla="*/ 8928 w 10000"/>
                <a:gd name="connsiteY62" fmla="*/ 7345 h 12187"/>
                <a:gd name="connsiteX63" fmla="*/ 8674 w 10000"/>
                <a:gd name="connsiteY63" fmla="*/ 7262 h 12187"/>
                <a:gd name="connsiteX64" fmla="*/ 8590 w 10000"/>
                <a:gd name="connsiteY64" fmla="*/ 6744 h 12187"/>
                <a:gd name="connsiteX65" fmla="*/ 8168 w 10000"/>
                <a:gd name="connsiteY65" fmla="*/ 6244 h 12187"/>
                <a:gd name="connsiteX66" fmla="*/ 7708 w 10000"/>
                <a:gd name="connsiteY66" fmla="*/ 6165 h 12187"/>
                <a:gd name="connsiteX67" fmla="*/ 7829 w 10000"/>
                <a:gd name="connsiteY67" fmla="*/ 5589 h 12187"/>
                <a:gd name="connsiteX68" fmla="*/ 7796 w 10000"/>
                <a:gd name="connsiteY68" fmla="*/ 5169 h 12187"/>
                <a:gd name="connsiteX69" fmla="*/ 8185 w 10000"/>
                <a:gd name="connsiteY69" fmla="*/ 5198 h 12187"/>
                <a:gd name="connsiteX70" fmla="*/ 8269 w 10000"/>
                <a:gd name="connsiteY70" fmla="*/ 5323 h 12187"/>
                <a:gd name="connsiteX71" fmla="*/ 8506 w 10000"/>
                <a:gd name="connsiteY71" fmla="*/ 5061 h 12187"/>
                <a:gd name="connsiteX72" fmla="*/ 8575 w 10000"/>
                <a:gd name="connsiteY72" fmla="*/ 4126 h 12187"/>
                <a:gd name="connsiteX73" fmla="*/ 8474 w 10000"/>
                <a:gd name="connsiteY73" fmla="*/ 3415 h 12187"/>
                <a:gd name="connsiteX74" fmla="*/ 8760 w 10000"/>
                <a:gd name="connsiteY74" fmla="*/ 2840 h 12187"/>
                <a:gd name="connsiteX75" fmla="*/ 8312 w 10000"/>
                <a:gd name="connsiteY75" fmla="*/ 2192 h 12187"/>
                <a:gd name="connsiteX0" fmla="*/ 8312 w 10000"/>
                <a:gd name="connsiteY0" fmla="*/ 2192 h 12187"/>
                <a:gd name="connsiteX1" fmla="*/ 7812 w 10000"/>
                <a:gd name="connsiteY1" fmla="*/ 21 h 12187"/>
                <a:gd name="connsiteX2" fmla="*/ 7523 w 10000"/>
                <a:gd name="connsiteY2" fmla="*/ 1845 h 12187"/>
                <a:gd name="connsiteX3" fmla="*/ 6367 w 10000"/>
                <a:gd name="connsiteY3" fmla="*/ 3670 h 12187"/>
                <a:gd name="connsiteX4" fmla="*/ 5356 w 10000"/>
                <a:gd name="connsiteY4" fmla="*/ 2901 h 12187"/>
                <a:gd name="connsiteX5" fmla="*/ 4417 w 10000"/>
                <a:gd name="connsiteY5" fmla="*/ 3766 h 12187"/>
                <a:gd name="connsiteX6" fmla="*/ 3551 w 10000"/>
                <a:gd name="connsiteY6" fmla="*/ 3669 h 12187"/>
                <a:gd name="connsiteX7" fmla="*/ 2597 w 10000"/>
                <a:gd name="connsiteY7" fmla="*/ 3982 h 12187"/>
                <a:gd name="connsiteX8" fmla="*/ 1875 w 10000"/>
                <a:gd name="connsiteY8" fmla="*/ 2797 h 12187"/>
                <a:gd name="connsiteX9" fmla="*/ 1212 w 10000"/>
                <a:gd name="connsiteY9" fmla="*/ 3441 h 12187"/>
                <a:gd name="connsiteX10" fmla="*/ 508 w 10000"/>
                <a:gd name="connsiteY10" fmla="*/ 3470 h 12187"/>
                <a:gd name="connsiteX11" fmla="*/ 12 w 10000"/>
                <a:gd name="connsiteY11" fmla="*/ 4305 h 12187"/>
                <a:gd name="connsiteX12" fmla="*/ 151 w 10000"/>
                <a:gd name="connsiteY12" fmla="*/ 4486 h 12187"/>
                <a:gd name="connsiteX13" fmla="*/ 48 w 10000"/>
                <a:gd name="connsiteY13" fmla="*/ 4772 h 12187"/>
                <a:gd name="connsiteX14" fmla="*/ 625 w 10000"/>
                <a:gd name="connsiteY14" fmla="*/ 4855 h 12187"/>
                <a:gd name="connsiteX15" fmla="*/ 625 w 10000"/>
                <a:gd name="connsiteY15" fmla="*/ 5037 h 12187"/>
                <a:gd name="connsiteX16" fmla="*/ 605 w 10000"/>
                <a:gd name="connsiteY16" fmla="*/ 5457 h 12187"/>
                <a:gd name="connsiteX17" fmla="*/ 1216 w 10000"/>
                <a:gd name="connsiteY17" fmla="*/ 5610 h 12187"/>
                <a:gd name="connsiteX18" fmla="*/ 1216 w 10000"/>
                <a:gd name="connsiteY18" fmla="*/ 5961 h 12187"/>
                <a:gd name="connsiteX19" fmla="*/ 1539 w 10000"/>
                <a:gd name="connsiteY19" fmla="*/ 6217 h 12187"/>
                <a:gd name="connsiteX20" fmla="*/ 1437 w 10000"/>
                <a:gd name="connsiteY20" fmla="*/ 6605 h 12187"/>
                <a:gd name="connsiteX21" fmla="*/ 1891 w 10000"/>
                <a:gd name="connsiteY21" fmla="*/ 6950 h 12187"/>
                <a:gd name="connsiteX22" fmla="*/ 2167 w 10000"/>
                <a:gd name="connsiteY22" fmla="*/ 7576 h 12187"/>
                <a:gd name="connsiteX23" fmla="*/ 2419 w 10000"/>
                <a:gd name="connsiteY23" fmla="*/ 7818 h 12187"/>
                <a:gd name="connsiteX24" fmla="*/ 2318 w 10000"/>
                <a:gd name="connsiteY24" fmla="*/ 8026 h 12187"/>
                <a:gd name="connsiteX25" fmla="*/ 2454 w 10000"/>
                <a:gd name="connsiteY25" fmla="*/ 8260 h 12187"/>
                <a:gd name="connsiteX26" fmla="*/ 2434 w 10000"/>
                <a:gd name="connsiteY26" fmla="*/ 8593 h 12187"/>
                <a:gd name="connsiteX27" fmla="*/ 2696 w 10000"/>
                <a:gd name="connsiteY27" fmla="*/ 8627 h 12187"/>
                <a:gd name="connsiteX28" fmla="*/ 2980 w 10000"/>
                <a:gd name="connsiteY28" fmla="*/ 8997 h 12187"/>
                <a:gd name="connsiteX29" fmla="*/ 3050 w 10000"/>
                <a:gd name="connsiteY29" fmla="*/ 9570 h 12187"/>
                <a:gd name="connsiteX30" fmla="*/ 3114 w 10000"/>
                <a:gd name="connsiteY30" fmla="*/ 9782 h 12187"/>
                <a:gd name="connsiteX31" fmla="*/ 3471 w 10000"/>
                <a:gd name="connsiteY31" fmla="*/ 10271 h 12187"/>
                <a:gd name="connsiteX32" fmla="*/ 3471 w 10000"/>
                <a:gd name="connsiteY32" fmla="*/ 10642 h 12187"/>
                <a:gd name="connsiteX33" fmla="*/ 3997 w 10000"/>
                <a:gd name="connsiteY33" fmla="*/ 11040 h 12187"/>
                <a:gd name="connsiteX34" fmla="*/ 4285 w 10000"/>
                <a:gd name="connsiteY34" fmla="*/ 10616 h 12187"/>
                <a:gd name="connsiteX35" fmla="*/ 4643 w 10000"/>
                <a:gd name="connsiteY35" fmla="*/ 10936 h 12187"/>
                <a:gd name="connsiteX36" fmla="*/ 4928 w 10000"/>
                <a:gd name="connsiteY36" fmla="*/ 10458 h 12187"/>
                <a:gd name="connsiteX37" fmla="*/ 5251 w 10000"/>
                <a:gd name="connsiteY37" fmla="*/ 11217 h 12187"/>
                <a:gd name="connsiteX38" fmla="*/ 5709 w 10000"/>
                <a:gd name="connsiteY38" fmla="*/ 11639 h 12187"/>
                <a:gd name="connsiteX39" fmla="*/ 5759 w 10000"/>
                <a:gd name="connsiteY39" fmla="*/ 12012 h 12187"/>
                <a:gd name="connsiteX40" fmla="*/ 5946 w 10000"/>
                <a:gd name="connsiteY40" fmla="*/ 12060 h 12187"/>
                <a:gd name="connsiteX41" fmla="*/ 6216 w 10000"/>
                <a:gd name="connsiteY41" fmla="*/ 11714 h 12187"/>
                <a:gd name="connsiteX42" fmla="*/ 6558 w 10000"/>
                <a:gd name="connsiteY42" fmla="*/ 11927 h 12187"/>
                <a:gd name="connsiteX43" fmla="*/ 6675 w 10000"/>
                <a:gd name="connsiteY43" fmla="*/ 11743 h 12187"/>
                <a:gd name="connsiteX44" fmla="*/ 6797 w 10000"/>
                <a:gd name="connsiteY44" fmla="*/ 11714 h 12187"/>
                <a:gd name="connsiteX45" fmla="*/ 7029 w 10000"/>
                <a:gd name="connsiteY45" fmla="*/ 12187 h 12187"/>
                <a:gd name="connsiteX46" fmla="*/ 7251 w 10000"/>
                <a:gd name="connsiteY46" fmla="*/ 11792 h 12187"/>
                <a:gd name="connsiteX47" fmla="*/ 7521 w 10000"/>
                <a:gd name="connsiteY47" fmla="*/ 11818 h 12187"/>
                <a:gd name="connsiteX48" fmla="*/ 7727 w 10000"/>
                <a:gd name="connsiteY48" fmla="*/ 11608 h 12187"/>
                <a:gd name="connsiteX49" fmla="*/ 8015 w 10000"/>
                <a:gd name="connsiteY49" fmla="*/ 11818 h 12187"/>
                <a:gd name="connsiteX50" fmla="*/ 8389 w 10000"/>
                <a:gd name="connsiteY50" fmla="*/ 11167 h 12187"/>
                <a:gd name="connsiteX51" fmla="*/ 8521 w 10000"/>
                <a:gd name="connsiteY51" fmla="*/ 11167 h 12187"/>
                <a:gd name="connsiteX52" fmla="*/ 8760 w 10000"/>
                <a:gd name="connsiteY52" fmla="*/ 10642 h 12187"/>
                <a:gd name="connsiteX53" fmla="*/ 9775 w 10000"/>
                <a:gd name="connsiteY53" fmla="*/ 10616 h 12187"/>
                <a:gd name="connsiteX54" fmla="*/ 10000 w 10000"/>
                <a:gd name="connsiteY54" fmla="*/ 10404 h 12187"/>
                <a:gd name="connsiteX55" fmla="*/ 9983 w 10000"/>
                <a:gd name="connsiteY55" fmla="*/ 10146 h 12187"/>
                <a:gd name="connsiteX56" fmla="*/ 9915 w 10000"/>
                <a:gd name="connsiteY56" fmla="*/ 9570 h 12187"/>
                <a:gd name="connsiteX57" fmla="*/ 9491 w 10000"/>
                <a:gd name="connsiteY57" fmla="*/ 9383 h 12187"/>
                <a:gd name="connsiteX58" fmla="*/ 9288 w 10000"/>
                <a:gd name="connsiteY58" fmla="*/ 8467 h 12187"/>
                <a:gd name="connsiteX59" fmla="*/ 9169 w 10000"/>
                <a:gd name="connsiteY59" fmla="*/ 8363 h 12187"/>
                <a:gd name="connsiteX60" fmla="*/ 9138 w 10000"/>
                <a:gd name="connsiteY60" fmla="*/ 7711 h 12187"/>
                <a:gd name="connsiteX61" fmla="*/ 8985 w 10000"/>
                <a:gd name="connsiteY61" fmla="*/ 7681 h 12187"/>
                <a:gd name="connsiteX62" fmla="*/ 8928 w 10000"/>
                <a:gd name="connsiteY62" fmla="*/ 7345 h 12187"/>
                <a:gd name="connsiteX63" fmla="*/ 8674 w 10000"/>
                <a:gd name="connsiteY63" fmla="*/ 7262 h 12187"/>
                <a:gd name="connsiteX64" fmla="*/ 8590 w 10000"/>
                <a:gd name="connsiteY64" fmla="*/ 6744 h 12187"/>
                <a:gd name="connsiteX65" fmla="*/ 8168 w 10000"/>
                <a:gd name="connsiteY65" fmla="*/ 6244 h 12187"/>
                <a:gd name="connsiteX66" fmla="*/ 7708 w 10000"/>
                <a:gd name="connsiteY66" fmla="*/ 6165 h 12187"/>
                <a:gd name="connsiteX67" fmla="*/ 7829 w 10000"/>
                <a:gd name="connsiteY67" fmla="*/ 5589 h 12187"/>
                <a:gd name="connsiteX68" fmla="*/ 7796 w 10000"/>
                <a:gd name="connsiteY68" fmla="*/ 5169 h 12187"/>
                <a:gd name="connsiteX69" fmla="*/ 8185 w 10000"/>
                <a:gd name="connsiteY69" fmla="*/ 5198 h 12187"/>
                <a:gd name="connsiteX70" fmla="*/ 8269 w 10000"/>
                <a:gd name="connsiteY70" fmla="*/ 5323 h 12187"/>
                <a:gd name="connsiteX71" fmla="*/ 8506 w 10000"/>
                <a:gd name="connsiteY71" fmla="*/ 5061 h 12187"/>
                <a:gd name="connsiteX72" fmla="*/ 8575 w 10000"/>
                <a:gd name="connsiteY72" fmla="*/ 4126 h 12187"/>
                <a:gd name="connsiteX73" fmla="*/ 8474 w 10000"/>
                <a:gd name="connsiteY73" fmla="*/ 3415 h 12187"/>
                <a:gd name="connsiteX74" fmla="*/ 8760 w 10000"/>
                <a:gd name="connsiteY74" fmla="*/ 2840 h 12187"/>
                <a:gd name="connsiteX75" fmla="*/ 8312 w 10000"/>
                <a:gd name="connsiteY75" fmla="*/ 2192 h 12187"/>
                <a:gd name="connsiteX0" fmla="*/ 8312 w 10000"/>
                <a:gd name="connsiteY0" fmla="*/ 2218 h 12213"/>
                <a:gd name="connsiteX1" fmla="*/ 7812 w 10000"/>
                <a:gd name="connsiteY1" fmla="*/ 47 h 12213"/>
                <a:gd name="connsiteX2" fmla="*/ 7523 w 10000"/>
                <a:gd name="connsiteY2" fmla="*/ 815 h 12213"/>
                <a:gd name="connsiteX3" fmla="*/ 7523 w 10000"/>
                <a:gd name="connsiteY3" fmla="*/ 1871 h 12213"/>
                <a:gd name="connsiteX4" fmla="*/ 6367 w 10000"/>
                <a:gd name="connsiteY4" fmla="*/ 3696 h 12213"/>
                <a:gd name="connsiteX5" fmla="*/ 5356 w 10000"/>
                <a:gd name="connsiteY5" fmla="*/ 2927 h 12213"/>
                <a:gd name="connsiteX6" fmla="*/ 4417 w 10000"/>
                <a:gd name="connsiteY6" fmla="*/ 3792 h 12213"/>
                <a:gd name="connsiteX7" fmla="*/ 3551 w 10000"/>
                <a:gd name="connsiteY7" fmla="*/ 3695 h 12213"/>
                <a:gd name="connsiteX8" fmla="*/ 2597 w 10000"/>
                <a:gd name="connsiteY8" fmla="*/ 4008 h 12213"/>
                <a:gd name="connsiteX9" fmla="*/ 1875 w 10000"/>
                <a:gd name="connsiteY9" fmla="*/ 2823 h 12213"/>
                <a:gd name="connsiteX10" fmla="*/ 1212 w 10000"/>
                <a:gd name="connsiteY10" fmla="*/ 3467 h 12213"/>
                <a:gd name="connsiteX11" fmla="*/ 508 w 10000"/>
                <a:gd name="connsiteY11" fmla="*/ 3496 h 12213"/>
                <a:gd name="connsiteX12" fmla="*/ 12 w 10000"/>
                <a:gd name="connsiteY12" fmla="*/ 4331 h 12213"/>
                <a:gd name="connsiteX13" fmla="*/ 151 w 10000"/>
                <a:gd name="connsiteY13" fmla="*/ 4512 h 12213"/>
                <a:gd name="connsiteX14" fmla="*/ 48 w 10000"/>
                <a:gd name="connsiteY14" fmla="*/ 4798 h 12213"/>
                <a:gd name="connsiteX15" fmla="*/ 625 w 10000"/>
                <a:gd name="connsiteY15" fmla="*/ 4881 h 12213"/>
                <a:gd name="connsiteX16" fmla="*/ 625 w 10000"/>
                <a:gd name="connsiteY16" fmla="*/ 5063 h 12213"/>
                <a:gd name="connsiteX17" fmla="*/ 605 w 10000"/>
                <a:gd name="connsiteY17" fmla="*/ 5483 h 12213"/>
                <a:gd name="connsiteX18" fmla="*/ 1216 w 10000"/>
                <a:gd name="connsiteY18" fmla="*/ 5636 h 12213"/>
                <a:gd name="connsiteX19" fmla="*/ 1216 w 10000"/>
                <a:gd name="connsiteY19" fmla="*/ 5987 h 12213"/>
                <a:gd name="connsiteX20" fmla="*/ 1539 w 10000"/>
                <a:gd name="connsiteY20" fmla="*/ 6243 h 12213"/>
                <a:gd name="connsiteX21" fmla="*/ 1437 w 10000"/>
                <a:gd name="connsiteY21" fmla="*/ 6631 h 12213"/>
                <a:gd name="connsiteX22" fmla="*/ 1891 w 10000"/>
                <a:gd name="connsiteY22" fmla="*/ 6976 h 12213"/>
                <a:gd name="connsiteX23" fmla="*/ 2167 w 10000"/>
                <a:gd name="connsiteY23" fmla="*/ 7602 h 12213"/>
                <a:gd name="connsiteX24" fmla="*/ 2419 w 10000"/>
                <a:gd name="connsiteY24" fmla="*/ 7844 h 12213"/>
                <a:gd name="connsiteX25" fmla="*/ 2318 w 10000"/>
                <a:gd name="connsiteY25" fmla="*/ 8052 h 12213"/>
                <a:gd name="connsiteX26" fmla="*/ 2454 w 10000"/>
                <a:gd name="connsiteY26" fmla="*/ 8286 h 12213"/>
                <a:gd name="connsiteX27" fmla="*/ 2434 w 10000"/>
                <a:gd name="connsiteY27" fmla="*/ 8619 h 12213"/>
                <a:gd name="connsiteX28" fmla="*/ 2696 w 10000"/>
                <a:gd name="connsiteY28" fmla="*/ 8653 h 12213"/>
                <a:gd name="connsiteX29" fmla="*/ 2980 w 10000"/>
                <a:gd name="connsiteY29" fmla="*/ 9023 h 12213"/>
                <a:gd name="connsiteX30" fmla="*/ 3050 w 10000"/>
                <a:gd name="connsiteY30" fmla="*/ 9596 h 12213"/>
                <a:gd name="connsiteX31" fmla="*/ 3114 w 10000"/>
                <a:gd name="connsiteY31" fmla="*/ 9808 h 12213"/>
                <a:gd name="connsiteX32" fmla="*/ 3471 w 10000"/>
                <a:gd name="connsiteY32" fmla="*/ 10297 h 12213"/>
                <a:gd name="connsiteX33" fmla="*/ 3471 w 10000"/>
                <a:gd name="connsiteY33" fmla="*/ 10668 h 12213"/>
                <a:gd name="connsiteX34" fmla="*/ 3997 w 10000"/>
                <a:gd name="connsiteY34" fmla="*/ 11066 h 12213"/>
                <a:gd name="connsiteX35" fmla="*/ 4285 w 10000"/>
                <a:gd name="connsiteY35" fmla="*/ 10642 h 12213"/>
                <a:gd name="connsiteX36" fmla="*/ 4643 w 10000"/>
                <a:gd name="connsiteY36" fmla="*/ 10962 h 12213"/>
                <a:gd name="connsiteX37" fmla="*/ 4928 w 10000"/>
                <a:gd name="connsiteY37" fmla="*/ 10484 h 12213"/>
                <a:gd name="connsiteX38" fmla="*/ 5251 w 10000"/>
                <a:gd name="connsiteY38" fmla="*/ 11243 h 12213"/>
                <a:gd name="connsiteX39" fmla="*/ 5709 w 10000"/>
                <a:gd name="connsiteY39" fmla="*/ 11665 h 12213"/>
                <a:gd name="connsiteX40" fmla="*/ 5759 w 10000"/>
                <a:gd name="connsiteY40" fmla="*/ 12038 h 12213"/>
                <a:gd name="connsiteX41" fmla="*/ 5946 w 10000"/>
                <a:gd name="connsiteY41" fmla="*/ 12086 h 12213"/>
                <a:gd name="connsiteX42" fmla="*/ 6216 w 10000"/>
                <a:gd name="connsiteY42" fmla="*/ 11740 h 12213"/>
                <a:gd name="connsiteX43" fmla="*/ 6558 w 10000"/>
                <a:gd name="connsiteY43" fmla="*/ 11953 h 12213"/>
                <a:gd name="connsiteX44" fmla="*/ 6675 w 10000"/>
                <a:gd name="connsiteY44" fmla="*/ 11769 h 12213"/>
                <a:gd name="connsiteX45" fmla="*/ 6797 w 10000"/>
                <a:gd name="connsiteY45" fmla="*/ 11740 h 12213"/>
                <a:gd name="connsiteX46" fmla="*/ 7029 w 10000"/>
                <a:gd name="connsiteY46" fmla="*/ 12213 h 12213"/>
                <a:gd name="connsiteX47" fmla="*/ 7251 w 10000"/>
                <a:gd name="connsiteY47" fmla="*/ 11818 h 12213"/>
                <a:gd name="connsiteX48" fmla="*/ 7521 w 10000"/>
                <a:gd name="connsiteY48" fmla="*/ 11844 h 12213"/>
                <a:gd name="connsiteX49" fmla="*/ 7727 w 10000"/>
                <a:gd name="connsiteY49" fmla="*/ 11634 h 12213"/>
                <a:gd name="connsiteX50" fmla="*/ 8015 w 10000"/>
                <a:gd name="connsiteY50" fmla="*/ 11844 h 12213"/>
                <a:gd name="connsiteX51" fmla="*/ 8389 w 10000"/>
                <a:gd name="connsiteY51" fmla="*/ 11193 h 12213"/>
                <a:gd name="connsiteX52" fmla="*/ 8521 w 10000"/>
                <a:gd name="connsiteY52" fmla="*/ 11193 h 12213"/>
                <a:gd name="connsiteX53" fmla="*/ 8760 w 10000"/>
                <a:gd name="connsiteY53" fmla="*/ 10668 h 12213"/>
                <a:gd name="connsiteX54" fmla="*/ 9775 w 10000"/>
                <a:gd name="connsiteY54" fmla="*/ 10642 h 12213"/>
                <a:gd name="connsiteX55" fmla="*/ 10000 w 10000"/>
                <a:gd name="connsiteY55" fmla="*/ 10430 h 12213"/>
                <a:gd name="connsiteX56" fmla="*/ 9983 w 10000"/>
                <a:gd name="connsiteY56" fmla="*/ 10172 h 12213"/>
                <a:gd name="connsiteX57" fmla="*/ 9915 w 10000"/>
                <a:gd name="connsiteY57" fmla="*/ 9596 h 12213"/>
                <a:gd name="connsiteX58" fmla="*/ 9491 w 10000"/>
                <a:gd name="connsiteY58" fmla="*/ 9409 h 12213"/>
                <a:gd name="connsiteX59" fmla="*/ 9288 w 10000"/>
                <a:gd name="connsiteY59" fmla="*/ 8493 h 12213"/>
                <a:gd name="connsiteX60" fmla="*/ 9169 w 10000"/>
                <a:gd name="connsiteY60" fmla="*/ 8389 h 12213"/>
                <a:gd name="connsiteX61" fmla="*/ 9138 w 10000"/>
                <a:gd name="connsiteY61" fmla="*/ 7737 h 12213"/>
                <a:gd name="connsiteX62" fmla="*/ 8985 w 10000"/>
                <a:gd name="connsiteY62" fmla="*/ 7707 h 12213"/>
                <a:gd name="connsiteX63" fmla="*/ 8928 w 10000"/>
                <a:gd name="connsiteY63" fmla="*/ 7371 h 12213"/>
                <a:gd name="connsiteX64" fmla="*/ 8674 w 10000"/>
                <a:gd name="connsiteY64" fmla="*/ 7288 h 12213"/>
                <a:gd name="connsiteX65" fmla="*/ 8590 w 10000"/>
                <a:gd name="connsiteY65" fmla="*/ 6770 h 12213"/>
                <a:gd name="connsiteX66" fmla="*/ 8168 w 10000"/>
                <a:gd name="connsiteY66" fmla="*/ 6270 h 12213"/>
                <a:gd name="connsiteX67" fmla="*/ 7708 w 10000"/>
                <a:gd name="connsiteY67" fmla="*/ 6191 h 12213"/>
                <a:gd name="connsiteX68" fmla="*/ 7829 w 10000"/>
                <a:gd name="connsiteY68" fmla="*/ 5615 h 12213"/>
                <a:gd name="connsiteX69" fmla="*/ 7796 w 10000"/>
                <a:gd name="connsiteY69" fmla="*/ 5195 h 12213"/>
                <a:gd name="connsiteX70" fmla="*/ 8185 w 10000"/>
                <a:gd name="connsiteY70" fmla="*/ 5224 h 12213"/>
                <a:gd name="connsiteX71" fmla="*/ 8269 w 10000"/>
                <a:gd name="connsiteY71" fmla="*/ 5349 h 12213"/>
                <a:gd name="connsiteX72" fmla="*/ 8506 w 10000"/>
                <a:gd name="connsiteY72" fmla="*/ 5087 h 12213"/>
                <a:gd name="connsiteX73" fmla="*/ 8575 w 10000"/>
                <a:gd name="connsiteY73" fmla="*/ 4152 h 12213"/>
                <a:gd name="connsiteX74" fmla="*/ 8474 w 10000"/>
                <a:gd name="connsiteY74" fmla="*/ 3441 h 12213"/>
                <a:gd name="connsiteX75" fmla="*/ 8760 w 10000"/>
                <a:gd name="connsiteY75" fmla="*/ 2866 h 12213"/>
                <a:gd name="connsiteX76" fmla="*/ 8312 w 10000"/>
                <a:gd name="connsiteY76" fmla="*/ 2218 h 12213"/>
                <a:gd name="connsiteX0" fmla="*/ 8312 w 10000"/>
                <a:gd name="connsiteY0" fmla="*/ 2373 h 12368"/>
                <a:gd name="connsiteX1" fmla="*/ 7812 w 10000"/>
                <a:gd name="connsiteY1" fmla="*/ 202 h 12368"/>
                <a:gd name="connsiteX2" fmla="*/ 7090 w 10000"/>
                <a:gd name="connsiteY2" fmla="*/ 202 h 12368"/>
                <a:gd name="connsiteX3" fmla="*/ 7523 w 10000"/>
                <a:gd name="connsiteY3" fmla="*/ 2026 h 12368"/>
                <a:gd name="connsiteX4" fmla="*/ 6367 w 10000"/>
                <a:gd name="connsiteY4" fmla="*/ 3851 h 12368"/>
                <a:gd name="connsiteX5" fmla="*/ 5356 w 10000"/>
                <a:gd name="connsiteY5" fmla="*/ 3082 h 12368"/>
                <a:gd name="connsiteX6" fmla="*/ 4417 w 10000"/>
                <a:gd name="connsiteY6" fmla="*/ 3947 h 12368"/>
                <a:gd name="connsiteX7" fmla="*/ 3551 w 10000"/>
                <a:gd name="connsiteY7" fmla="*/ 3850 h 12368"/>
                <a:gd name="connsiteX8" fmla="*/ 2597 w 10000"/>
                <a:gd name="connsiteY8" fmla="*/ 4163 h 12368"/>
                <a:gd name="connsiteX9" fmla="*/ 1875 w 10000"/>
                <a:gd name="connsiteY9" fmla="*/ 2978 h 12368"/>
                <a:gd name="connsiteX10" fmla="*/ 1212 w 10000"/>
                <a:gd name="connsiteY10" fmla="*/ 3622 h 12368"/>
                <a:gd name="connsiteX11" fmla="*/ 508 w 10000"/>
                <a:gd name="connsiteY11" fmla="*/ 3651 h 12368"/>
                <a:gd name="connsiteX12" fmla="*/ 12 w 10000"/>
                <a:gd name="connsiteY12" fmla="*/ 4486 h 12368"/>
                <a:gd name="connsiteX13" fmla="*/ 151 w 10000"/>
                <a:gd name="connsiteY13" fmla="*/ 4667 h 12368"/>
                <a:gd name="connsiteX14" fmla="*/ 48 w 10000"/>
                <a:gd name="connsiteY14" fmla="*/ 4953 h 12368"/>
                <a:gd name="connsiteX15" fmla="*/ 625 w 10000"/>
                <a:gd name="connsiteY15" fmla="*/ 5036 h 12368"/>
                <a:gd name="connsiteX16" fmla="*/ 625 w 10000"/>
                <a:gd name="connsiteY16" fmla="*/ 5218 h 12368"/>
                <a:gd name="connsiteX17" fmla="*/ 605 w 10000"/>
                <a:gd name="connsiteY17" fmla="*/ 5638 h 12368"/>
                <a:gd name="connsiteX18" fmla="*/ 1216 w 10000"/>
                <a:gd name="connsiteY18" fmla="*/ 5791 h 12368"/>
                <a:gd name="connsiteX19" fmla="*/ 1216 w 10000"/>
                <a:gd name="connsiteY19" fmla="*/ 6142 h 12368"/>
                <a:gd name="connsiteX20" fmla="*/ 1539 w 10000"/>
                <a:gd name="connsiteY20" fmla="*/ 6398 h 12368"/>
                <a:gd name="connsiteX21" fmla="*/ 1437 w 10000"/>
                <a:gd name="connsiteY21" fmla="*/ 6786 h 12368"/>
                <a:gd name="connsiteX22" fmla="*/ 1891 w 10000"/>
                <a:gd name="connsiteY22" fmla="*/ 7131 h 12368"/>
                <a:gd name="connsiteX23" fmla="*/ 2167 w 10000"/>
                <a:gd name="connsiteY23" fmla="*/ 7757 h 12368"/>
                <a:gd name="connsiteX24" fmla="*/ 2419 w 10000"/>
                <a:gd name="connsiteY24" fmla="*/ 7999 h 12368"/>
                <a:gd name="connsiteX25" fmla="*/ 2318 w 10000"/>
                <a:gd name="connsiteY25" fmla="*/ 8207 h 12368"/>
                <a:gd name="connsiteX26" fmla="*/ 2454 w 10000"/>
                <a:gd name="connsiteY26" fmla="*/ 8441 h 12368"/>
                <a:gd name="connsiteX27" fmla="*/ 2434 w 10000"/>
                <a:gd name="connsiteY27" fmla="*/ 8774 h 12368"/>
                <a:gd name="connsiteX28" fmla="*/ 2696 w 10000"/>
                <a:gd name="connsiteY28" fmla="*/ 8808 h 12368"/>
                <a:gd name="connsiteX29" fmla="*/ 2980 w 10000"/>
                <a:gd name="connsiteY29" fmla="*/ 9178 h 12368"/>
                <a:gd name="connsiteX30" fmla="*/ 3050 w 10000"/>
                <a:gd name="connsiteY30" fmla="*/ 9751 h 12368"/>
                <a:gd name="connsiteX31" fmla="*/ 3114 w 10000"/>
                <a:gd name="connsiteY31" fmla="*/ 9963 h 12368"/>
                <a:gd name="connsiteX32" fmla="*/ 3471 w 10000"/>
                <a:gd name="connsiteY32" fmla="*/ 10452 h 12368"/>
                <a:gd name="connsiteX33" fmla="*/ 3471 w 10000"/>
                <a:gd name="connsiteY33" fmla="*/ 10823 h 12368"/>
                <a:gd name="connsiteX34" fmla="*/ 3997 w 10000"/>
                <a:gd name="connsiteY34" fmla="*/ 11221 h 12368"/>
                <a:gd name="connsiteX35" fmla="*/ 4285 w 10000"/>
                <a:gd name="connsiteY35" fmla="*/ 10797 h 12368"/>
                <a:gd name="connsiteX36" fmla="*/ 4643 w 10000"/>
                <a:gd name="connsiteY36" fmla="*/ 11117 h 12368"/>
                <a:gd name="connsiteX37" fmla="*/ 4928 w 10000"/>
                <a:gd name="connsiteY37" fmla="*/ 10639 h 12368"/>
                <a:gd name="connsiteX38" fmla="*/ 5251 w 10000"/>
                <a:gd name="connsiteY38" fmla="*/ 11398 h 12368"/>
                <a:gd name="connsiteX39" fmla="*/ 5709 w 10000"/>
                <a:gd name="connsiteY39" fmla="*/ 11820 h 12368"/>
                <a:gd name="connsiteX40" fmla="*/ 5759 w 10000"/>
                <a:gd name="connsiteY40" fmla="*/ 12193 h 12368"/>
                <a:gd name="connsiteX41" fmla="*/ 5946 w 10000"/>
                <a:gd name="connsiteY41" fmla="*/ 12241 h 12368"/>
                <a:gd name="connsiteX42" fmla="*/ 6216 w 10000"/>
                <a:gd name="connsiteY42" fmla="*/ 11895 h 12368"/>
                <a:gd name="connsiteX43" fmla="*/ 6558 w 10000"/>
                <a:gd name="connsiteY43" fmla="*/ 12108 h 12368"/>
                <a:gd name="connsiteX44" fmla="*/ 6675 w 10000"/>
                <a:gd name="connsiteY44" fmla="*/ 11924 h 12368"/>
                <a:gd name="connsiteX45" fmla="*/ 6797 w 10000"/>
                <a:gd name="connsiteY45" fmla="*/ 11895 h 12368"/>
                <a:gd name="connsiteX46" fmla="*/ 7029 w 10000"/>
                <a:gd name="connsiteY46" fmla="*/ 12368 h 12368"/>
                <a:gd name="connsiteX47" fmla="*/ 7251 w 10000"/>
                <a:gd name="connsiteY47" fmla="*/ 11973 h 12368"/>
                <a:gd name="connsiteX48" fmla="*/ 7521 w 10000"/>
                <a:gd name="connsiteY48" fmla="*/ 11999 h 12368"/>
                <a:gd name="connsiteX49" fmla="*/ 7727 w 10000"/>
                <a:gd name="connsiteY49" fmla="*/ 11789 h 12368"/>
                <a:gd name="connsiteX50" fmla="*/ 8015 w 10000"/>
                <a:gd name="connsiteY50" fmla="*/ 11999 h 12368"/>
                <a:gd name="connsiteX51" fmla="*/ 8389 w 10000"/>
                <a:gd name="connsiteY51" fmla="*/ 11348 h 12368"/>
                <a:gd name="connsiteX52" fmla="*/ 8521 w 10000"/>
                <a:gd name="connsiteY52" fmla="*/ 11348 h 12368"/>
                <a:gd name="connsiteX53" fmla="*/ 8760 w 10000"/>
                <a:gd name="connsiteY53" fmla="*/ 10823 h 12368"/>
                <a:gd name="connsiteX54" fmla="*/ 9775 w 10000"/>
                <a:gd name="connsiteY54" fmla="*/ 10797 h 12368"/>
                <a:gd name="connsiteX55" fmla="*/ 10000 w 10000"/>
                <a:gd name="connsiteY55" fmla="*/ 10585 h 12368"/>
                <a:gd name="connsiteX56" fmla="*/ 9983 w 10000"/>
                <a:gd name="connsiteY56" fmla="*/ 10327 h 12368"/>
                <a:gd name="connsiteX57" fmla="*/ 9915 w 10000"/>
                <a:gd name="connsiteY57" fmla="*/ 9751 h 12368"/>
                <a:gd name="connsiteX58" fmla="*/ 9491 w 10000"/>
                <a:gd name="connsiteY58" fmla="*/ 9564 h 12368"/>
                <a:gd name="connsiteX59" fmla="*/ 9288 w 10000"/>
                <a:gd name="connsiteY59" fmla="*/ 8648 h 12368"/>
                <a:gd name="connsiteX60" fmla="*/ 9169 w 10000"/>
                <a:gd name="connsiteY60" fmla="*/ 8544 h 12368"/>
                <a:gd name="connsiteX61" fmla="*/ 9138 w 10000"/>
                <a:gd name="connsiteY61" fmla="*/ 7892 h 12368"/>
                <a:gd name="connsiteX62" fmla="*/ 8985 w 10000"/>
                <a:gd name="connsiteY62" fmla="*/ 7862 h 12368"/>
                <a:gd name="connsiteX63" fmla="*/ 8928 w 10000"/>
                <a:gd name="connsiteY63" fmla="*/ 7526 h 12368"/>
                <a:gd name="connsiteX64" fmla="*/ 8674 w 10000"/>
                <a:gd name="connsiteY64" fmla="*/ 7443 h 12368"/>
                <a:gd name="connsiteX65" fmla="*/ 8590 w 10000"/>
                <a:gd name="connsiteY65" fmla="*/ 6925 h 12368"/>
                <a:gd name="connsiteX66" fmla="*/ 8168 w 10000"/>
                <a:gd name="connsiteY66" fmla="*/ 6425 h 12368"/>
                <a:gd name="connsiteX67" fmla="*/ 7708 w 10000"/>
                <a:gd name="connsiteY67" fmla="*/ 6346 h 12368"/>
                <a:gd name="connsiteX68" fmla="*/ 7829 w 10000"/>
                <a:gd name="connsiteY68" fmla="*/ 5770 h 12368"/>
                <a:gd name="connsiteX69" fmla="*/ 7796 w 10000"/>
                <a:gd name="connsiteY69" fmla="*/ 5350 h 12368"/>
                <a:gd name="connsiteX70" fmla="*/ 8185 w 10000"/>
                <a:gd name="connsiteY70" fmla="*/ 5379 h 12368"/>
                <a:gd name="connsiteX71" fmla="*/ 8269 w 10000"/>
                <a:gd name="connsiteY71" fmla="*/ 5504 h 12368"/>
                <a:gd name="connsiteX72" fmla="*/ 8506 w 10000"/>
                <a:gd name="connsiteY72" fmla="*/ 5242 h 12368"/>
                <a:gd name="connsiteX73" fmla="*/ 8575 w 10000"/>
                <a:gd name="connsiteY73" fmla="*/ 4307 h 12368"/>
                <a:gd name="connsiteX74" fmla="*/ 8474 w 10000"/>
                <a:gd name="connsiteY74" fmla="*/ 3596 h 12368"/>
                <a:gd name="connsiteX75" fmla="*/ 8760 w 10000"/>
                <a:gd name="connsiteY75" fmla="*/ 3021 h 12368"/>
                <a:gd name="connsiteX76" fmla="*/ 8312 w 10000"/>
                <a:gd name="connsiteY76" fmla="*/ 2373 h 12368"/>
                <a:gd name="connsiteX0" fmla="*/ 8312 w 10000"/>
                <a:gd name="connsiteY0" fmla="*/ 2224 h 12219"/>
                <a:gd name="connsiteX1" fmla="*/ 7812 w 10000"/>
                <a:gd name="connsiteY1" fmla="*/ 53 h 12219"/>
                <a:gd name="connsiteX2" fmla="*/ 7090 w 10000"/>
                <a:gd name="connsiteY2" fmla="*/ 725 h 12219"/>
                <a:gd name="connsiteX3" fmla="*/ 7523 w 10000"/>
                <a:gd name="connsiteY3" fmla="*/ 1877 h 12219"/>
                <a:gd name="connsiteX4" fmla="*/ 6367 w 10000"/>
                <a:gd name="connsiteY4" fmla="*/ 3702 h 12219"/>
                <a:gd name="connsiteX5" fmla="*/ 5356 w 10000"/>
                <a:gd name="connsiteY5" fmla="*/ 2933 h 12219"/>
                <a:gd name="connsiteX6" fmla="*/ 4417 w 10000"/>
                <a:gd name="connsiteY6" fmla="*/ 3798 h 12219"/>
                <a:gd name="connsiteX7" fmla="*/ 3551 w 10000"/>
                <a:gd name="connsiteY7" fmla="*/ 3701 h 12219"/>
                <a:gd name="connsiteX8" fmla="*/ 2597 w 10000"/>
                <a:gd name="connsiteY8" fmla="*/ 4014 h 12219"/>
                <a:gd name="connsiteX9" fmla="*/ 1875 w 10000"/>
                <a:gd name="connsiteY9" fmla="*/ 2829 h 12219"/>
                <a:gd name="connsiteX10" fmla="*/ 1212 w 10000"/>
                <a:gd name="connsiteY10" fmla="*/ 3473 h 12219"/>
                <a:gd name="connsiteX11" fmla="*/ 508 w 10000"/>
                <a:gd name="connsiteY11" fmla="*/ 3502 h 12219"/>
                <a:gd name="connsiteX12" fmla="*/ 12 w 10000"/>
                <a:gd name="connsiteY12" fmla="*/ 4337 h 12219"/>
                <a:gd name="connsiteX13" fmla="*/ 151 w 10000"/>
                <a:gd name="connsiteY13" fmla="*/ 4518 h 12219"/>
                <a:gd name="connsiteX14" fmla="*/ 48 w 10000"/>
                <a:gd name="connsiteY14" fmla="*/ 4804 h 12219"/>
                <a:gd name="connsiteX15" fmla="*/ 625 w 10000"/>
                <a:gd name="connsiteY15" fmla="*/ 4887 h 12219"/>
                <a:gd name="connsiteX16" fmla="*/ 625 w 10000"/>
                <a:gd name="connsiteY16" fmla="*/ 5069 h 12219"/>
                <a:gd name="connsiteX17" fmla="*/ 605 w 10000"/>
                <a:gd name="connsiteY17" fmla="*/ 5489 h 12219"/>
                <a:gd name="connsiteX18" fmla="*/ 1216 w 10000"/>
                <a:gd name="connsiteY18" fmla="*/ 5642 h 12219"/>
                <a:gd name="connsiteX19" fmla="*/ 1216 w 10000"/>
                <a:gd name="connsiteY19" fmla="*/ 5993 h 12219"/>
                <a:gd name="connsiteX20" fmla="*/ 1539 w 10000"/>
                <a:gd name="connsiteY20" fmla="*/ 6249 h 12219"/>
                <a:gd name="connsiteX21" fmla="*/ 1437 w 10000"/>
                <a:gd name="connsiteY21" fmla="*/ 6637 h 12219"/>
                <a:gd name="connsiteX22" fmla="*/ 1891 w 10000"/>
                <a:gd name="connsiteY22" fmla="*/ 6982 h 12219"/>
                <a:gd name="connsiteX23" fmla="*/ 2167 w 10000"/>
                <a:gd name="connsiteY23" fmla="*/ 7608 h 12219"/>
                <a:gd name="connsiteX24" fmla="*/ 2419 w 10000"/>
                <a:gd name="connsiteY24" fmla="*/ 7850 h 12219"/>
                <a:gd name="connsiteX25" fmla="*/ 2318 w 10000"/>
                <a:gd name="connsiteY25" fmla="*/ 8058 h 12219"/>
                <a:gd name="connsiteX26" fmla="*/ 2454 w 10000"/>
                <a:gd name="connsiteY26" fmla="*/ 8292 h 12219"/>
                <a:gd name="connsiteX27" fmla="*/ 2434 w 10000"/>
                <a:gd name="connsiteY27" fmla="*/ 8625 h 12219"/>
                <a:gd name="connsiteX28" fmla="*/ 2696 w 10000"/>
                <a:gd name="connsiteY28" fmla="*/ 8659 h 12219"/>
                <a:gd name="connsiteX29" fmla="*/ 2980 w 10000"/>
                <a:gd name="connsiteY29" fmla="*/ 9029 h 12219"/>
                <a:gd name="connsiteX30" fmla="*/ 3050 w 10000"/>
                <a:gd name="connsiteY30" fmla="*/ 9602 h 12219"/>
                <a:gd name="connsiteX31" fmla="*/ 3114 w 10000"/>
                <a:gd name="connsiteY31" fmla="*/ 9814 h 12219"/>
                <a:gd name="connsiteX32" fmla="*/ 3471 w 10000"/>
                <a:gd name="connsiteY32" fmla="*/ 10303 h 12219"/>
                <a:gd name="connsiteX33" fmla="*/ 3471 w 10000"/>
                <a:gd name="connsiteY33" fmla="*/ 10674 h 12219"/>
                <a:gd name="connsiteX34" fmla="*/ 3997 w 10000"/>
                <a:gd name="connsiteY34" fmla="*/ 11072 h 12219"/>
                <a:gd name="connsiteX35" fmla="*/ 4285 w 10000"/>
                <a:gd name="connsiteY35" fmla="*/ 10648 h 12219"/>
                <a:gd name="connsiteX36" fmla="*/ 4643 w 10000"/>
                <a:gd name="connsiteY36" fmla="*/ 10968 h 12219"/>
                <a:gd name="connsiteX37" fmla="*/ 4928 w 10000"/>
                <a:gd name="connsiteY37" fmla="*/ 10490 h 12219"/>
                <a:gd name="connsiteX38" fmla="*/ 5251 w 10000"/>
                <a:gd name="connsiteY38" fmla="*/ 11249 h 12219"/>
                <a:gd name="connsiteX39" fmla="*/ 5709 w 10000"/>
                <a:gd name="connsiteY39" fmla="*/ 11671 h 12219"/>
                <a:gd name="connsiteX40" fmla="*/ 5759 w 10000"/>
                <a:gd name="connsiteY40" fmla="*/ 12044 h 12219"/>
                <a:gd name="connsiteX41" fmla="*/ 5946 w 10000"/>
                <a:gd name="connsiteY41" fmla="*/ 12092 h 12219"/>
                <a:gd name="connsiteX42" fmla="*/ 6216 w 10000"/>
                <a:gd name="connsiteY42" fmla="*/ 11746 h 12219"/>
                <a:gd name="connsiteX43" fmla="*/ 6558 w 10000"/>
                <a:gd name="connsiteY43" fmla="*/ 11959 h 12219"/>
                <a:gd name="connsiteX44" fmla="*/ 6675 w 10000"/>
                <a:gd name="connsiteY44" fmla="*/ 11775 h 12219"/>
                <a:gd name="connsiteX45" fmla="*/ 6797 w 10000"/>
                <a:gd name="connsiteY45" fmla="*/ 11746 h 12219"/>
                <a:gd name="connsiteX46" fmla="*/ 7029 w 10000"/>
                <a:gd name="connsiteY46" fmla="*/ 12219 h 12219"/>
                <a:gd name="connsiteX47" fmla="*/ 7251 w 10000"/>
                <a:gd name="connsiteY47" fmla="*/ 11824 h 12219"/>
                <a:gd name="connsiteX48" fmla="*/ 7521 w 10000"/>
                <a:gd name="connsiteY48" fmla="*/ 11850 h 12219"/>
                <a:gd name="connsiteX49" fmla="*/ 7727 w 10000"/>
                <a:gd name="connsiteY49" fmla="*/ 11640 h 12219"/>
                <a:gd name="connsiteX50" fmla="*/ 8015 w 10000"/>
                <a:gd name="connsiteY50" fmla="*/ 11850 h 12219"/>
                <a:gd name="connsiteX51" fmla="*/ 8389 w 10000"/>
                <a:gd name="connsiteY51" fmla="*/ 11199 h 12219"/>
                <a:gd name="connsiteX52" fmla="*/ 8521 w 10000"/>
                <a:gd name="connsiteY52" fmla="*/ 11199 h 12219"/>
                <a:gd name="connsiteX53" fmla="*/ 8760 w 10000"/>
                <a:gd name="connsiteY53" fmla="*/ 10674 h 12219"/>
                <a:gd name="connsiteX54" fmla="*/ 9775 w 10000"/>
                <a:gd name="connsiteY54" fmla="*/ 10648 h 12219"/>
                <a:gd name="connsiteX55" fmla="*/ 10000 w 10000"/>
                <a:gd name="connsiteY55" fmla="*/ 10436 h 12219"/>
                <a:gd name="connsiteX56" fmla="*/ 9983 w 10000"/>
                <a:gd name="connsiteY56" fmla="*/ 10178 h 12219"/>
                <a:gd name="connsiteX57" fmla="*/ 9915 w 10000"/>
                <a:gd name="connsiteY57" fmla="*/ 9602 h 12219"/>
                <a:gd name="connsiteX58" fmla="*/ 9491 w 10000"/>
                <a:gd name="connsiteY58" fmla="*/ 9415 h 12219"/>
                <a:gd name="connsiteX59" fmla="*/ 9288 w 10000"/>
                <a:gd name="connsiteY59" fmla="*/ 8499 h 12219"/>
                <a:gd name="connsiteX60" fmla="*/ 9169 w 10000"/>
                <a:gd name="connsiteY60" fmla="*/ 8395 h 12219"/>
                <a:gd name="connsiteX61" fmla="*/ 9138 w 10000"/>
                <a:gd name="connsiteY61" fmla="*/ 7743 h 12219"/>
                <a:gd name="connsiteX62" fmla="*/ 8985 w 10000"/>
                <a:gd name="connsiteY62" fmla="*/ 7713 h 12219"/>
                <a:gd name="connsiteX63" fmla="*/ 8928 w 10000"/>
                <a:gd name="connsiteY63" fmla="*/ 7377 h 12219"/>
                <a:gd name="connsiteX64" fmla="*/ 8674 w 10000"/>
                <a:gd name="connsiteY64" fmla="*/ 7294 h 12219"/>
                <a:gd name="connsiteX65" fmla="*/ 8590 w 10000"/>
                <a:gd name="connsiteY65" fmla="*/ 6776 h 12219"/>
                <a:gd name="connsiteX66" fmla="*/ 8168 w 10000"/>
                <a:gd name="connsiteY66" fmla="*/ 6276 h 12219"/>
                <a:gd name="connsiteX67" fmla="*/ 7708 w 10000"/>
                <a:gd name="connsiteY67" fmla="*/ 6197 h 12219"/>
                <a:gd name="connsiteX68" fmla="*/ 7829 w 10000"/>
                <a:gd name="connsiteY68" fmla="*/ 5621 h 12219"/>
                <a:gd name="connsiteX69" fmla="*/ 7796 w 10000"/>
                <a:gd name="connsiteY69" fmla="*/ 5201 h 12219"/>
                <a:gd name="connsiteX70" fmla="*/ 8185 w 10000"/>
                <a:gd name="connsiteY70" fmla="*/ 5230 h 12219"/>
                <a:gd name="connsiteX71" fmla="*/ 8269 w 10000"/>
                <a:gd name="connsiteY71" fmla="*/ 5355 h 12219"/>
                <a:gd name="connsiteX72" fmla="*/ 8506 w 10000"/>
                <a:gd name="connsiteY72" fmla="*/ 5093 h 12219"/>
                <a:gd name="connsiteX73" fmla="*/ 8575 w 10000"/>
                <a:gd name="connsiteY73" fmla="*/ 4158 h 12219"/>
                <a:gd name="connsiteX74" fmla="*/ 8474 w 10000"/>
                <a:gd name="connsiteY74" fmla="*/ 3447 h 12219"/>
                <a:gd name="connsiteX75" fmla="*/ 8760 w 10000"/>
                <a:gd name="connsiteY75" fmla="*/ 2872 h 12219"/>
                <a:gd name="connsiteX76" fmla="*/ 8312 w 10000"/>
                <a:gd name="connsiteY76" fmla="*/ 2224 h 12219"/>
                <a:gd name="connsiteX0" fmla="*/ 8312 w 10000"/>
                <a:gd name="connsiteY0" fmla="*/ 2049 h 12044"/>
                <a:gd name="connsiteX1" fmla="*/ 8101 w 10000"/>
                <a:gd name="connsiteY1" fmla="*/ 70 h 12044"/>
                <a:gd name="connsiteX2" fmla="*/ 7090 w 10000"/>
                <a:gd name="connsiteY2" fmla="*/ 550 h 12044"/>
                <a:gd name="connsiteX3" fmla="*/ 7523 w 10000"/>
                <a:gd name="connsiteY3" fmla="*/ 1702 h 12044"/>
                <a:gd name="connsiteX4" fmla="*/ 6367 w 10000"/>
                <a:gd name="connsiteY4" fmla="*/ 3527 h 12044"/>
                <a:gd name="connsiteX5" fmla="*/ 5356 w 10000"/>
                <a:gd name="connsiteY5" fmla="*/ 2758 h 12044"/>
                <a:gd name="connsiteX6" fmla="*/ 4417 w 10000"/>
                <a:gd name="connsiteY6" fmla="*/ 3623 h 12044"/>
                <a:gd name="connsiteX7" fmla="*/ 3551 w 10000"/>
                <a:gd name="connsiteY7" fmla="*/ 3526 h 12044"/>
                <a:gd name="connsiteX8" fmla="*/ 2597 w 10000"/>
                <a:gd name="connsiteY8" fmla="*/ 3839 h 12044"/>
                <a:gd name="connsiteX9" fmla="*/ 1875 w 10000"/>
                <a:gd name="connsiteY9" fmla="*/ 2654 h 12044"/>
                <a:gd name="connsiteX10" fmla="*/ 1212 w 10000"/>
                <a:gd name="connsiteY10" fmla="*/ 3298 h 12044"/>
                <a:gd name="connsiteX11" fmla="*/ 508 w 10000"/>
                <a:gd name="connsiteY11" fmla="*/ 3327 h 12044"/>
                <a:gd name="connsiteX12" fmla="*/ 12 w 10000"/>
                <a:gd name="connsiteY12" fmla="*/ 4162 h 12044"/>
                <a:gd name="connsiteX13" fmla="*/ 151 w 10000"/>
                <a:gd name="connsiteY13" fmla="*/ 4343 h 12044"/>
                <a:gd name="connsiteX14" fmla="*/ 48 w 10000"/>
                <a:gd name="connsiteY14" fmla="*/ 4629 h 12044"/>
                <a:gd name="connsiteX15" fmla="*/ 625 w 10000"/>
                <a:gd name="connsiteY15" fmla="*/ 4712 h 12044"/>
                <a:gd name="connsiteX16" fmla="*/ 625 w 10000"/>
                <a:gd name="connsiteY16" fmla="*/ 4894 h 12044"/>
                <a:gd name="connsiteX17" fmla="*/ 605 w 10000"/>
                <a:gd name="connsiteY17" fmla="*/ 5314 h 12044"/>
                <a:gd name="connsiteX18" fmla="*/ 1216 w 10000"/>
                <a:gd name="connsiteY18" fmla="*/ 5467 h 12044"/>
                <a:gd name="connsiteX19" fmla="*/ 1216 w 10000"/>
                <a:gd name="connsiteY19" fmla="*/ 5818 h 12044"/>
                <a:gd name="connsiteX20" fmla="*/ 1539 w 10000"/>
                <a:gd name="connsiteY20" fmla="*/ 6074 h 12044"/>
                <a:gd name="connsiteX21" fmla="*/ 1437 w 10000"/>
                <a:gd name="connsiteY21" fmla="*/ 6462 h 12044"/>
                <a:gd name="connsiteX22" fmla="*/ 1891 w 10000"/>
                <a:gd name="connsiteY22" fmla="*/ 6807 h 12044"/>
                <a:gd name="connsiteX23" fmla="*/ 2167 w 10000"/>
                <a:gd name="connsiteY23" fmla="*/ 7433 h 12044"/>
                <a:gd name="connsiteX24" fmla="*/ 2419 w 10000"/>
                <a:gd name="connsiteY24" fmla="*/ 7675 h 12044"/>
                <a:gd name="connsiteX25" fmla="*/ 2318 w 10000"/>
                <a:gd name="connsiteY25" fmla="*/ 7883 h 12044"/>
                <a:gd name="connsiteX26" fmla="*/ 2454 w 10000"/>
                <a:gd name="connsiteY26" fmla="*/ 8117 h 12044"/>
                <a:gd name="connsiteX27" fmla="*/ 2434 w 10000"/>
                <a:gd name="connsiteY27" fmla="*/ 8450 h 12044"/>
                <a:gd name="connsiteX28" fmla="*/ 2696 w 10000"/>
                <a:gd name="connsiteY28" fmla="*/ 8484 h 12044"/>
                <a:gd name="connsiteX29" fmla="*/ 2980 w 10000"/>
                <a:gd name="connsiteY29" fmla="*/ 8854 h 12044"/>
                <a:gd name="connsiteX30" fmla="*/ 3050 w 10000"/>
                <a:gd name="connsiteY30" fmla="*/ 9427 h 12044"/>
                <a:gd name="connsiteX31" fmla="*/ 3114 w 10000"/>
                <a:gd name="connsiteY31" fmla="*/ 9639 h 12044"/>
                <a:gd name="connsiteX32" fmla="*/ 3471 w 10000"/>
                <a:gd name="connsiteY32" fmla="*/ 10128 h 12044"/>
                <a:gd name="connsiteX33" fmla="*/ 3471 w 10000"/>
                <a:gd name="connsiteY33" fmla="*/ 10499 h 12044"/>
                <a:gd name="connsiteX34" fmla="*/ 3997 w 10000"/>
                <a:gd name="connsiteY34" fmla="*/ 10897 h 12044"/>
                <a:gd name="connsiteX35" fmla="*/ 4285 w 10000"/>
                <a:gd name="connsiteY35" fmla="*/ 10473 h 12044"/>
                <a:gd name="connsiteX36" fmla="*/ 4643 w 10000"/>
                <a:gd name="connsiteY36" fmla="*/ 10793 h 12044"/>
                <a:gd name="connsiteX37" fmla="*/ 4928 w 10000"/>
                <a:gd name="connsiteY37" fmla="*/ 10315 h 12044"/>
                <a:gd name="connsiteX38" fmla="*/ 5251 w 10000"/>
                <a:gd name="connsiteY38" fmla="*/ 11074 h 12044"/>
                <a:gd name="connsiteX39" fmla="*/ 5709 w 10000"/>
                <a:gd name="connsiteY39" fmla="*/ 11496 h 12044"/>
                <a:gd name="connsiteX40" fmla="*/ 5759 w 10000"/>
                <a:gd name="connsiteY40" fmla="*/ 11869 h 12044"/>
                <a:gd name="connsiteX41" fmla="*/ 5946 w 10000"/>
                <a:gd name="connsiteY41" fmla="*/ 11917 h 12044"/>
                <a:gd name="connsiteX42" fmla="*/ 6216 w 10000"/>
                <a:gd name="connsiteY42" fmla="*/ 11571 h 12044"/>
                <a:gd name="connsiteX43" fmla="*/ 6558 w 10000"/>
                <a:gd name="connsiteY43" fmla="*/ 11784 h 12044"/>
                <a:gd name="connsiteX44" fmla="*/ 6675 w 10000"/>
                <a:gd name="connsiteY44" fmla="*/ 11600 h 12044"/>
                <a:gd name="connsiteX45" fmla="*/ 6797 w 10000"/>
                <a:gd name="connsiteY45" fmla="*/ 11571 h 12044"/>
                <a:gd name="connsiteX46" fmla="*/ 7029 w 10000"/>
                <a:gd name="connsiteY46" fmla="*/ 12044 h 12044"/>
                <a:gd name="connsiteX47" fmla="*/ 7251 w 10000"/>
                <a:gd name="connsiteY47" fmla="*/ 11649 h 12044"/>
                <a:gd name="connsiteX48" fmla="*/ 7521 w 10000"/>
                <a:gd name="connsiteY48" fmla="*/ 11675 h 12044"/>
                <a:gd name="connsiteX49" fmla="*/ 7727 w 10000"/>
                <a:gd name="connsiteY49" fmla="*/ 11465 h 12044"/>
                <a:gd name="connsiteX50" fmla="*/ 8015 w 10000"/>
                <a:gd name="connsiteY50" fmla="*/ 11675 h 12044"/>
                <a:gd name="connsiteX51" fmla="*/ 8389 w 10000"/>
                <a:gd name="connsiteY51" fmla="*/ 11024 h 12044"/>
                <a:gd name="connsiteX52" fmla="*/ 8521 w 10000"/>
                <a:gd name="connsiteY52" fmla="*/ 11024 h 12044"/>
                <a:gd name="connsiteX53" fmla="*/ 8760 w 10000"/>
                <a:gd name="connsiteY53" fmla="*/ 10499 h 12044"/>
                <a:gd name="connsiteX54" fmla="*/ 9775 w 10000"/>
                <a:gd name="connsiteY54" fmla="*/ 10473 h 12044"/>
                <a:gd name="connsiteX55" fmla="*/ 10000 w 10000"/>
                <a:gd name="connsiteY55" fmla="*/ 10261 h 12044"/>
                <a:gd name="connsiteX56" fmla="*/ 9983 w 10000"/>
                <a:gd name="connsiteY56" fmla="*/ 10003 h 12044"/>
                <a:gd name="connsiteX57" fmla="*/ 9915 w 10000"/>
                <a:gd name="connsiteY57" fmla="*/ 9427 h 12044"/>
                <a:gd name="connsiteX58" fmla="*/ 9491 w 10000"/>
                <a:gd name="connsiteY58" fmla="*/ 9240 h 12044"/>
                <a:gd name="connsiteX59" fmla="*/ 9288 w 10000"/>
                <a:gd name="connsiteY59" fmla="*/ 8324 h 12044"/>
                <a:gd name="connsiteX60" fmla="*/ 9169 w 10000"/>
                <a:gd name="connsiteY60" fmla="*/ 8220 h 12044"/>
                <a:gd name="connsiteX61" fmla="*/ 9138 w 10000"/>
                <a:gd name="connsiteY61" fmla="*/ 7568 h 12044"/>
                <a:gd name="connsiteX62" fmla="*/ 8985 w 10000"/>
                <a:gd name="connsiteY62" fmla="*/ 7538 h 12044"/>
                <a:gd name="connsiteX63" fmla="*/ 8928 w 10000"/>
                <a:gd name="connsiteY63" fmla="*/ 7202 h 12044"/>
                <a:gd name="connsiteX64" fmla="*/ 8674 w 10000"/>
                <a:gd name="connsiteY64" fmla="*/ 7119 h 12044"/>
                <a:gd name="connsiteX65" fmla="*/ 8590 w 10000"/>
                <a:gd name="connsiteY65" fmla="*/ 6601 h 12044"/>
                <a:gd name="connsiteX66" fmla="*/ 8168 w 10000"/>
                <a:gd name="connsiteY66" fmla="*/ 6101 h 12044"/>
                <a:gd name="connsiteX67" fmla="*/ 7708 w 10000"/>
                <a:gd name="connsiteY67" fmla="*/ 6022 h 12044"/>
                <a:gd name="connsiteX68" fmla="*/ 7829 w 10000"/>
                <a:gd name="connsiteY68" fmla="*/ 5446 h 12044"/>
                <a:gd name="connsiteX69" fmla="*/ 7796 w 10000"/>
                <a:gd name="connsiteY69" fmla="*/ 5026 h 12044"/>
                <a:gd name="connsiteX70" fmla="*/ 8185 w 10000"/>
                <a:gd name="connsiteY70" fmla="*/ 5055 h 12044"/>
                <a:gd name="connsiteX71" fmla="*/ 8269 w 10000"/>
                <a:gd name="connsiteY71" fmla="*/ 5180 h 12044"/>
                <a:gd name="connsiteX72" fmla="*/ 8506 w 10000"/>
                <a:gd name="connsiteY72" fmla="*/ 4918 h 12044"/>
                <a:gd name="connsiteX73" fmla="*/ 8575 w 10000"/>
                <a:gd name="connsiteY73" fmla="*/ 3983 h 12044"/>
                <a:gd name="connsiteX74" fmla="*/ 8474 w 10000"/>
                <a:gd name="connsiteY74" fmla="*/ 3272 h 12044"/>
                <a:gd name="connsiteX75" fmla="*/ 8760 w 10000"/>
                <a:gd name="connsiteY75" fmla="*/ 2697 h 12044"/>
                <a:gd name="connsiteX76" fmla="*/ 8312 w 10000"/>
                <a:gd name="connsiteY76" fmla="*/ 2049 h 12044"/>
                <a:gd name="connsiteX0" fmla="*/ 9756 w 10000"/>
                <a:gd name="connsiteY0" fmla="*/ 1761 h 12044"/>
                <a:gd name="connsiteX1" fmla="*/ 8101 w 10000"/>
                <a:gd name="connsiteY1" fmla="*/ 70 h 12044"/>
                <a:gd name="connsiteX2" fmla="*/ 7090 w 10000"/>
                <a:gd name="connsiteY2" fmla="*/ 550 h 12044"/>
                <a:gd name="connsiteX3" fmla="*/ 7523 w 10000"/>
                <a:gd name="connsiteY3" fmla="*/ 1702 h 12044"/>
                <a:gd name="connsiteX4" fmla="*/ 6367 w 10000"/>
                <a:gd name="connsiteY4" fmla="*/ 3527 h 12044"/>
                <a:gd name="connsiteX5" fmla="*/ 5356 w 10000"/>
                <a:gd name="connsiteY5" fmla="*/ 2758 h 12044"/>
                <a:gd name="connsiteX6" fmla="*/ 4417 w 10000"/>
                <a:gd name="connsiteY6" fmla="*/ 3623 h 12044"/>
                <a:gd name="connsiteX7" fmla="*/ 3551 w 10000"/>
                <a:gd name="connsiteY7" fmla="*/ 3526 h 12044"/>
                <a:gd name="connsiteX8" fmla="*/ 2597 w 10000"/>
                <a:gd name="connsiteY8" fmla="*/ 3839 h 12044"/>
                <a:gd name="connsiteX9" fmla="*/ 1875 w 10000"/>
                <a:gd name="connsiteY9" fmla="*/ 2654 h 12044"/>
                <a:gd name="connsiteX10" fmla="*/ 1212 w 10000"/>
                <a:gd name="connsiteY10" fmla="*/ 3298 h 12044"/>
                <a:gd name="connsiteX11" fmla="*/ 508 w 10000"/>
                <a:gd name="connsiteY11" fmla="*/ 3327 h 12044"/>
                <a:gd name="connsiteX12" fmla="*/ 12 w 10000"/>
                <a:gd name="connsiteY12" fmla="*/ 4162 h 12044"/>
                <a:gd name="connsiteX13" fmla="*/ 151 w 10000"/>
                <a:gd name="connsiteY13" fmla="*/ 4343 h 12044"/>
                <a:gd name="connsiteX14" fmla="*/ 48 w 10000"/>
                <a:gd name="connsiteY14" fmla="*/ 4629 h 12044"/>
                <a:gd name="connsiteX15" fmla="*/ 625 w 10000"/>
                <a:gd name="connsiteY15" fmla="*/ 4712 h 12044"/>
                <a:gd name="connsiteX16" fmla="*/ 625 w 10000"/>
                <a:gd name="connsiteY16" fmla="*/ 4894 h 12044"/>
                <a:gd name="connsiteX17" fmla="*/ 605 w 10000"/>
                <a:gd name="connsiteY17" fmla="*/ 5314 h 12044"/>
                <a:gd name="connsiteX18" fmla="*/ 1216 w 10000"/>
                <a:gd name="connsiteY18" fmla="*/ 5467 h 12044"/>
                <a:gd name="connsiteX19" fmla="*/ 1216 w 10000"/>
                <a:gd name="connsiteY19" fmla="*/ 5818 h 12044"/>
                <a:gd name="connsiteX20" fmla="*/ 1539 w 10000"/>
                <a:gd name="connsiteY20" fmla="*/ 6074 h 12044"/>
                <a:gd name="connsiteX21" fmla="*/ 1437 w 10000"/>
                <a:gd name="connsiteY21" fmla="*/ 6462 h 12044"/>
                <a:gd name="connsiteX22" fmla="*/ 1891 w 10000"/>
                <a:gd name="connsiteY22" fmla="*/ 6807 h 12044"/>
                <a:gd name="connsiteX23" fmla="*/ 2167 w 10000"/>
                <a:gd name="connsiteY23" fmla="*/ 7433 h 12044"/>
                <a:gd name="connsiteX24" fmla="*/ 2419 w 10000"/>
                <a:gd name="connsiteY24" fmla="*/ 7675 h 12044"/>
                <a:gd name="connsiteX25" fmla="*/ 2318 w 10000"/>
                <a:gd name="connsiteY25" fmla="*/ 7883 h 12044"/>
                <a:gd name="connsiteX26" fmla="*/ 2454 w 10000"/>
                <a:gd name="connsiteY26" fmla="*/ 8117 h 12044"/>
                <a:gd name="connsiteX27" fmla="*/ 2434 w 10000"/>
                <a:gd name="connsiteY27" fmla="*/ 8450 h 12044"/>
                <a:gd name="connsiteX28" fmla="*/ 2696 w 10000"/>
                <a:gd name="connsiteY28" fmla="*/ 8484 h 12044"/>
                <a:gd name="connsiteX29" fmla="*/ 2980 w 10000"/>
                <a:gd name="connsiteY29" fmla="*/ 8854 h 12044"/>
                <a:gd name="connsiteX30" fmla="*/ 3050 w 10000"/>
                <a:gd name="connsiteY30" fmla="*/ 9427 h 12044"/>
                <a:gd name="connsiteX31" fmla="*/ 3114 w 10000"/>
                <a:gd name="connsiteY31" fmla="*/ 9639 h 12044"/>
                <a:gd name="connsiteX32" fmla="*/ 3471 w 10000"/>
                <a:gd name="connsiteY32" fmla="*/ 10128 h 12044"/>
                <a:gd name="connsiteX33" fmla="*/ 3471 w 10000"/>
                <a:gd name="connsiteY33" fmla="*/ 10499 h 12044"/>
                <a:gd name="connsiteX34" fmla="*/ 3997 w 10000"/>
                <a:gd name="connsiteY34" fmla="*/ 10897 h 12044"/>
                <a:gd name="connsiteX35" fmla="*/ 4285 w 10000"/>
                <a:gd name="connsiteY35" fmla="*/ 10473 h 12044"/>
                <a:gd name="connsiteX36" fmla="*/ 4643 w 10000"/>
                <a:gd name="connsiteY36" fmla="*/ 10793 h 12044"/>
                <a:gd name="connsiteX37" fmla="*/ 4928 w 10000"/>
                <a:gd name="connsiteY37" fmla="*/ 10315 h 12044"/>
                <a:gd name="connsiteX38" fmla="*/ 5251 w 10000"/>
                <a:gd name="connsiteY38" fmla="*/ 11074 h 12044"/>
                <a:gd name="connsiteX39" fmla="*/ 5709 w 10000"/>
                <a:gd name="connsiteY39" fmla="*/ 11496 h 12044"/>
                <a:gd name="connsiteX40" fmla="*/ 5759 w 10000"/>
                <a:gd name="connsiteY40" fmla="*/ 11869 h 12044"/>
                <a:gd name="connsiteX41" fmla="*/ 5946 w 10000"/>
                <a:gd name="connsiteY41" fmla="*/ 11917 h 12044"/>
                <a:gd name="connsiteX42" fmla="*/ 6216 w 10000"/>
                <a:gd name="connsiteY42" fmla="*/ 11571 h 12044"/>
                <a:gd name="connsiteX43" fmla="*/ 6558 w 10000"/>
                <a:gd name="connsiteY43" fmla="*/ 11784 h 12044"/>
                <a:gd name="connsiteX44" fmla="*/ 6675 w 10000"/>
                <a:gd name="connsiteY44" fmla="*/ 11600 h 12044"/>
                <a:gd name="connsiteX45" fmla="*/ 6797 w 10000"/>
                <a:gd name="connsiteY45" fmla="*/ 11571 h 12044"/>
                <a:gd name="connsiteX46" fmla="*/ 7029 w 10000"/>
                <a:gd name="connsiteY46" fmla="*/ 12044 h 12044"/>
                <a:gd name="connsiteX47" fmla="*/ 7251 w 10000"/>
                <a:gd name="connsiteY47" fmla="*/ 11649 h 12044"/>
                <a:gd name="connsiteX48" fmla="*/ 7521 w 10000"/>
                <a:gd name="connsiteY48" fmla="*/ 11675 h 12044"/>
                <a:gd name="connsiteX49" fmla="*/ 7727 w 10000"/>
                <a:gd name="connsiteY49" fmla="*/ 11465 h 12044"/>
                <a:gd name="connsiteX50" fmla="*/ 8015 w 10000"/>
                <a:gd name="connsiteY50" fmla="*/ 11675 h 12044"/>
                <a:gd name="connsiteX51" fmla="*/ 8389 w 10000"/>
                <a:gd name="connsiteY51" fmla="*/ 11024 h 12044"/>
                <a:gd name="connsiteX52" fmla="*/ 8521 w 10000"/>
                <a:gd name="connsiteY52" fmla="*/ 11024 h 12044"/>
                <a:gd name="connsiteX53" fmla="*/ 8760 w 10000"/>
                <a:gd name="connsiteY53" fmla="*/ 10499 h 12044"/>
                <a:gd name="connsiteX54" fmla="*/ 9775 w 10000"/>
                <a:gd name="connsiteY54" fmla="*/ 10473 h 12044"/>
                <a:gd name="connsiteX55" fmla="*/ 10000 w 10000"/>
                <a:gd name="connsiteY55" fmla="*/ 10261 h 12044"/>
                <a:gd name="connsiteX56" fmla="*/ 9983 w 10000"/>
                <a:gd name="connsiteY56" fmla="*/ 10003 h 12044"/>
                <a:gd name="connsiteX57" fmla="*/ 9915 w 10000"/>
                <a:gd name="connsiteY57" fmla="*/ 9427 h 12044"/>
                <a:gd name="connsiteX58" fmla="*/ 9491 w 10000"/>
                <a:gd name="connsiteY58" fmla="*/ 9240 h 12044"/>
                <a:gd name="connsiteX59" fmla="*/ 9288 w 10000"/>
                <a:gd name="connsiteY59" fmla="*/ 8324 h 12044"/>
                <a:gd name="connsiteX60" fmla="*/ 9169 w 10000"/>
                <a:gd name="connsiteY60" fmla="*/ 8220 h 12044"/>
                <a:gd name="connsiteX61" fmla="*/ 9138 w 10000"/>
                <a:gd name="connsiteY61" fmla="*/ 7568 h 12044"/>
                <a:gd name="connsiteX62" fmla="*/ 8985 w 10000"/>
                <a:gd name="connsiteY62" fmla="*/ 7538 h 12044"/>
                <a:gd name="connsiteX63" fmla="*/ 8928 w 10000"/>
                <a:gd name="connsiteY63" fmla="*/ 7202 h 12044"/>
                <a:gd name="connsiteX64" fmla="*/ 8674 w 10000"/>
                <a:gd name="connsiteY64" fmla="*/ 7119 h 12044"/>
                <a:gd name="connsiteX65" fmla="*/ 8590 w 10000"/>
                <a:gd name="connsiteY65" fmla="*/ 6601 h 12044"/>
                <a:gd name="connsiteX66" fmla="*/ 8168 w 10000"/>
                <a:gd name="connsiteY66" fmla="*/ 6101 h 12044"/>
                <a:gd name="connsiteX67" fmla="*/ 7708 w 10000"/>
                <a:gd name="connsiteY67" fmla="*/ 6022 h 12044"/>
                <a:gd name="connsiteX68" fmla="*/ 7829 w 10000"/>
                <a:gd name="connsiteY68" fmla="*/ 5446 h 12044"/>
                <a:gd name="connsiteX69" fmla="*/ 7796 w 10000"/>
                <a:gd name="connsiteY69" fmla="*/ 5026 h 12044"/>
                <a:gd name="connsiteX70" fmla="*/ 8185 w 10000"/>
                <a:gd name="connsiteY70" fmla="*/ 5055 h 12044"/>
                <a:gd name="connsiteX71" fmla="*/ 8269 w 10000"/>
                <a:gd name="connsiteY71" fmla="*/ 5180 h 12044"/>
                <a:gd name="connsiteX72" fmla="*/ 8506 w 10000"/>
                <a:gd name="connsiteY72" fmla="*/ 4918 h 12044"/>
                <a:gd name="connsiteX73" fmla="*/ 8575 w 10000"/>
                <a:gd name="connsiteY73" fmla="*/ 3983 h 12044"/>
                <a:gd name="connsiteX74" fmla="*/ 8474 w 10000"/>
                <a:gd name="connsiteY74" fmla="*/ 3272 h 12044"/>
                <a:gd name="connsiteX75" fmla="*/ 8760 w 10000"/>
                <a:gd name="connsiteY75" fmla="*/ 2697 h 12044"/>
                <a:gd name="connsiteX76" fmla="*/ 9756 w 10000"/>
                <a:gd name="connsiteY76" fmla="*/ 1761 h 12044"/>
                <a:gd name="connsiteX0" fmla="*/ 9756 w 10000"/>
                <a:gd name="connsiteY0" fmla="*/ 1761 h 12044"/>
                <a:gd name="connsiteX1" fmla="*/ 8823 w 10000"/>
                <a:gd name="connsiteY1" fmla="*/ 646 h 12044"/>
                <a:gd name="connsiteX2" fmla="*/ 8101 w 10000"/>
                <a:gd name="connsiteY2" fmla="*/ 70 h 12044"/>
                <a:gd name="connsiteX3" fmla="*/ 7090 w 10000"/>
                <a:gd name="connsiteY3" fmla="*/ 550 h 12044"/>
                <a:gd name="connsiteX4" fmla="*/ 7523 w 10000"/>
                <a:gd name="connsiteY4" fmla="*/ 1702 h 12044"/>
                <a:gd name="connsiteX5" fmla="*/ 6367 w 10000"/>
                <a:gd name="connsiteY5" fmla="*/ 3527 h 12044"/>
                <a:gd name="connsiteX6" fmla="*/ 5356 w 10000"/>
                <a:gd name="connsiteY6" fmla="*/ 2758 h 12044"/>
                <a:gd name="connsiteX7" fmla="*/ 4417 w 10000"/>
                <a:gd name="connsiteY7" fmla="*/ 3623 h 12044"/>
                <a:gd name="connsiteX8" fmla="*/ 3551 w 10000"/>
                <a:gd name="connsiteY8" fmla="*/ 3526 h 12044"/>
                <a:gd name="connsiteX9" fmla="*/ 2597 w 10000"/>
                <a:gd name="connsiteY9" fmla="*/ 3839 h 12044"/>
                <a:gd name="connsiteX10" fmla="*/ 1875 w 10000"/>
                <a:gd name="connsiteY10" fmla="*/ 2654 h 12044"/>
                <a:gd name="connsiteX11" fmla="*/ 1212 w 10000"/>
                <a:gd name="connsiteY11" fmla="*/ 3298 h 12044"/>
                <a:gd name="connsiteX12" fmla="*/ 508 w 10000"/>
                <a:gd name="connsiteY12" fmla="*/ 3327 h 12044"/>
                <a:gd name="connsiteX13" fmla="*/ 12 w 10000"/>
                <a:gd name="connsiteY13" fmla="*/ 4162 h 12044"/>
                <a:gd name="connsiteX14" fmla="*/ 151 w 10000"/>
                <a:gd name="connsiteY14" fmla="*/ 4343 h 12044"/>
                <a:gd name="connsiteX15" fmla="*/ 48 w 10000"/>
                <a:gd name="connsiteY15" fmla="*/ 4629 h 12044"/>
                <a:gd name="connsiteX16" fmla="*/ 625 w 10000"/>
                <a:gd name="connsiteY16" fmla="*/ 4712 h 12044"/>
                <a:gd name="connsiteX17" fmla="*/ 625 w 10000"/>
                <a:gd name="connsiteY17" fmla="*/ 4894 h 12044"/>
                <a:gd name="connsiteX18" fmla="*/ 605 w 10000"/>
                <a:gd name="connsiteY18" fmla="*/ 5314 h 12044"/>
                <a:gd name="connsiteX19" fmla="*/ 1216 w 10000"/>
                <a:gd name="connsiteY19" fmla="*/ 5467 h 12044"/>
                <a:gd name="connsiteX20" fmla="*/ 1216 w 10000"/>
                <a:gd name="connsiteY20" fmla="*/ 5818 h 12044"/>
                <a:gd name="connsiteX21" fmla="*/ 1539 w 10000"/>
                <a:gd name="connsiteY21" fmla="*/ 6074 h 12044"/>
                <a:gd name="connsiteX22" fmla="*/ 1437 w 10000"/>
                <a:gd name="connsiteY22" fmla="*/ 6462 h 12044"/>
                <a:gd name="connsiteX23" fmla="*/ 1891 w 10000"/>
                <a:gd name="connsiteY23" fmla="*/ 6807 h 12044"/>
                <a:gd name="connsiteX24" fmla="*/ 2167 w 10000"/>
                <a:gd name="connsiteY24" fmla="*/ 7433 h 12044"/>
                <a:gd name="connsiteX25" fmla="*/ 2419 w 10000"/>
                <a:gd name="connsiteY25" fmla="*/ 7675 h 12044"/>
                <a:gd name="connsiteX26" fmla="*/ 2318 w 10000"/>
                <a:gd name="connsiteY26" fmla="*/ 7883 h 12044"/>
                <a:gd name="connsiteX27" fmla="*/ 2454 w 10000"/>
                <a:gd name="connsiteY27" fmla="*/ 8117 h 12044"/>
                <a:gd name="connsiteX28" fmla="*/ 2434 w 10000"/>
                <a:gd name="connsiteY28" fmla="*/ 8450 h 12044"/>
                <a:gd name="connsiteX29" fmla="*/ 2696 w 10000"/>
                <a:gd name="connsiteY29" fmla="*/ 8484 h 12044"/>
                <a:gd name="connsiteX30" fmla="*/ 2980 w 10000"/>
                <a:gd name="connsiteY30" fmla="*/ 8854 h 12044"/>
                <a:gd name="connsiteX31" fmla="*/ 3050 w 10000"/>
                <a:gd name="connsiteY31" fmla="*/ 9427 h 12044"/>
                <a:gd name="connsiteX32" fmla="*/ 3114 w 10000"/>
                <a:gd name="connsiteY32" fmla="*/ 9639 h 12044"/>
                <a:gd name="connsiteX33" fmla="*/ 3471 w 10000"/>
                <a:gd name="connsiteY33" fmla="*/ 10128 h 12044"/>
                <a:gd name="connsiteX34" fmla="*/ 3471 w 10000"/>
                <a:gd name="connsiteY34" fmla="*/ 10499 h 12044"/>
                <a:gd name="connsiteX35" fmla="*/ 3997 w 10000"/>
                <a:gd name="connsiteY35" fmla="*/ 10897 h 12044"/>
                <a:gd name="connsiteX36" fmla="*/ 4285 w 10000"/>
                <a:gd name="connsiteY36" fmla="*/ 10473 h 12044"/>
                <a:gd name="connsiteX37" fmla="*/ 4643 w 10000"/>
                <a:gd name="connsiteY37" fmla="*/ 10793 h 12044"/>
                <a:gd name="connsiteX38" fmla="*/ 4928 w 10000"/>
                <a:gd name="connsiteY38" fmla="*/ 10315 h 12044"/>
                <a:gd name="connsiteX39" fmla="*/ 5251 w 10000"/>
                <a:gd name="connsiteY39" fmla="*/ 11074 h 12044"/>
                <a:gd name="connsiteX40" fmla="*/ 5709 w 10000"/>
                <a:gd name="connsiteY40" fmla="*/ 11496 h 12044"/>
                <a:gd name="connsiteX41" fmla="*/ 5759 w 10000"/>
                <a:gd name="connsiteY41" fmla="*/ 11869 h 12044"/>
                <a:gd name="connsiteX42" fmla="*/ 5946 w 10000"/>
                <a:gd name="connsiteY42" fmla="*/ 11917 h 12044"/>
                <a:gd name="connsiteX43" fmla="*/ 6216 w 10000"/>
                <a:gd name="connsiteY43" fmla="*/ 11571 h 12044"/>
                <a:gd name="connsiteX44" fmla="*/ 6558 w 10000"/>
                <a:gd name="connsiteY44" fmla="*/ 11784 h 12044"/>
                <a:gd name="connsiteX45" fmla="*/ 6675 w 10000"/>
                <a:gd name="connsiteY45" fmla="*/ 11600 h 12044"/>
                <a:gd name="connsiteX46" fmla="*/ 6797 w 10000"/>
                <a:gd name="connsiteY46" fmla="*/ 11571 h 12044"/>
                <a:gd name="connsiteX47" fmla="*/ 7029 w 10000"/>
                <a:gd name="connsiteY47" fmla="*/ 12044 h 12044"/>
                <a:gd name="connsiteX48" fmla="*/ 7251 w 10000"/>
                <a:gd name="connsiteY48" fmla="*/ 11649 h 12044"/>
                <a:gd name="connsiteX49" fmla="*/ 7521 w 10000"/>
                <a:gd name="connsiteY49" fmla="*/ 11675 h 12044"/>
                <a:gd name="connsiteX50" fmla="*/ 7727 w 10000"/>
                <a:gd name="connsiteY50" fmla="*/ 11465 h 12044"/>
                <a:gd name="connsiteX51" fmla="*/ 8015 w 10000"/>
                <a:gd name="connsiteY51" fmla="*/ 11675 h 12044"/>
                <a:gd name="connsiteX52" fmla="*/ 8389 w 10000"/>
                <a:gd name="connsiteY52" fmla="*/ 11024 h 12044"/>
                <a:gd name="connsiteX53" fmla="*/ 8521 w 10000"/>
                <a:gd name="connsiteY53" fmla="*/ 11024 h 12044"/>
                <a:gd name="connsiteX54" fmla="*/ 8760 w 10000"/>
                <a:gd name="connsiteY54" fmla="*/ 10499 h 12044"/>
                <a:gd name="connsiteX55" fmla="*/ 9775 w 10000"/>
                <a:gd name="connsiteY55" fmla="*/ 10473 h 12044"/>
                <a:gd name="connsiteX56" fmla="*/ 10000 w 10000"/>
                <a:gd name="connsiteY56" fmla="*/ 10261 h 12044"/>
                <a:gd name="connsiteX57" fmla="*/ 9983 w 10000"/>
                <a:gd name="connsiteY57" fmla="*/ 10003 h 12044"/>
                <a:gd name="connsiteX58" fmla="*/ 9915 w 10000"/>
                <a:gd name="connsiteY58" fmla="*/ 9427 h 12044"/>
                <a:gd name="connsiteX59" fmla="*/ 9491 w 10000"/>
                <a:gd name="connsiteY59" fmla="*/ 9240 h 12044"/>
                <a:gd name="connsiteX60" fmla="*/ 9288 w 10000"/>
                <a:gd name="connsiteY60" fmla="*/ 8324 h 12044"/>
                <a:gd name="connsiteX61" fmla="*/ 9169 w 10000"/>
                <a:gd name="connsiteY61" fmla="*/ 8220 h 12044"/>
                <a:gd name="connsiteX62" fmla="*/ 9138 w 10000"/>
                <a:gd name="connsiteY62" fmla="*/ 7568 h 12044"/>
                <a:gd name="connsiteX63" fmla="*/ 8985 w 10000"/>
                <a:gd name="connsiteY63" fmla="*/ 7538 h 12044"/>
                <a:gd name="connsiteX64" fmla="*/ 8928 w 10000"/>
                <a:gd name="connsiteY64" fmla="*/ 7202 h 12044"/>
                <a:gd name="connsiteX65" fmla="*/ 8674 w 10000"/>
                <a:gd name="connsiteY65" fmla="*/ 7119 h 12044"/>
                <a:gd name="connsiteX66" fmla="*/ 8590 w 10000"/>
                <a:gd name="connsiteY66" fmla="*/ 6601 h 12044"/>
                <a:gd name="connsiteX67" fmla="*/ 8168 w 10000"/>
                <a:gd name="connsiteY67" fmla="*/ 6101 h 12044"/>
                <a:gd name="connsiteX68" fmla="*/ 7708 w 10000"/>
                <a:gd name="connsiteY68" fmla="*/ 6022 h 12044"/>
                <a:gd name="connsiteX69" fmla="*/ 7829 w 10000"/>
                <a:gd name="connsiteY69" fmla="*/ 5446 h 12044"/>
                <a:gd name="connsiteX70" fmla="*/ 7796 w 10000"/>
                <a:gd name="connsiteY70" fmla="*/ 5026 h 12044"/>
                <a:gd name="connsiteX71" fmla="*/ 8185 w 10000"/>
                <a:gd name="connsiteY71" fmla="*/ 5055 h 12044"/>
                <a:gd name="connsiteX72" fmla="*/ 8269 w 10000"/>
                <a:gd name="connsiteY72" fmla="*/ 5180 h 12044"/>
                <a:gd name="connsiteX73" fmla="*/ 8506 w 10000"/>
                <a:gd name="connsiteY73" fmla="*/ 4918 h 12044"/>
                <a:gd name="connsiteX74" fmla="*/ 8575 w 10000"/>
                <a:gd name="connsiteY74" fmla="*/ 3983 h 12044"/>
                <a:gd name="connsiteX75" fmla="*/ 8474 w 10000"/>
                <a:gd name="connsiteY75" fmla="*/ 3272 h 12044"/>
                <a:gd name="connsiteX76" fmla="*/ 8760 w 10000"/>
                <a:gd name="connsiteY76" fmla="*/ 2697 h 12044"/>
                <a:gd name="connsiteX77" fmla="*/ 9756 w 10000"/>
                <a:gd name="connsiteY77" fmla="*/ 1761 h 12044"/>
                <a:gd name="connsiteX0" fmla="*/ 9756 w 10000"/>
                <a:gd name="connsiteY0" fmla="*/ 1761 h 12044"/>
                <a:gd name="connsiteX1" fmla="*/ 7884 w 10000"/>
                <a:gd name="connsiteY1" fmla="*/ 1414 h 12044"/>
                <a:gd name="connsiteX2" fmla="*/ 8101 w 10000"/>
                <a:gd name="connsiteY2" fmla="*/ 70 h 12044"/>
                <a:gd name="connsiteX3" fmla="*/ 7090 w 10000"/>
                <a:gd name="connsiteY3" fmla="*/ 550 h 12044"/>
                <a:gd name="connsiteX4" fmla="*/ 7523 w 10000"/>
                <a:gd name="connsiteY4" fmla="*/ 1702 h 12044"/>
                <a:gd name="connsiteX5" fmla="*/ 6367 w 10000"/>
                <a:gd name="connsiteY5" fmla="*/ 3527 h 12044"/>
                <a:gd name="connsiteX6" fmla="*/ 5356 w 10000"/>
                <a:gd name="connsiteY6" fmla="*/ 2758 h 12044"/>
                <a:gd name="connsiteX7" fmla="*/ 4417 w 10000"/>
                <a:gd name="connsiteY7" fmla="*/ 3623 h 12044"/>
                <a:gd name="connsiteX8" fmla="*/ 3551 w 10000"/>
                <a:gd name="connsiteY8" fmla="*/ 3526 h 12044"/>
                <a:gd name="connsiteX9" fmla="*/ 2597 w 10000"/>
                <a:gd name="connsiteY9" fmla="*/ 3839 h 12044"/>
                <a:gd name="connsiteX10" fmla="*/ 1875 w 10000"/>
                <a:gd name="connsiteY10" fmla="*/ 2654 h 12044"/>
                <a:gd name="connsiteX11" fmla="*/ 1212 w 10000"/>
                <a:gd name="connsiteY11" fmla="*/ 3298 h 12044"/>
                <a:gd name="connsiteX12" fmla="*/ 508 w 10000"/>
                <a:gd name="connsiteY12" fmla="*/ 3327 h 12044"/>
                <a:gd name="connsiteX13" fmla="*/ 12 w 10000"/>
                <a:gd name="connsiteY13" fmla="*/ 4162 h 12044"/>
                <a:gd name="connsiteX14" fmla="*/ 151 w 10000"/>
                <a:gd name="connsiteY14" fmla="*/ 4343 h 12044"/>
                <a:gd name="connsiteX15" fmla="*/ 48 w 10000"/>
                <a:gd name="connsiteY15" fmla="*/ 4629 h 12044"/>
                <a:gd name="connsiteX16" fmla="*/ 625 w 10000"/>
                <a:gd name="connsiteY16" fmla="*/ 4712 h 12044"/>
                <a:gd name="connsiteX17" fmla="*/ 625 w 10000"/>
                <a:gd name="connsiteY17" fmla="*/ 4894 h 12044"/>
                <a:gd name="connsiteX18" fmla="*/ 605 w 10000"/>
                <a:gd name="connsiteY18" fmla="*/ 5314 h 12044"/>
                <a:gd name="connsiteX19" fmla="*/ 1216 w 10000"/>
                <a:gd name="connsiteY19" fmla="*/ 5467 h 12044"/>
                <a:gd name="connsiteX20" fmla="*/ 1216 w 10000"/>
                <a:gd name="connsiteY20" fmla="*/ 5818 h 12044"/>
                <a:gd name="connsiteX21" fmla="*/ 1539 w 10000"/>
                <a:gd name="connsiteY21" fmla="*/ 6074 h 12044"/>
                <a:gd name="connsiteX22" fmla="*/ 1437 w 10000"/>
                <a:gd name="connsiteY22" fmla="*/ 6462 h 12044"/>
                <a:gd name="connsiteX23" fmla="*/ 1891 w 10000"/>
                <a:gd name="connsiteY23" fmla="*/ 6807 h 12044"/>
                <a:gd name="connsiteX24" fmla="*/ 2167 w 10000"/>
                <a:gd name="connsiteY24" fmla="*/ 7433 h 12044"/>
                <a:gd name="connsiteX25" fmla="*/ 2419 w 10000"/>
                <a:gd name="connsiteY25" fmla="*/ 7675 h 12044"/>
                <a:gd name="connsiteX26" fmla="*/ 2318 w 10000"/>
                <a:gd name="connsiteY26" fmla="*/ 7883 h 12044"/>
                <a:gd name="connsiteX27" fmla="*/ 2454 w 10000"/>
                <a:gd name="connsiteY27" fmla="*/ 8117 h 12044"/>
                <a:gd name="connsiteX28" fmla="*/ 2434 w 10000"/>
                <a:gd name="connsiteY28" fmla="*/ 8450 h 12044"/>
                <a:gd name="connsiteX29" fmla="*/ 2696 w 10000"/>
                <a:gd name="connsiteY29" fmla="*/ 8484 h 12044"/>
                <a:gd name="connsiteX30" fmla="*/ 2980 w 10000"/>
                <a:gd name="connsiteY30" fmla="*/ 8854 h 12044"/>
                <a:gd name="connsiteX31" fmla="*/ 3050 w 10000"/>
                <a:gd name="connsiteY31" fmla="*/ 9427 h 12044"/>
                <a:gd name="connsiteX32" fmla="*/ 3114 w 10000"/>
                <a:gd name="connsiteY32" fmla="*/ 9639 h 12044"/>
                <a:gd name="connsiteX33" fmla="*/ 3471 w 10000"/>
                <a:gd name="connsiteY33" fmla="*/ 10128 h 12044"/>
                <a:gd name="connsiteX34" fmla="*/ 3471 w 10000"/>
                <a:gd name="connsiteY34" fmla="*/ 10499 h 12044"/>
                <a:gd name="connsiteX35" fmla="*/ 3997 w 10000"/>
                <a:gd name="connsiteY35" fmla="*/ 10897 h 12044"/>
                <a:gd name="connsiteX36" fmla="*/ 4285 w 10000"/>
                <a:gd name="connsiteY36" fmla="*/ 10473 h 12044"/>
                <a:gd name="connsiteX37" fmla="*/ 4643 w 10000"/>
                <a:gd name="connsiteY37" fmla="*/ 10793 h 12044"/>
                <a:gd name="connsiteX38" fmla="*/ 4928 w 10000"/>
                <a:gd name="connsiteY38" fmla="*/ 10315 h 12044"/>
                <a:gd name="connsiteX39" fmla="*/ 5251 w 10000"/>
                <a:gd name="connsiteY39" fmla="*/ 11074 h 12044"/>
                <a:gd name="connsiteX40" fmla="*/ 5709 w 10000"/>
                <a:gd name="connsiteY40" fmla="*/ 11496 h 12044"/>
                <a:gd name="connsiteX41" fmla="*/ 5759 w 10000"/>
                <a:gd name="connsiteY41" fmla="*/ 11869 h 12044"/>
                <a:gd name="connsiteX42" fmla="*/ 5946 w 10000"/>
                <a:gd name="connsiteY42" fmla="*/ 11917 h 12044"/>
                <a:gd name="connsiteX43" fmla="*/ 6216 w 10000"/>
                <a:gd name="connsiteY43" fmla="*/ 11571 h 12044"/>
                <a:gd name="connsiteX44" fmla="*/ 6558 w 10000"/>
                <a:gd name="connsiteY44" fmla="*/ 11784 h 12044"/>
                <a:gd name="connsiteX45" fmla="*/ 6675 w 10000"/>
                <a:gd name="connsiteY45" fmla="*/ 11600 h 12044"/>
                <a:gd name="connsiteX46" fmla="*/ 6797 w 10000"/>
                <a:gd name="connsiteY46" fmla="*/ 11571 h 12044"/>
                <a:gd name="connsiteX47" fmla="*/ 7029 w 10000"/>
                <a:gd name="connsiteY47" fmla="*/ 12044 h 12044"/>
                <a:gd name="connsiteX48" fmla="*/ 7251 w 10000"/>
                <a:gd name="connsiteY48" fmla="*/ 11649 h 12044"/>
                <a:gd name="connsiteX49" fmla="*/ 7521 w 10000"/>
                <a:gd name="connsiteY49" fmla="*/ 11675 h 12044"/>
                <a:gd name="connsiteX50" fmla="*/ 7727 w 10000"/>
                <a:gd name="connsiteY50" fmla="*/ 11465 h 12044"/>
                <a:gd name="connsiteX51" fmla="*/ 8015 w 10000"/>
                <a:gd name="connsiteY51" fmla="*/ 11675 h 12044"/>
                <a:gd name="connsiteX52" fmla="*/ 8389 w 10000"/>
                <a:gd name="connsiteY52" fmla="*/ 11024 h 12044"/>
                <a:gd name="connsiteX53" fmla="*/ 8521 w 10000"/>
                <a:gd name="connsiteY53" fmla="*/ 11024 h 12044"/>
                <a:gd name="connsiteX54" fmla="*/ 8760 w 10000"/>
                <a:gd name="connsiteY54" fmla="*/ 10499 h 12044"/>
                <a:gd name="connsiteX55" fmla="*/ 9775 w 10000"/>
                <a:gd name="connsiteY55" fmla="*/ 10473 h 12044"/>
                <a:gd name="connsiteX56" fmla="*/ 10000 w 10000"/>
                <a:gd name="connsiteY56" fmla="*/ 10261 h 12044"/>
                <a:gd name="connsiteX57" fmla="*/ 9983 w 10000"/>
                <a:gd name="connsiteY57" fmla="*/ 10003 h 12044"/>
                <a:gd name="connsiteX58" fmla="*/ 9915 w 10000"/>
                <a:gd name="connsiteY58" fmla="*/ 9427 h 12044"/>
                <a:gd name="connsiteX59" fmla="*/ 9491 w 10000"/>
                <a:gd name="connsiteY59" fmla="*/ 9240 h 12044"/>
                <a:gd name="connsiteX60" fmla="*/ 9288 w 10000"/>
                <a:gd name="connsiteY60" fmla="*/ 8324 h 12044"/>
                <a:gd name="connsiteX61" fmla="*/ 9169 w 10000"/>
                <a:gd name="connsiteY61" fmla="*/ 8220 h 12044"/>
                <a:gd name="connsiteX62" fmla="*/ 9138 w 10000"/>
                <a:gd name="connsiteY62" fmla="*/ 7568 h 12044"/>
                <a:gd name="connsiteX63" fmla="*/ 8985 w 10000"/>
                <a:gd name="connsiteY63" fmla="*/ 7538 h 12044"/>
                <a:gd name="connsiteX64" fmla="*/ 8928 w 10000"/>
                <a:gd name="connsiteY64" fmla="*/ 7202 h 12044"/>
                <a:gd name="connsiteX65" fmla="*/ 8674 w 10000"/>
                <a:gd name="connsiteY65" fmla="*/ 7119 h 12044"/>
                <a:gd name="connsiteX66" fmla="*/ 8590 w 10000"/>
                <a:gd name="connsiteY66" fmla="*/ 6601 h 12044"/>
                <a:gd name="connsiteX67" fmla="*/ 8168 w 10000"/>
                <a:gd name="connsiteY67" fmla="*/ 6101 h 12044"/>
                <a:gd name="connsiteX68" fmla="*/ 7708 w 10000"/>
                <a:gd name="connsiteY68" fmla="*/ 6022 h 12044"/>
                <a:gd name="connsiteX69" fmla="*/ 7829 w 10000"/>
                <a:gd name="connsiteY69" fmla="*/ 5446 h 12044"/>
                <a:gd name="connsiteX70" fmla="*/ 7796 w 10000"/>
                <a:gd name="connsiteY70" fmla="*/ 5026 h 12044"/>
                <a:gd name="connsiteX71" fmla="*/ 8185 w 10000"/>
                <a:gd name="connsiteY71" fmla="*/ 5055 h 12044"/>
                <a:gd name="connsiteX72" fmla="*/ 8269 w 10000"/>
                <a:gd name="connsiteY72" fmla="*/ 5180 h 12044"/>
                <a:gd name="connsiteX73" fmla="*/ 8506 w 10000"/>
                <a:gd name="connsiteY73" fmla="*/ 4918 h 12044"/>
                <a:gd name="connsiteX74" fmla="*/ 8575 w 10000"/>
                <a:gd name="connsiteY74" fmla="*/ 3983 h 12044"/>
                <a:gd name="connsiteX75" fmla="*/ 8474 w 10000"/>
                <a:gd name="connsiteY75" fmla="*/ 3272 h 12044"/>
                <a:gd name="connsiteX76" fmla="*/ 8760 w 10000"/>
                <a:gd name="connsiteY76" fmla="*/ 2697 h 12044"/>
                <a:gd name="connsiteX77" fmla="*/ 9756 w 10000"/>
                <a:gd name="connsiteY77" fmla="*/ 1761 h 12044"/>
                <a:gd name="connsiteX0" fmla="*/ 8312 w 10000"/>
                <a:gd name="connsiteY0" fmla="*/ 2145 h 12044"/>
                <a:gd name="connsiteX1" fmla="*/ 7884 w 10000"/>
                <a:gd name="connsiteY1" fmla="*/ 1414 h 12044"/>
                <a:gd name="connsiteX2" fmla="*/ 8101 w 10000"/>
                <a:gd name="connsiteY2" fmla="*/ 70 h 12044"/>
                <a:gd name="connsiteX3" fmla="*/ 7090 w 10000"/>
                <a:gd name="connsiteY3" fmla="*/ 550 h 12044"/>
                <a:gd name="connsiteX4" fmla="*/ 7523 w 10000"/>
                <a:gd name="connsiteY4" fmla="*/ 1702 h 12044"/>
                <a:gd name="connsiteX5" fmla="*/ 6367 w 10000"/>
                <a:gd name="connsiteY5" fmla="*/ 3527 h 12044"/>
                <a:gd name="connsiteX6" fmla="*/ 5356 w 10000"/>
                <a:gd name="connsiteY6" fmla="*/ 2758 h 12044"/>
                <a:gd name="connsiteX7" fmla="*/ 4417 w 10000"/>
                <a:gd name="connsiteY7" fmla="*/ 3623 h 12044"/>
                <a:gd name="connsiteX8" fmla="*/ 3551 w 10000"/>
                <a:gd name="connsiteY8" fmla="*/ 3526 h 12044"/>
                <a:gd name="connsiteX9" fmla="*/ 2597 w 10000"/>
                <a:gd name="connsiteY9" fmla="*/ 3839 h 12044"/>
                <a:gd name="connsiteX10" fmla="*/ 1875 w 10000"/>
                <a:gd name="connsiteY10" fmla="*/ 2654 h 12044"/>
                <a:gd name="connsiteX11" fmla="*/ 1212 w 10000"/>
                <a:gd name="connsiteY11" fmla="*/ 3298 h 12044"/>
                <a:gd name="connsiteX12" fmla="*/ 508 w 10000"/>
                <a:gd name="connsiteY12" fmla="*/ 3327 h 12044"/>
                <a:gd name="connsiteX13" fmla="*/ 12 w 10000"/>
                <a:gd name="connsiteY13" fmla="*/ 4162 h 12044"/>
                <a:gd name="connsiteX14" fmla="*/ 151 w 10000"/>
                <a:gd name="connsiteY14" fmla="*/ 4343 h 12044"/>
                <a:gd name="connsiteX15" fmla="*/ 48 w 10000"/>
                <a:gd name="connsiteY15" fmla="*/ 4629 h 12044"/>
                <a:gd name="connsiteX16" fmla="*/ 625 w 10000"/>
                <a:gd name="connsiteY16" fmla="*/ 4712 h 12044"/>
                <a:gd name="connsiteX17" fmla="*/ 625 w 10000"/>
                <a:gd name="connsiteY17" fmla="*/ 4894 h 12044"/>
                <a:gd name="connsiteX18" fmla="*/ 605 w 10000"/>
                <a:gd name="connsiteY18" fmla="*/ 5314 h 12044"/>
                <a:gd name="connsiteX19" fmla="*/ 1216 w 10000"/>
                <a:gd name="connsiteY19" fmla="*/ 5467 h 12044"/>
                <a:gd name="connsiteX20" fmla="*/ 1216 w 10000"/>
                <a:gd name="connsiteY20" fmla="*/ 5818 h 12044"/>
                <a:gd name="connsiteX21" fmla="*/ 1539 w 10000"/>
                <a:gd name="connsiteY21" fmla="*/ 6074 h 12044"/>
                <a:gd name="connsiteX22" fmla="*/ 1437 w 10000"/>
                <a:gd name="connsiteY22" fmla="*/ 6462 h 12044"/>
                <a:gd name="connsiteX23" fmla="*/ 1891 w 10000"/>
                <a:gd name="connsiteY23" fmla="*/ 6807 h 12044"/>
                <a:gd name="connsiteX24" fmla="*/ 2167 w 10000"/>
                <a:gd name="connsiteY24" fmla="*/ 7433 h 12044"/>
                <a:gd name="connsiteX25" fmla="*/ 2419 w 10000"/>
                <a:gd name="connsiteY25" fmla="*/ 7675 h 12044"/>
                <a:gd name="connsiteX26" fmla="*/ 2318 w 10000"/>
                <a:gd name="connsiteY26" fmla="*/ 7883 h 12044"/>
                <a:gd name="connsiteX27" fmla="*/ 2454 w 10000"/>
                <a:gd name="connsiteY27" fmla="*/ 8117 h 12044"/>
                <a:gd name="connsiteX28" fmla="*/ 2434 w 10000"/>
                <a:gd name="connsiteY28" fmla="*/ 8450 h 12044"/>
                <a:gd name="connsiteX29" fmla="*/ 2696 w 10000"/>
                <a:gd name="connsiteY29" fmla="*/ 8484 h 12044"/>
                <a:gd name="connsiteX30" fmla="*/ 2980 w 10000"/>
                <a:gd name="connsiteY30" fmla="*/ 8854 h 12044"/>
                <a:gd name="connsiteX31" fmla="*/ 3050 w 10000"/>
                <a:gd name="connsiteY31" fmla="*/ 9427 h 12044"/>
                <a:gd name="connsiteX32" fmla="*/ 3114 w 10000"/>
                <a:gd name="connsiteY32" fmla="*/ 9639 h 12044"/>
                <a:gd name="connsiteX33" fmla="*/ 3471 w 10000"/>
                <a:gd name="connsiteY33" fmla="*/ 10128 h 12044"/>
                <a:gd name="connsiteX34" fmla="*/ 3471 w 10000"/>
                <a:gd name="connsiteY34" fmla="*/ 10499 h 12044"/>
                <a:gd name="connsiteX35" fmla="*/ 3997 w 10000"/>
                <a:gd name="connsiteY35" fmla="*/ 10897 h 12044"/>
                <a:gd name="connsiteX36" fmla="*/ 4285 w 10000"/>
                <a:gd name="connsiteY36" fmla="*/ 10473 h 12044"/>
                <a:gd name="connsiteX37" fmla="*/ 4643 w 10000"/>
                <a:gd name="connsiteY37" fmla="*/ 10793 h 12044"/>
                <a:gd name="connsiteX38" fmla="*/ 4928 w 10000"/>
                <a:gd name="connsiteY38" fmla="*/ 10315 h 12044"/>
                <a:gd name="connsiteX39" fmla="*/ 5251 w 10000"/>
                <a:gd name="connsiteY39" fmla="*/ 11074 h 12044"/>
                <a:gd name="connsiteX40" fmla="*/ 5709 w 10000"/>
                <a:gd name="connsiteY40" fmla="*/ 11496 h 12044"/>
                <a:gd name="connsiteX41" fmla="*/ 5759 w 10000"/>
                <a:gd name="connsiteY41" fmla="*/ 11869 h 12044"/>
                <a:gd name="connsiteX42" fmla="*/ 5946 w 10000"/>
                <a:gd name="connsiteY42" fmla="*/ 11917 h 12044"/>
                <a:gd name="connsiteX43" fmla="*/ 6216 w 10000"/>
                <a:gd name="connsiteY43" fmla="*/ 11571 h 12044"/>
                <a:gd name="connsiteX44" fmla="*/ 6558 w 10000"/>
                <a:gd name="connsiteY44" fmla="*/ 11784 h 12044"/>
                <a:gd name="connsiteX45" fmla="*/ 6675 w 10000"/>
                <a:gd name="connsiteY45" fmla="*/ 11600 h 12044"/>
                <a:gd name="connsiteX46" fmla="*/ 6797 w 10000"/>
                <a:gd name="connsiteY46" fmla="*/ 11571 h 12044"/>
                <a:gd name="connsiteX47" fmla="*/ 7029 w 10000"/>
                <a:gd name="connsiteY47" fmla="*/ 12044 h 12044"/>
                <a:gd name="connsiteX48" fmla="*/ 7251 w 10000"/>
                <a:gd name="connsiteY48" fmla="*/ 11649 h 12044"/>
                <a:gd name="connsiteX49" fmla="*/ 7521 w 10000"/>
                <a:gd name="connsiteY49" fmla="*/ 11675 h 12044"/>
                <a:gd name="connsiteX50" fmla="*/ 7727 w 10000"/>
                <a:gd name="connsiteY50" fmla="*/ 11465 h 12044"/>
                <a:gd name="connsiteX51" fmla="*/ 8015 w 10000"/>
                <a:gd name="connsiteY51" fmla="*/ 11675 h 12044"/>
                <a:gd name="connsiteX52" fmla="*/ 8389 w 10000"/>
                <a:gd name="connsiteY52" fmla="*/ 11024 h 12044"/>
                <a:gd name="connsiteX53" fmla="*/ 8521 w 10000"/>
                <a:gd name="connsiteY53" fmla="*/ 11024 h 12044"/>
                <a:gd name="connsiteX54" fmla="*/ 8760 w 10000"/>
                <a:gd name="connsiteY54" fmla="*/ 10499 h 12044"/>
                <a:gd name="connsiteX55" fmla="*/ 9775 w 10000"/>
                <a:gd name="connsiteY55" fmla="*/ 10473 h 12044"/>
                <a:gd name="connsiteX56" fmla="*/ 10000 w 10000"/>
                <a:gd name="connsiteY56" fmla="*/ 10261 h 12044"/>
                <a:gd name="connsiteX57" fmla="*/ 9983 w 10000"/>
                <a:gd name="connsiteY57" fmla="*/ 10003 h 12044"/>
                <a:gd name="connsiteX58" fmla="*/ 9915 w 10000"/>
                <a:gd name="connsiteY58" fmla="*/ 9427 h 12044"/>
                <a:gd name="connsiteX59" fmla="*/ 9491 w 10000"/>
                <a:gd name="connsiteY59" fmla="*/ 9240 h 12044"/>
                <a:gd name="connsiteX60" fmla="*/ 9288 w 10000"/>
                <a:gd name="connsiteY60" fmla="*/ 8324 h 12044"/>
                <a:gd name="connsiteX61" fmla="*/ 9169 w 10000"/>
                <a:gd name="connsiteY61" fmla="*/ 8220 h 12044"/>
                <a:gd name="connsiteX62" fmla="*/ 9138 w 10000"/>
                <a:gd name="connsiteY62" fmla="*/ 7568 h 12044"/>
                <a:gd name="connsiteX63" fmla="*/ 8985 w 10000"/>
                <a:gd name="connsiteY63" fmla="*/ 7538 h 12044"/>
                <a:gd name="connsiteX64" fmla="*/ 8928 w 10000"/>
                <a:gd name="connsiteY64" fmla="*/ 7202 h 12044"/>
                <a:gd name="connsiteX65" fmla="*/ 8674 w 10000"/>
                <a:gd name="connsiteY65" fmla="*/ 7119 h 12044"/>
                <a:gd name="connsiteX66" fmla="*/ 8590 w 10000"/>
                <a:gd name="connsiteY66" fmla="*/ 6601 h 12044"/>
                <a:gd name="connsiteX67" fmla="*/ 8168 w 10000"/>
                <a:gd name="connsiteY67" fmla="*/ 6101 h 12044"/>
                <a:gd name="connsiteX68" fmla="*/ 7708 w 10000"/>
                <a:gd name="connsiteY68" fmla="*/ 6022 h 12044"/>
                <a:gd name="connsiteX69" fmla="*/ 7829 w 10000"/>
                <a:gd name="connsiteY69" fmla="*/ 5446 h 12044"/>
                <a:gd name="connsiteX70" fmla="*/ 7796 w 10000"/>
                <a:gd name="connsiteY70" fmla="*/ 5026 h 12044"/>
                <a:gd name="connsiteX71" fmla="*/ 8185 w 10000"/>
                <a:gd name="connsiteY71" fmla="*/ 5055 h 12044"/>
                <a:gd name="connsiteX72" fmla="*/ 8269 w 10000"/>
                <a:gd name="connsiteY72" fmla="*/ 5180 h 12044"/>
                <a:gd name="connsiteX73" fmla="*/ 8506 w 10000"/>
                <a:gd name="connsiteY73" fmla="*/ 4918 h 12044"/>
                <a:gd name="connsiteX74" fmla="*/ 8575 w 10000"/>
                <a:gd name="connsiteY74" fmla="*/ 3983 h 12044"/>
                <a:gd name="connsiteX75" fmla="*/ 8474 w 10000"/>
                <a:gd name="connsiteY75" fmla="*/ 3272 h 12044"/>
                <a:gd name="connsiteX76" fmla="*/ 8760 w 10000"/>
                <a:gd name="connsiteY76" fmla="*/ 2697 h 12044"/>
                <a:gd name="connsiteX77" fmla="*/ 8312 w 10000"/>
                <a:gd name="connsiteY77" fmla="*/ 2145 h 1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000" h="12044">
                  <a:moveTo>
                    <a:pt x="8312" y="2145"/>
                  </a:moveTo>
                  <a:cubicBezTo>
                    <a:pt x="8166" y="1931"/>
                    <a:pt x="8160" y="1696"/>
                    <a:pt x="7884" y="1414"/>
                  </a:cubicBezTo>
                  <a:cubicBezTo>
                    <a:pt x="7608" y="1132"/>
                    <a:pt x="8390" y="86"/>
                    <a:pt x="8101" y="70"/>
                  </a:cubicBezTo>
                  <a:cubicBezTo>
                    <a:pt x="7970" y="-164"/>
                    <a:pt x="7138" y="246"/>
                    <a:pt x="7090" y="550"/>
                  </a:cubicBezTo>
                  <a:cubicBezTo>
                    <a:pt x="7042" y="854"/>
                    <a:pt x="7716" y="1222"/>
                    <a:pt x="7523" y="1702"/>
                  </a:cubicBezTo>
                  <a:cubicBezTo>
                    <a:pt x="7330" y="2182"/>
                    <a:pt x="6620" y="3463"/>
                    <a:pt x="6367" y="3527"/>
                  </a:cubicBezTo>
                  <a:cubicBezTo>
                    <a:pt x="6067" y="3549"/>
                    <a:pt x="5561" y="2566"/>
                    <a:pt x="5356" y="2758"/>
                  </a:cubicBezTo>
                  <a:cubicBezTo>
                    <a:pt x="5151" y="2950"/>
                    <a:pt x="4910" y="3399"/>
                    <a:pt x="4417" y="3623"/>
                  </a:cubicBezTo>
                  <a:cubicBezTo>
                    <a:pt x="3924" y="3847"/>
                    <a:pt x="3999" y="3410"/>
                    <a:pt x="3551" y="3526"/>
                  </a:cubicBezTo>
                  <a:cubicBezTo>
                    <a:pt x="3233" y="3631"/>
                    <a:pt x="2876" y="3984"/>
                    <a:pt x="2597" y="3839"/>
                  </a:cubicBezTo>
                  <a:cubicBezTo>
                    <a:pt x="2318" y="3693"/>
                    <a:pt x="2106" y="2744"/>
                    <a:pt x="1875" y="2654"/>
                  </a:cubicBezTo>
                  <a:cubicBezTo>
                    <a:pt x="1644" y="2564"/>
                    <a:pt x="1439" y="3186"/>
                    <a:pt x="1212" y="3298"/>
                  </a:cubicBezTo>
                  <a:cubicBezTo>
                    <a:pt x="984" y="3412"/>
                    <a:pt x="708" y="3184"/>
                    <a:pt x="508" y="3327"/>
                  </a:cubicBezTo>
                  <a:cubicBezTo>
                    <a:pt x="309" y="3472"/>
                    <a:pt x="72" y="3993"/>
                    <a:pt x="12" y="4162"/>
                  </a:cubicBezTo>
                  <a:cubicBezTo>
                    <a:pt x="-48" y="4331"/>
                    <a:pt x="151" y="4343"/>
                    <a:pt x="151" y="4343"/>
                  </a:cubicBezTo>
                  <a:cubicBezTo>
                    <a:pt x="117" y="4442"/>
                    <a:pt x="80" y="4531"/>
                    <a:pt x="48" y="4629"/>
                  </a:cubicBezTo>
                  <a:lnTo>
                    <a:pt x="625" y="4712"/>
                  </a:lnTo>
                  <a:lnTo>
                    <a:pt x="625" y="4894"/>
                  </a:lnTo>
                  <a:cubicBezTo>
                    <a:pt x="625" y="4894"/>
                    <a:pt x="504" y="5102"/>
                    <a:pt x="605" y="5314"/>
                  </a:cubicBezTo>
                  <a:cubicBezTo>
                    <a:pt x="706" y="5529"/>
                    <a:pt x="1216" y="5467"/>
                    <a:pt x="1216" y="5467"/>
                  </a:cubicBezTo>
                  <a:lnTo>
                    <a:pt x="1216" y="5818"/>
                  </a:lnTo>
                  <a:cubicBezTo>
                    <a:pt x="1216" y="5818"/>
                    <a:pt x="1489" y="5789"/>
                    <a:pt x="1539" y="6074"/>
                  </a:cubicBezTo>
                  <a:cubicBezTo>
                    <a:pt x="1589" y="6362"/>
                    <a:pt x="1336" y="6203"/>
                    <a:pt x="1437" y="6462"/>
                  </a:cubicBezTo>
                  <a:cubicBezTo>
                    <a:pt x="1539" y="6728"/>
                    <a:pt x="1778" y="6778"/>
                    <a:pt x="1891" y="6807"/>
                  </a:cubicBezTo>
                  <a:cubicBezTo>
                    <a:pt x="2013" y="6833"/>
                    <a:pt x="2167" y="7433"/>
                    <a:pt x="2167" y="7433"/>
                  </a:cubicBezTo>
                  <a:cubicBezTo>
                    <a:pt x="2167" y="7433"/>
                    <a:pt x="2419" y="7457"/>
                    <a:pt x="2419" y="7675"/>
                  </a:cubicBezTo>
                  <a:cubicBezTo>
                    <a:pt x="2419" y="7883"/>
                    <a:pt x="2304" y="7725"/>
                    <a:pt x="2318" y="7883"/>
                  </a:cubicBezTo>
                  <a:cubicBezTo>
                    <a:pt x="2334" y="8033"/>
                    <a:pt x="2454" y="8117"/>
                    <a:pt x="2454" y="8117"/>
                  </a:cubicBezTo>
                  <a:cubicBezTo>
                    <a:pt x="2449" y="8230"/>
                    <a:pt x="2438" y="8336"/>
                    <a:pt x="2434" y="8450"/>
                  </a:cubicBezTo>
                  <a:lnTo>
                    <a:pt x="2696" y="8484"/>
                  </a:lnTo>
                  <a:cubicBezTo>
                    <a:pt x="2696" y="8484"/>
                    <a:pt x="2847" y="8640"/>
                    <a:pt x="2980" y="8854"/>
                  </a:cubicBezTo>
                  <a:cubicBezTo>
                    <a:pt x="3114" y="9057"/>
                    <a:pt x="3050" y="9427"/>
                    <a:pt x="3050" y="9427"/>
                  </a:cubicBezTo>
                  <a:cubicBezTo>
                    <a:pt x="3070" y="9494"/>
                    <a:pt x="3093" y="9565"/>
                    <a:pt x="3114" y="9639"/>
                  </a:cubicBezTo>
                  <a:lnTo>
                    <a:pt x="3471" y="10128"/>
                  </a:lnTo>
                  <a:lnTo>
                    <a:pt x="3471" y="10499"/>
                  </a:lnTo>
                  <a:lnTo>
                    <a:pt x="3997" y="10897"/>
                  </a:lnTo>
                  <a:cubicBezTo>
                    <a:pt x="3997" y="10897"/>
                    <a:pt x="4134" y="10473"/>
                    <a:pt x="4285" y="10473"/>
                  </a:cubicBezTo>
                  <a:cubicBezTo>
                    <a:pt x="4437" y="10473"/>
                    <a:pt x="4455" y="10793"/>
                    <a:pt x="4643" y="10793"/>
                  </a:cubicBezTo>
                  <a:cubicBezTo>
                    <a:pt x="4826" y="10793"/>
                    <a:pt x="4812" y="10315"/>
                    <a:pt x="4928" y="10315"/>
                  </a:cubicBezTo>
                  <a:cubicBezTo>
                    <a:pt x="5049" y="10315"/>
                    <a:pt x="5111" y="10764"/>
                    <a:pt x="5251" y="11074"/>
                  </a:cubicBezTo>
                  <a:cubicBezTo>
                    <a:pt x="5386" y="11390"/>
                    <a:pt x="5709" y="11496"/>
                    <a:pt x="5709" y="11496"/>
                  </a:cubicBezTo>
                  <a:cubicBezTo>
                    <a:pt x="5727" y="11619"/>
                    <a:pt x="5742" y="11742"/>
                    <a:pt x="5759" y="11869"/>
                  </a:cubicBezTo>
                  <a:lnTo>
                    <a:pt x="5946" y="11917"/>
                  </a:lnTo>
                  <a:cubicBezTo>
                    <a:pt x="5946" y="11917"/>
                    <a:pt x="6134" y="11571"/>
                    <a:pt x="6216" y="11571"/>
                  </a:cubicBezTo>
                  <a:cubicBezTo>
                    <a:pt x="6304" y="11571"/>
                    <a:pt x="6456" y="11761"/>
                    <a:pt x="6558" y="11784"/>
                  </a:cubicBezTo>
                  <a:cubicBezTo>
                    <a:pt x="6660" y="11809"/>
                    <a:pt x="6675" y="11600"/>
                    <a:pt x="6675" y="11600"/>
                  </a:cubicBezTo>
                  <a:cubicBezTo>
                    <a:pt x="6718" y="11593"/>
                    <a:pt x="6755" y="11582"/>
                    <a:pt x="6797" y="11571"/>
                  </a:cubicBezTo>
                  <a:cubicBezTo>
                    <a:pt x="6872" y="11729"/>
                    <a:pt x="6953" y="11885"/>
                    <a:pt x="7029" y="12044"/>
                  </a:cubicBezTo>
                  <a:cubicBezTo>
                    <a:pt x="7105" y="11917"/>
                    <a:pt x="7176" y="11784"/>
                    <a:pt x="7251" y="11649"/>
                  </a:cubicBezTo>
                  <a:lnTo>
                    <a:pt x="7521" y="11675"/>
                  </a:lnTo>
                  <a:cubicBezTo>
                    <a:pt x="7521" y="11675"/>
                    <a:pt x="7644" y="11465"/>
                    <a:pt x="7727" y="11465"/>
                  </a:cubicBezTo>
                  <a:cubicBezTo>
                    <a:pt x="7815" y="11465"/>
                    <a:pt x="7796" y="11628"/>
                    <a:pt x="8015" y="11675"/>
                  </a:cubicBezTo>
                  <a:cubicBezTo>
                    <a:pt x="8234" y="11730"/>
                    <a:pt x="8389" y="11024"/>
                    <a:pt x="8389" y="11024"/>
                  </a:cubicBezTo>
                  <a:lnTo>
                    <a:pt x="8521" y="11024"/>
                  </a:lnTo>
                  <a:lnTo>
                    <a:pt x="8760" y="10499"/>
                  </a:lnTo>
                  <a:lnTo>
                    <a:pt x="9775" y="10473"/>
                  </a:lnTo>
                  <a:lnTo>
                    <a:pt x="10000" y="10261"/>
                  </a:lnTo>
                  <a:cubicBezTo>
                    <a:pt x="9994" y="10176"/>
                    <a:pt x="9989" y="10087"/>
                    <a:pt x="9983" y="10003"/>
                  </a:cubicBezTo>
                  <a:cubicBezTo>
                    <a:pt x="9983" y="10003"/>
                    <a:pt x="10000" y="9639"/>
                    <a:pt x="9915" y="9427"/>
                  </a:cubicBezTo>
                  <a:cubicBezTo>
                    <a:pt x="9828" y="9211"/>
                    <a:pt x="9661" y="9448"/>
                    <a:pt x="9491" y="9240"/>
                  </a:cubicBezTo>
                  <a:cubicBezTo>
                    <a:pt x="9322" y="9037"/>
                    <a:pt x="9288" y="8324"/>
                    <a:pt x="9288" y="8324"/>
                  </a:cubicBezTo>
                  <a:cubicBezTo>
                    <a:pt x="9249" y="8290"/>
                    <a:pt x="9207" y="8255"/>
                    <a:pt x="9169" y="8220"/>
                  </a:cubicBezTo>
                  <a:cubicBezTo>
                    <a:pt x="9159" y="8009"/>
                    <a:pt x="9145" y="7782"/>
                    <a:pt x="9138" y="7568"/>
                  </a:cubicBezTo>
                  <a:lnTo>
                    <a:pt x="8985" y="7538"/>
                  </a:lnTo>
                  <a:cubicBezTo>
                    <a:pt x="8967" y="7422"/>
                    <a:pt x="8947" y="7311"/>
                    <a:pt x="8928" y="7202"/>
                  </a:cubicBezTo>
                  <a:cubicBezTo>
                    <a:pt x="8928" y="7202"/>
                    <a:pt x="8744" y="7252"/>
                    <a:pt x="8674" y="7119"/>
                  </a:cubicBezTo>
                  <a:cubicBezTo>
                    <a:pt x="8606" y="6989"/>
                    <a:pt x="8590" y="6601"/>
                    <a:pt x="8590" y="6601"/>
                  </a:cubicBezTo>
                  <a:cubicBezTo>
                    <a:pt x="8590" y="6601"/>
                    <a:pt x="8308" y="6203"/>
                    <a:pt x="8168" y="6101"/>
                  </a:cubicBezTo>
                  <a:cubicBezTo>
                    <a:pt x="8032" y="5987"/>
                    <a:pt x="7761" y="6150"/>
                    <a:pt x="7708" y="6022"/>
                  </a:cubicBezTo>
                  <a:cubicBezTo>
                    <a:pt x="7660" y="5888"/>
                    <a:pt x="7829" y="5446"/>
                    <a:pt x="7829" y="5446"/>
                  </a:cubicBezTo>
                  <a:cubicBezTo>
                    <a:pt x="7819" y="5303"/>
                    <a:pt x="7806" y="5165"/>
                    <a:pt x="7796" y="5026"/>
                  </a:cubicBezTo>
                  <a:lnTo>
                    <a:pt x="8185" y="5055"/>
                  </a:lnTo>
                  <a:cubicBezTo>
                    <a:pt x="8214" y="5095"/>
                    <a:pt x="8242" y="5134"/>
                    <a:pt x="8269" y="5180"/>
                  </a:cubicBezTo>
                  <a:lnTo>
                    <a:pt x="8506" y="4918"/>
                  </a:lnTo>
                  <a:cubicBezTo>
                    <a:pt x="8627" y="4795"/>
                    <a:pt x="8575" y="3983"/>
                    <a:pt x="8575" y="3983"/>
                  </a:cubicBezTo>
                  <a:cubicBezTo>
                    <a:pt x="8575" y="3983"/>
                    <a:pt x="8458" y="3477"/>
                    <a:pt x="8474" y="3272"/>
                  </a:cubicBezTo>
                  <a:cubicBezTo>
                    <a:pt x="8491" y="3064"/>
                    <a:pt x="8787" y="2885"/>
                    <a:pt x="8760" y="2697"/>
                  </a:cubicBezTo>
                  <a:cubicBezTo>
                    <a:pt x="8733" y="2509"/>
                    <a:pt x="8458" y="2359"/>
                    <a:pt x="8312" y="2145"/>
                  </a:cubicBezTo>
                  <a:close/>
                </a:path>
              </a:pathLst>
            </a:custGeom>
            <a:grpFill/>
            <a:ln w="0" cap="flat">
              <a:solidFill>
                <a:srgbClr val="FFFFFF"/>
              </a:solidFill>
              <a:prstDash val="solid"/>
              <a:miter lim="800000"/>
              <a:headEnd/>
              <a:tailEnd/>
            </a:ln>
          </p:spPr>
          <p:txBody>
            <a:bodyPr vert="horz" wrap="non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grpSp>
        <p:nvGrpSpPr>
          <p:cNvPr id="1365" name="Gruppieren 3"/>
          <p:cNvGrpSpPr/>
          <p:nvPr/>
        </p:nvGrpSpPr>
        <p:grpSpPr>
          <a:xfrm>
            <a:off x="2957338" y="1681050"/>
            <a:ext cx="2262734" cy="2179998"/>
            <a:chOff x="9252520" y="1749856"/>
            <a:chExt cx="3672408" cy="3538128"/>
          </a:xfrm>
        </p:grpSpPr>
        <p:sp>
          <p:nvSpPr>
            <p:cNvPr id="1366" name="Rechteck 1365"/>
            <p:cNvSpPr/>
            <p:nvPr/>
          </p:nvSpPr>
          <p:spPr bwMode="auto">
            <a:xfrm>
              <a:off x="9252520" y="1749856"/>
              <a:ext cx="3672408" cy="3538128"/>
            </a:xfrm>
            <a:prstGeom prst="rect">
              <a:avLst/>
            </a:prstGeom>
            <a:solidFill>
              <a:srgbClr val="FFFFFF"/>
            </a:solidFill>
            <a:ln w="28575">
              <a:solidFill>
                <a:schemeClr val="accent2"/>
              </a:solidFill>
              <a:miter lim="800000"/>
              <a:headEnd/>
              <a:tailEnd/>
            </a:ln>
            <a:effectLst/>
          </p:spPr>
          <p:txBody>
            <a:bodyPr wrap="square" lIns="90000" tIns="46800" rIns="90000" bIns="46800" rtlCol="0" anchor="ctr">
              <a:noAutofit/>
            </a:bodyPr>
            <a:lstStyle/>
            <a:p>
              <a:pPr marL="0" marR="0" lvl="0" indent="0" algn="ctr" defTabSz="914400" eaLnBrk="0" fontAlgn="auto" latinLnBrk="0" hangingPunct="0">
                <a:lnSpc>
                  <a:spcPct val="100000"/>
                </a:lnSpc>
                <a:spcBef>
                  <a:spcPts val="0"/>
                </a:spcBef>
                <a:spcAft>
                  <a:spcPts val="0"/>
                </a:spcAft>
                <a:buClr>
                  <a:srgbClr val="000000"/>
                </a:buClr>
                <a:buSzTx/>
                <a:buFontTx/>
                <a:buNone/>
                <a:tabLst/>
                <a:defRPr/>
              </a:pPr>
              <a:endParaRPr kumimoji="0" lang="en-US" sz="1600" b="0" i="0" u="none" strike="noStrike" kern="0" cap="none" spc="0" normalizeH="0" baseline="0" noProof="0" dirty="0" err="1" smtClean="0">
                <a:ln>
                  <a:noFill/>
                </a:ln>
                <a:effectLst/>
                <a:uLnTx/>
                <a:uFillTx/>
                <a:latin typeface="Verdana" pitchFamily="34" charset="0"/>
                <a:ea typeface="Verdana" pitchFamily="34" charset="0"/>
              </a:endParaRPr>
            </a:p>
          </p:txBody>
        </p:sp>
        <p:grpSp>
          <p:nvGrpSpPr>
            <p:cNvPr id="1367" name="Gruppieren 369"/>
            <p:cNvGrpSpPr>
              <a:grpSpLocks/>
            </p:cNvGrpSpPr>
            <p:nvPr/>
          </p:nvGrpSpPr>
          <p:grpSpPr>
            <a:xfrm>
              <a:off x="9468544" y="1980156"/>
              <a:ext cx="3312000" cy="3166303"/>
              <a:chOff x="5527949" y="2883722"/>
              <a:chExt cx="2679800" cy="2570001"/>
            </a:xfrm>
            <a:solidFill>
              <a:srgbClr val="C8D8E6"/>
            </a:solidFill>
          </p:grpSpPr>
          <p:grpSp>
            <p:nvGrpSpPr>
              <p:cNvPr id="1368" name="Gruppieren 245"/>
              <p:cNvGrpSpPr/>
              <p:nvPr/>
            </p:nvGrpSpPr>
            <p:grpSpPr>
              <a:xfrm>
                <a:off x="5531527" y="4841911"/>
                <a:ext cx="636855" cy="536676"/>
                <a:chOff x="3785960" y="2701793"/>
                <a:chExt cx="330908" cy="278855"/>
              </a:xfrm>
              <a:grpFill/>
            </p:grpSpPr>
            <p:sp>
              <p:nvSpPr>
                <p:cNvPr id="1465" name="Freeform 190"/>
                <p:cNvSpPr>
                  <a:spLocks/>
                </p:cNvSpPr>
                <p:nvPr/>
              </p:nvSpPr>
              <p:spPr bwMode="auto">
                <a:xfrm>
                  <a:off x="3785960" y="2774296"/>
                  <a:ext cx="57631" cy="172890"/>
                </a:xfrm>
                <a:custGeom>
                  <a:avLst/>
                  <a:gdLst>
                    <a:gd name="T0" fmla="*/ 19 w 69"/>
                    <a:gd name="T1" fmla="*/ 0 h 189"/>
                    <a:gd name="T2" fmla="*/ 7 w 69"/>
                    <a:gd name="T3" fmla="*/ 59 h 189"/>
                    <a:gd name="T4" fmla="*/ 13 w 69"/>
                    <a:gd name="T5" fmla="*/ 123 h 189"/>
                    <a:gd name="T6" fmla="*/ 9 w 69"/>
                    <a:gd name="T7" fmla="*/ 161 h 189"/>
                    <a:gd name="T8" fmla="*/ 0 w 69"/>
                    <a:gd name="T9" fmla="*/ 185 h 189"/>
                    <a:gd name="T10" fmla="*/ 25 w 69"/>
                    <a:gd name="T11" fmla="*/ 189 h 189"/>
                    <a:gd name="T12" fmla="*/ 43 w 69"/>
                    <a:gd name="T13" fmla="*/ 141 h 189"/>
                    <a:gd name="T14" fmla="*/ 46 w 69"/>
                    <a:gd name="T15" fmla="*/ 75 h 189"/>
                    <a:gd name="T16" fmla="*/ 55 w 69"/>
                    <a:gd name="T17" fmla="*/ 41 h 189"/>
                    <a:gd name="T18" fmla="*/ 69 w 69"/>
                    <a:gd name="T19" fmla="*/ 12 h 189"/>
                    <a:gd name="T20" fmla="*/ 48 w 69"/>
                    <a:gd name="T21" fmla="*/ 3 h 189"/>
                    <a:gd name="T22" fmla="*/ 19 w 69"/>
                    <a:gd name="T2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189">
                      <a:moveTo>
                        <a:pt x="19" y="0"/>
                      </a:moveTo>
                      <a:lnTo>
                        <a:pt x="7" y="59"/>
                      </a:lnTo>
                      <a:lnTo>
                        <a:pt x="13" y="123"/>
                      </a:lnTo>
                      <a:lnTo>
                        <a:pt x="9" y="161"/>
                      </a:lnTo>
                      <a:lnTo>
                        <a:pt x="0" y="185"/>
                      </a:lnTo>
                      <a:lnTo>
                        <a:pt x="25" y="189"/>
                      </a:lnTo>
                      <a:lnTo>
                        <a:pt x="43" y="141"/>
                      </a:lnTo>
                      <a:lnTo>
                        <a:pt x="46" y="75"/>
                      </a:lnTo>
                      <a:lnTo>
                        <a:pt x="55" y="41"/>
                      </a:lnTo>
                      <a:lnTo>
                        <a:pt x="69" y="12"/>
                      </a:lnTo>
                      <a:lnTo>
                        <a:pt x="48" y="3"/>
                      </a:lnTo>
                      <a:lnTo>
                        <a:pt x="19" y="0"/>
                      </a:ln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66" name="Freeform 192"/>
                <p:cNvSpPr>
                  <a:spLocks/>
                </p:cNvSpPr>
                <p:nvPr/>
              </p:nvSpPr>
              <p:spPr bwMode="auto">
                <a:xfrm>
                  <a:off x="4022328" y="2875161"/>
                  <a:ext cx="18570" cy="12842"/>
                </a:xfrm>
                <a:custGeom>
                  <a:avLst/>
                  <a:gdLst>
                    <a:gd name="T0" fmla="*/ 5 w 22"/>
                    <a:gd name="T1" fmla="*/ 7 h 14"/>
                    <a:gd name="T2" fmla="*/ 2 w 22"/>
                    <a:gd name="T3" fmla="*/ 13 h 14"/>
                    <a:gd name="T4" fmla="*/ 20 w 22"/>
                    <a:gd name="T5" fmla="*/ 12 h 14"/>
                    <a:gd name="T6" fmla="*/ 5 w 22"/>
                    <a:gd name="T7" fmla="*/ 7 h 14"/>
                  </a:gdLst>
                  <a:ahLst/>
                  <a:cxnLst>
                    <a:cxn ang="0">
                      <a:pos x="T0" y="T1"/>
                    </a:cxn>
                    <a:cxn ang="0">
                      <a:pos x="T2" y="T3"/>
                    </a:cxn>
                    <a:cxn ang="0">
                      <a:pos x="T4" y="T5"/>
                    </a:cxn>
                    <a:cxn ang="0">
                      <a:pos x="T6" y="T7"/>
                    </a:cxn>
                  </a:cxnLst>
                  <a:rect l="0" t="0" r="r" b="b"/>
                  <a:pathLst>
                    <a:path w="22" h="14">
                      <a:moveTo>
                        <a:pt x="5" y="7"/>
                      </a:moveTo>
                      <a:cubicBezTo>
                        <a:pt x="3" y="8"/>
                        <a:pt x="0" y="13"/>
                        <a:pt x="2" y="13"/>
                      </a:cubicBezTo>
                      <a:cubicBezTo>
                        <a:pt x="8" y="14"/>
                        <a:pt x="14" y="12"/>
                        <a:pt x="20" y="12"/>
                      </a:cubicBezTo>
                      <a:cubicBezTo>
                        <a:pt x="22" y="1"/>
                        <a:pt x="12" y="0"/>
                        <a:pt x="5" y="7"/>
                      </a:cubicBezTo>
                      <a:close/>
                    </a:path>
                  </a:pathLst>
                </a:custGeom>
                <a:grp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67" name="Freeform 193"/>
                <p:cNvSpPr>
                  <a:spLocks/>
                </p:cNvSpPr>
                <p:nvPr/>
              </p:nvSpPr>
              <p:spPr bwMode="auto">
                <a:xfrm>
                  <a:off x="4018952" y="2900844"/>
                  <a:ext cx="21102" cy="8256"/>
                </a:xfrm>
                <a:custGeom>
                  <a:avLst/>
                  <a:gdLst>
                    <a:gd name="T0" fmla="*/ 21 w 25"/>
                    <a:gd name="T1" fmla="*/ 0 h 9"/>
                    <a:gd name="T2" fmla="*/ 15 w 25"/>
                    <a:gd name="T3" fmla="*/ 9 h 9"/>
                    <a:gd name="T4" fmla="*/ 24 w 25"/>
                    <a:gd name="T5" fmla="*/ 3 h 9"/>
                    <a:gd name="T6" fmla="*/ 21 w 25"/>
                    <a:gd name="T7" fmla="*/ 0 h 9"/>
                  </a:gdLst>
                  <a:ahLst/>
                  <a:cxnLst>
                    <a:cxn ang="0">
                      <a:pos x="T0" y="T1"/>
                    </a:cxn>
                    <a:cxn ang="0">
                      <a:pos x="T2" y="T3"/>
                    </a:cxn>
                    <a:cxn ang="0">
                      <a:pos x="T4" y="T5"/>
                    </a:cxn>
                    <a:cxn ang="0">
                      <a:pos x="T6" y="T7"/>
                    </a:cxn>
                  </a:cxnLst>
                  <a:rect l="0" t="0" r="r" b="b"/>
                  <a:pathLst>
                    <a:path w="25" h="9">
                      <a:moveTo>
                        <a:pt x="21" y="0"/>
                      </a:moveTo>
                      <a:cubicBezTo>
                        <a:pt x="15" y="1"/>
                        <a:pt x="0" y="7"/>
                        <a:pt x="15" y="9"/>
                      </a:cubicBezTo>
                      <a:cubicBezTo>
                        <a:pt x="17" y="9"/>
                        <a:pt x="25" y="9"/>
                        <a:pt x="24" y="3"/>
                      </a:cubicBezTo>
                      <a:cubicBezTo>
                        <a:pt x="23" y="0"/>
                        <a:pt x="15" y="0"/>
                        <a:pt x="21" y="0"/>
                      </a:cubicBezTo>
                      <a:close/>
                    </a:path>
                  </a:pathLst>
                </a:custGeom>
                <a:grp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68" name="Freeform 194"/>
                <p:cNvSpPr>
                  <a:spLocks/>
                </p:cNvSpPr>
                <p:nvPr/>
              </p:nvSpPr>
              <p:spPr bwMode="auto">
                <a:xfrm>
                  <a:off x="4055249" y="2851311"/>
                  <a:ext cx="31232" cy="24766"/>
                </a:xfrm>
                <a:custGeom>
                  <a:avLst/>
                  <a:gdLst>
                    <a:gd name="T0" fmla="*/ 24 w 37"/>
                    <a:gd name="T1" fmla="*/ 0 h 27"/>
                    <a:gd name="T2" fmla="*/ 6 w 37"/>
                    <a:gd name="T3" fmla="*/ 8 h 27"/>
                    <a:gd name="T4" fmla="*/ 0 w 37"/>
                    <a:gd name="T5" fmla="*/ 21 h 27"/>
                    <a:gd name="T6" fmla="*/ 6 w 37"/>
                    <a:gd name="T7" fmla="*/ 24 h 27"/>
                    <a:gd name="T8" fmla="*/ 35 w 37"/>
                    <a:gd name="T9" fmla="*/ 23 h 27"/>
                    <a:gd name="T10" fmla="*/ 30 w 37"/>
                    <a:gd name="T11" fmla="*/ 6 h 27"/>
                    <a:gd name="T12" fmla="*/ 24 w 37"/>
                    <a:gd name="T13" fmla="*/ 5 h 27"/>
                    <a:gd name="T14" fmla="*/ 24 w 37"/>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7">
                      <a:moveTo>
                        <a:pt x="24" y="0"/>
                      </a:moveTo>
                      <a:cubicBezTo>
                        <a:pt x="18" y="4"/>
                        <a:pt x="12" y="4"/>
                        <a:pt x="6" y="8"/>
                      </a:cubicBezTo>
                      <a:cubicBezTo>
                        <a:pt x="3" y="12"/>
                        <a:pt x="2" y="16"/>
                        <a:pt x="0" y="21"/>
                      </a:cubicBezTo>
                      <a:cubicBezTo>
                        <a:pt x="2" y="22"/>
                        <a:pt x="4" y="24"/>
                        <a:pt x="6" y="24"/>
                      </a:cubicBezTo>
                      <a:cubicBezTo>
                        <a:pt x="16" y="25"/>
                        <a:pt x="26" y="27"/>
                        <a:pt x="35" y="23"/>
                      </a:cubicBezTo>
                      <a:cubicBezTo>
                        <a:pt x="37" y="22"/>
                        <a:pt x="33" y="8"/>
                        <a:pt x="30" y="6"/>
                      </a:cubicBezTo>
                      <a:cubicBezTo>
                        <a:pt x="28" y="5"/>
                        <a:pt x="25" y="6"/>
                        <a:pt x="24" y="5"/>
                      </a:cubicBezTo>
                      <a:cubicBezTo>
                        <a:pt x="23" y="4"/>
                        <a:pt x="24" y="2"/>
                        <a:pt x="24"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69" name="Freeform 195"/>
                <p:cNvSpPr>
                  <a:spLocks/>
                </p:cNvSpPr>
                <p:nvPr/>
              </p:nvSpPr>
              <p:spPr bwMode="auto">
                <a:xfrm>
                  <a:off x="4091545" y="2839386"/>
                  <a:ext cx="25323" cy="13760"/>
                </a:xfrm>
                <a:custGeom>
                  <a:avLst/>
                  <a:gdLst>
                    <a:gd name="T0" fmla="*/ 5 w 30"/>
                    <a:gd name="T1" fmla="*/ 1 h 15"/>
                    <a:gd name="T2" fmla="*/ 10 w 30"/>
                    <a:gd name="T3" fmla="*/ 15 h 15"/>
                    <a:gd name="T4" fmla="*/ 17 w 30"/>
                    <a:gd name="T5" fmla="*/ 0 h 15"/>
                    <a:gd name="T6" fmla="*/ 5 w 30"/>
                    <a:gd name="T7" fmla="*/ 1 h 15"/>
                  </a:gdLst>
                  <a:ahLst/>
                  <a:cxnLst>
                    <a:cxn ang="0">
                      <a:pos x="T0" y="T1"/>
                    </a:cxn>
                    <a:cxn ang="0">
                      <a:pos x="T2" y="T3"/>
                    </a:cxn>
                    <a:cxn ang="0">
                      <a:pos x="T4" y="T5"/>
                    </a:cxn>
                    <a:cxn ang="0">
                      <a:pos x="T6" y="T7"/>
                    </a:cxn>
                  </a:cxnLst>
                  <a:rect l="0" t="0" r="r" b="b"/>
                  <a:pathLst>
                    <a:path w="30" h="15">
                      <a:moveTo>
                        <a:pt x="5" y="1"/>
                      </a:moveTo>
                      <a:cubicBezTo>
                        <a:pt x="0" y="9"/>
                        <a:pt x="2" y="11"/>
                        <a:pt x="10" y="15"/>
                      </a:cubicBezTo>
                      <a:cubicBezTo>
                        <a:pt x="20" y="13"/>
                        <a:pt x="30" y="8"/>
                        <a:pt x="17" y="0"/>
                      </a:cubicBezTo>
                      <a:cubicBezTo>
                        <a:pt x="6" y="1"/>
                        <a:pt x="10" y="1"/>
                        <a:pt x="5" y="1"/>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70" name="Freeform 196"/>
                <p:cNvSpPr>
                  <a:spLocks/>
                </p:cNvSpPr>
                <p:nvPr/>
              </p:nvSpPr>
              <p:spPr bwMode="auto">
                <a:xfrm>
                  <a:off x="3804550" y="2701793"/>
                  <a:ext cx="285306" cy="278855"/>
                </a:xfrm>
                <a:custGeom>
                  <a:avLst/>
                  <a:gdLst>
                    <a:gd name="T0" fmla="*/ 47 w 338"/>
                    <a:gd name="T1" fmla="*/ 88 h 304"/>
                    <a:gd name="T2" fmla="*/ 23 w 338"/>
                    <a:gd name="T3" fmla="*/ 81 h 304"/>
                    <a:gd name="T4" fmla="*/ 3 w 338"/>
                    <a:gd name="T5" fmla="*/ 76 h 304"/>
                    <a:gd name="T6" fmla="*/ 0 w 338"/>
                    <a:gd name="T7" fmla="*/ 46 h 304"/>
                    <a:gd name="T8" fmla="*/ 5 w 338"/>
                    <a:gd name="T9" fmla="*/ 7 h 304"/>
                    <a:gd name="T10" fmla="*/ 18 w 338"/>
                    <a:gd name="T11" fmla="*/ 0 h 304"/>
                    <a:gd name="T12" fmla="*/ 50 w 338"/>
                    <a:gd name="T13" fmla="*/ 10 h 304"/>
                    <a:gd name="T14" fmla="*/ 83 w 338"/>
                    <a:gd name="T15" fmla="*/ 12 h 304"/>
                    <a:gd name="T16" fmla="*/ 108 w 338"/>
                    <a:gd name="T17" fmla="*/ 21 h 304"/>
                    <a:gd name="T18" fmla="*/ 122 w 338"/>
                    <a:gd name="T19" fmla="*/ 13 h 304"/>
                    <a:gd name="T20" fmla="*/ 137 w 338"/>
                    <a:gd name="T21" fmla="*/ 22 h 304"/>
                    <a:gd name="T22" fmla="*/ 156 w 338"/>
                    <a:gd name="T23" fmla="*/ 21 h 304"/>
                    <a:gd name="T24" fmla="*/ 183 w 338"/>
                    <a:gd name="T25" fmla="*/ 24 h 304"/>
                    <a:gd name="T26" fmla="*/ 258 w 338"/>
                    <a:gd name="T27" fmla="*/ 57 h 304"/>
                    <a:gd name="T28" fmla="*/ 284 w 338"/>
                    <a:gd name="T29" fmla="*/ 63 h 304"/>
                    <a:gd name="T30" fmla="*/ 309 w 338"/>
                    <a:gd name="T31" fmla="*/ 57 h 304"/>
                    <a:gd name="T32" fmla="*/ 338 w 338"/>
                    <a:gd name="T33" fmla="*/ 64 h 304"/>
                    <a:gd name="T34" fmla="*/ 308 w 338"/>
                    <a:gd name="T35" fmla="*/ 91 h 304"/>
                    <a:gd name="T36" fmla="*/ 270 w 338"/>
                    <a:gd name="T37" fmla="*/ 106 h 304"/>
                    <a:gd name="T38" fmla="*/ 261 w 338"/>
                    <a:gd name="T39" fmla="*/ 126 h 304"/>
                    <a:gd name="T40" fmla="*/ 251 w 338"/>
                    <a:gd name="T41" fmla="*/ 124 h 304"/>
                    <a:gd name="T42" fmla="*/ 228 w 338"/>
                    <a:gd name="T43" fmla="*/ 151 h 304"/>
                    <a:gd name="T44" fmla="*/ 222 w 338"/>
                    <a:gd name="T45" fmla="*/ 189 h 304"/>
                    <a:gd name="T46" fmla="*/ 237 w 338"/>
                    <a:gd name="T47" fmla="*/ 204 h 304"/>
                    <a:gd name="T48" fmla="*/ 201 w 338"/>
                    <a:gd name="T49" fmla="*/ 232 h 304"/>
                    <a:gd name="T50" fmla="*/ 204 w 338"/>
                    <a:gd name="T51" fmla="*/ 261 h 304"/>
                    <a:gd name="T52" fmla="*/ 173 w 338"/>
                    <a:gd name="T53" fmla="*/ 261 h 304"/>
                    <a:gd name="T54" fmla="*/ 158 w 338"/>
                    <a:gd name="T55" fmla="*/ 304 h 304"/>
                    <a:gd name="T56" fmla="*/ 129 w 338"/>
                    <a:gd name="T57" fmla="*/ 286 h 304"/>
                    <a:gd name="T58" fmla="*/ 96 w 338"/>
                    <a:gd name="T59" fmla="*/ 283 h 304"/>
                    <a:gd name="T60" fmla="*/ 57 w 338"/>
                    <a:gd name="T61" fmla="*/ 294 h 304"/>
                    <a:gd name="T62" fmla="*/ 42 w 338"/>
                    <a:gd name="T63" fmla="*/ 282 h 304"/>
                    <a:gd name="T64" fmla="*/ 18 w 338"/>
                    <a:gd name="T65" fmla="*/ 268 h 304"/>
                    <a:gd name="T66" fmla="*/ 2 w 338"/>
                    <a:gd name="T67" fmla="*/ 265 h 304"/>
                    <a:gd name="T68" fmla="*/ 21 w 338"/>
                    <a:gd name="T69" fmla="*/ 223 h 304"/>
                    <a:gd name="T70" fmla="*/ 23 w 338"/>
                    <a:gd name="T71" fmla="*/ 175 h 304"/>
                    <a:gd name="T72" fmla="*/ 27 w 338"/>
                    <a:gd name="T73" fmla="*/ 135 h 304"/>
                    <a:gd name="T74" fmla="*/ 39 w 338"/>
                    <a:gd name="T75" fmla="*/ 103 h 304"/>
                    <a:gd name="T76" fmla="*/ 47 w 338"/>
                    <a:gd name="T77" fmla="*/ 8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8" h="304">
                      <a:moveTo>
                        <a:pt x="47" y="88"/>
                      </a:moveTo>
                      <a:lnTo>
                        <a:pt x="23" y="81"/>
                      </a:lnTo>
                      <a:lnTo>
                        <a:pt x="3" y="76"/>
                      </a:lnTo>
                      <a:lnTo>
                        <a:pt x="0" y="46"/>
                      </a:lnTo>
                      <a:lnTo>
                        <a:pt x="5" y="7"/>
                      </a:lnTo>
                      <a:lnTo>
                        <a:pt x="18" y="0"/>
                      </a:lnTo>
                      <a:lnTo>
                        <a:pt x="50" y="10"/>
                      </a:lnTo>
                      <a:lnTo>
                        <a:pt x="83" y="12"/>
                      </a:lnTo>
                      <a:lnTo>
                        <a:pt x="108" y="21"/>
                      </a:lnTo>
                      <a:lnTo>
                        <a:pt x="122" y="13"/>
                      </a:lnTo>
                      <a:lnTo>
                        <a:pt x="137" y="22"/>
                      </a:lnTo>
                      <a:lnTo>
                        <a:pt x="156" y="21"/>
                      </a:lnTo>
                      <a:lnTo>
                        <a:pt x="183" y="24"/>
                      </a:lnTo>
                      <a:lnTo>
                        <a:pt x="258" y="57"/>
                      </a:lnTo>
                      <a:lnTo>
                        <a:pt x="284" y="63"/>
                      </a:lnTo>
                      <a:lnTo>
                        <a:pt x="309" y="57"/>
                      </a:lnTo>
                      <a:lnTo>
                        <a:pt x="338" y="64"/>
                      </a:lnTo>
                      <a:lnTo>
                        <a:pt x="308" y="91"/>
                      </a:lnTo>
                      <a:lnTo>
                        <a:pt x="270" y="106"/>
                      </a:lnTo>
                      <a:lnTo>
                        <a:pt x="261" y="126"/>
                      </a:lnTo>
                      <a:lnTo>
                        <a:pt x="251" y="124"/>
                      </a:lnTo>
                      <a:lnTo>
                        <a:pt x="228" y="151"/>
                      </a:lnTo>
                      <a:lnTo>
                        <a:pt x="222" y="189"/>
                      </a:lnTo>
                      <a:lnTo>
                        <a:pt x="237" y="204"/>
                      </a:lnTo>
                      <a:lnTo>
                        <a:pt x="201" y="232"/>
                      </a:lnTo>
                      <a:lnTo>
                        <a:pt x="204" y="261"/>
                      </a:lnTo>
                      <a:lnTo>
                        <a:pt x="173" y="261"/>
                      </a:lnTo>
                      <a:lnTo>
                        <a:pt x="158" y="304"/>
                      </a:lnTo>
                      <a:lnTo>
                        <a:pt x="129" y="286"/>
                      </a:lnTo>
                      <a:lnTo>
                        <a:pt x="96" y="283"/>
                      </a:lnTo>
                      <a:lnTo>
                        <a:pt x="57" y="294"/>
                      </a:lnTo>
                      <a:lnTo>
                        <a:pt x="42" y="282"/>
                      </a:lnTo>
                      <a:lnTo>
                        <a:pt x="18" y="268"/>
                      </a:lnTo>
                      <a:lnTo>
                        <a:pt x="2" y="265"/>
                      </a:lnTo>
                      <a:lnTo>
                        <a:pt x="21" y="223"/>
                      </a:lnTo>
                      <a:lnTo>
                        <a:pt x="23" y="175"/>
                      </a:lnTo>
                      <a:lnTo>
                        <a:pt x="27" y="135"/>
                      </a:lnTo>
                      <a:lnTo>
                        <a:pt x="39" y="103"/>
                      </a:lnTo>
                      <a:lnTo>
                        <a:pt x="47" y="88"/>
                      </a:ln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grpSp>
            <p:nvGrpSpPr>
              <p:cNvPr id="1369" name="Gruppieren 252"/>
              <p:cNvGrpSpPr/>
              <p:nvPr/>
            </p:nvGrpSpPr>
            <p:grpSpPr>
              <a:xfrm>
                <a:off x="5527949" y="3639758"/>
                <a:ext cx="543833" cy="758501"/>
                <a:chOff x="3784101" y="2077158"/>
                <a:chExt cx="282574" cy="394115"/>
              </a:xfrm>
              <a:grpFill/>
            </p:grpSpPr>
            <p:sp>
              <p:nvSpPr>
                <p:cNvPr id="1453" name="Freeform 206"/>
                <p:cNvSpPr>
                  <a:spLocks/>
                </p:cNvSpPr>
                <p:nvPr/>
              </p:nvSpPr>
              <p:spPr bwMode="auto">
                <a:xfrm>
                  <a:off x="3784101" y="2279793"/>
                  <a:ext cx="85516" cy="152441"/>
                </a:xfrm>
                <a:custGeom>
                  <a:avLst/>
                  <a:gdLst>
                    <a:gd name="T0" fmla="*/ 71 w 101"/>
                    <a:gd name="T1" fmla="*/ 138 h 166"/>
                    <a:gd name="T2" fmla="*/ 47 w 101"/>
                    <a:gd name="T3" fmla="*/ 140 h 166"/>
                    <a:gd name="T4" fmla="*/ 33 w 101"/>
                    <a:gd name="T5" fmla="*/ 164 h 166"/>
                    <a:gd name="T6" fmla="*/ 1 w 101"/>
                    <a:gd name="T7" fmla="*/ 154 h 166"/>
                    <a:gd name="T8" fmla="*/ 25 w 101"/>
                    <a:gd name="T9" fmla="*/ 108 h 166"/>
                    <a:gd name="T10" fmla="*/ 15 w 101"/>
                    <a:gd name="T11" fmla="*/ 86 h 166"/>
                    <a:gd name="T12" fmla="*/ 9 w 101"/>
                    <a:gd name="T13" fmla="*/ 30 h 166"/>
                    <a:gd name="T14" fmla="*/ 31 w 101"/>
                    <a:gd name="T15" fmla="*/ 32 h 166"/>
                    <a:gd name="T16" fmla="*/ 49 w 101"/>
                    <a:gd name="T17" fmla="*/ 30 h 166"/>
                    <a:gd name="T18" fmla="*/ 43 w 101"/>
                    <a:gd name="T19" fmla="*/ 10 h 166"/>
                    <a:gd name="T20" fmla="*/ 65 w 101"/>
                    <a:gd name="T21" fmla="*/ 0 h 166"/>
                    <a:gd name="T22" fmla="*/ 75 w 101"/>
                    <a:gd name="T23" fmla="*/ 6 h 166"/>
                    <a:gd name="T24" fmla="*/ 91 w 101"/>
                    <a:gd name="T25" fmla="*/ 2 h 166"/>
                    <a:gd name="T26" fmla="*/ 81 w 101"/>
                    <a:gd name="T27" fmla="*/ 28 h 166"/>
                    <a:gd name="T28" fmla="*/ 77 w 101"/>
                    <a:gd name="T29" fmla="*/ 62 h 166"/>
                    <a:gd name="T30" fmla="*/ 99 w 101"/>
                    <a:gd name="T31" fmla="*/ 68 h 166"/>
                    <a:gd name="T32" fmla="*/ 101 w 101"/>
                    <a:gd name="T33" fmla="*/ 102 h 166"/>
                    <a:gd name="T34" fmla="*/ 97 w 101"/>
                    <a:gd name="T35" fmla="*/ 136 h 166"/>
                    <a:gd name="T36" fmla="*/ 71 w 101"/>
                    <a:gd name="T37" fmla="*/ 13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66">
                      <a:moveTo>
                        <a:pt x="71" y="138"/>
                      </a:moveTo>
                      <a:lnTo>
                        <a:pt x="47" y="140"/>
                      </a:lnTo>
                      <a:lnTo>
                        <a:pt x="33" y="164"/>
                      </a:lnTo>
                      <a:cubicBezTo>
                        <a:pt x="25" y="166"/>
                        <a:pt x="2" y="163"/>
                        <a:pt x="1" y="154"/>
                      </a:cubicBezTo>
                      <a:cubicBezTo>
                        <a:pt x="0" y="145"/>
                        <a:pt x="23" y="119"/>
                        <a:pt x="25" y="108"/>
                      </a:cubicBezTo>
                      <a:lnTo>
                        <a:pt x="15" y="86"/>
                      </a:lnTo>
                      <a:cubicBezTo>
                        <a:pt x="12" y="73"/>
                        <a:pt x="6" y="39"/>
                        <a:pt x="9" y="30"/>
                      </a:cubicBezTo>
                      <a:cubicBezTo>
                        <a:pt x="12" y="21"/>
                        <a:pt x="24" y="32"/>
                        <a:pt x="31" y="32"/>
                      </a:cubicBezTo>
                      <a:lnTo>
                        <a:pt x="49" y="30"/>
                      </a:lnTo>
                      <a:lnTo>
                        <a:pt x="43" y="10"/>
                      </a:lnTo>
                      <a:lnTo>
                        <a:pt x="65" y="0"/>
                      </a:lnTo>
                      <a:lnTo>
                        <a:pt x="75" y="6"/>
                      </a:lnTo>
                      <a:lnTo>
                        <a:pt x="91" y="2"/>
                      </a:lnTo>
                      <a:lnTo>
                        <a:pt x="81" y="28"/>
                      </a:lnTo>
                      <a:lnTo>
                        <a:pt x="77" y="62"/>
                      </a:lnTo>
                      <a:lnTo>
                        <a:pt x="99" y="68"/>
                      </a:lnTo>
                      <a:lnTo>
                        <a:pt x="101" y="102"/>
                      </a:lnTo>
                      <a:lnTo>
                        <a:pt x="97" y="136"/>
                      </a:lnTo>
                      <a:lnTo>
                        <a:pt x="71" y="138"/>
                      </a:ln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54" name="Freeform 208"/>
                <p:cNvSpPr>
                  <a:spLocks/>
                </p:cNvSpPr>
                <p:nvPr/>
              </p:nvSpPr>
              <p:spPr bwMode="auto">
                <a:xfrm>
                  <a:off x="3851027" y="2282464"/>
                  <a:ext cx="37356" cy="62325"/>
                </a:xfrm>
                <a:custGeom>
                  <a:avLst/>
                  <a:gdLst>
                    <a:gd name="T0" fmla="*/ 12 w 44"/>
                    <a:gd name="T1" fmla="*/ 0 h 68"/>
                    <a:gd name="T2" fmla="*/ 0 w 44"/>
                    <a:gd name="T3" fmla="*/ 26 h 68"/>
                    <a:gd name="T4" fmla="*/ 0 w 44"/>
                    <a:gd name="T5" fmla="*/ 60 h 68"/>
                    <a:gd name="T6" fmla="*/ 20 w 44"/>
                    <a:gd name="T7" fmla="*/ 68 h 68"/>
                    <a:gd name="T8" fmla="*/ 42 w 44"/>
                    <a:gd name="T9" fmla="*/ 48 h 68"/>
                    <a:gd name="T10" fmla="*/ 44 w 44"/>
                    <a:gd name="T11" fmla="*/ 22 h 68"/>
                    <a:gd name="T12" fmla="*/ 12 w 44"/>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44" h="68">
                      <a:moveTo>
                        <a:pt x="12" y="0"/>
                      </a:moveTo>
                      <a:lnTo>
                        <a:pt x="0" y="26"/>
                      </a:lnTo>
                      <a:lnTo>
                        <a:pt x="0" y="60"/>
                      </a:lnTo>
                      <a:lnTo>
                        <a:pt x="20" y="68"/>
                      </a:lnTo>
                      <a:lnTo>
                        <a:pt x="42" y="48"/>
                      </a:lnTo>
                      <a:lnTo>
                        <a:pt x="44" y="22"/>
                      </a:lnTo>
                      <a:lnTo>
                        <a:pt x="12" y="0"/>
                      </a:ln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55" name="Freeform 209"/>
                <p:cNvSpPr>
                  <a:spLocks/>
                </p:cNvSpPr>
                <p:nvPr/>
              </p:nvSpPr>
              <p:spPr bwMode="auto">
                <a:xfrm>
                  <a:off x="3873950" y="2154148"/>
                  <a:ext cx="192725" cy="317125"/>
                </a:xfrm>
                <a:custGeom>
                  <a:avLst/>
                  <a:gdLst>
                    <a:gd name="T0" fmla="*/ 51 w 227"/>
                    <a:gd name="T1" fmla="*/ 6 h 346"/>
                    <a:gd name="T2" fmla="*/ 35 w 227"/>
                    <a:gd name="T3" fmla="*/ 40 h 346"/>
                    <a:gd name="T4" fmla="*/ 19 w 227"/>
                    <a:gd name="T5" fmla="*/ 64 h 346"/>
                    <a:gd name="T6" fmla="*/ 11 w 227"/>
                    <a:gd name="T7" fmla="*/ 76 h 346"/>
                    <a:gd name="T8" fmla="*/ 19 w 227"/>
                    <a:gd name="T9" fmla="*/ 94 h 346"/>
                    <a:gd name="T10" fmla="*/ 31 w 227"/>
                    <a:gd name="T11" fmla="*/ 120 h 346"/>
                    <a:gd name="T12" fmla="*/ 59 w 227"/>
                    <a:gd name="T13" fmla="*/ 118 h 346"/>
                    <a:gd name="T14" fmla="*/ 31 w 227"/>
                    <a:gd name="T15" fmla="*/ 140 h 346"/>
                    <a:gd name="T16" fmla="*/ 37 w 227"/>
                    <a:gd name="T17" fmla="*/ 162 h 346"/>
                    <a:gd name="T18" fmla="*/ 87 w 227"/>
                    <a:gd name="T19" fmla="*/ 164 h 346"/>
                    <a:gd name="T20" fmla="*/ 95 w 227"/>
                    <a:gd name="T21" fmla="*/ 192 h 346"/>
                    <a:gd name="T22" fmla="*/ 49 w 227"/>
                    <a:gd name="T23" fmla="*/ 222 h 346"/>
                    <a:gd name="T24" fmla="*/ 45 w 227"/>
                    <a:gd name="T25" fmla="*/ 228 h 346"/>
                    <a:gd name="T26" fmla="*/ 53 w 227"/>
                    <a:gd name="T27" fmla="*/ 240 h 346"/>
                    <a:gd name="T28" fmla="*/ 37 w 227"/>
                    <a:gd name="T29" fmla="*/ 258 h 346"/>
                    <a:gd name="T30" fmla="*/ 23 w 227"/>
                    <a:gd name="T31" fmla="*/ 276 h 346"/>
                    <a:gd name="T32" fmla="*/ 91 w 227"/>
                    <a:gd name="T33" fmla="*/ 292 h 346"/>
                    <a:gd name="T34" fmla="*/ 31 w 227"/>
                    <a:gd name="T35" fmla="*/ 314 h 346"/>
                    <a:gd name="T36" fmla="*/ 7 w 227"/>
                    <a:gd name="T37" fmla="*/ 326 h 346"/>
                    <a:gd name="T38" fmla="*/ 19 w 227"/>
                    <a:gd name="T39" fmla="*/ 346 h 346"/>
                    <a:gd name="T40" fmla="*/ 59 w 227"/>
                    <a:gd name="T41" fmla="*/ 328 h 346"/>
                    <a:gd name="T42" fmla="*/ 113 w 227"/>
                    <a:gd name="T43" fmla="*/ 318 h 346"/>
                    <a:gd name="T44" fmla="*/ 197 w 227"/>
                    <a:gd name="T45" fmla="*/ 304 h 346"/>
                    <a:gd name="T46" fmla="*/ 203 w 227"/>
                    <a:gd name="T47" fmla="*/ 284 h 346"/>
                    <a:gd name="T48" fmla="*/ 215 w 227"/>
                    <a:gd name="T49" fmla="*/ 282 h 346"/>
                    <a:gd name="T50" fmla="*/ 207 w 227"/>
                    <a:gd name="T51" fmla="*/ 234 h 346"/>
                    <a:gd name="T52" fmla="*/ 175 w 227"/>
                    <a:gd name="T53" fmla="*/ 252 h 346"/>
                    <a:gd name="T54" fmla="*/ 157 w 227"/>
                    <a:gd name="T55" fmla="*/ 236 h 346"/>
                    <a:gd name="T56" fmla="*/ 137 w 227"/>
                    <a:gd name="T57" fmla="*/ 144 h 346"/>
                    <a:gd name="T58" fmla="*/ 83 w 227"/>
                    <a:gd name="T59" fmla="*/ 114 h 346"/>
                    <a:gd name="T60" fmla="*/ 105 w 227"/>
                    <a:gd name="T61" fmla="*/ 104 h 346"/>
                    <a:gd name="T62" fmla="*/ 119 w 227"/>
                    <a:gd name="T63" fmla="*/ 80 h 346"/>
                    <a:gd name="T64" fmla="*/ 117 w 227"/>
                    <a:gd name="T65" fmla="*/ 56 h 346"/>
                    <a:gd name="T66" fmla="*/ 59 w 227"/>
                    <a:gd name="T67" fmla="*/ 40 h 346"/>
                    <a:gd name="T68" fmla="*/ 93 w 227"/>
                    <a:gd name="T69" fmla="*/ 20 h 346"/>
                    <a:gd name="T70" fmla="*/ 105 w 227"/>
                    <a:gd name="T71" fmla="*/ 6 h 346"/>
                    <a:gd name="T72" fmla="*/ 71 w 227"/>
                    <a:gd name="T73" fmla="*/ 0 h 346"/>
                    <a:gd name="T74" fmla="*/ 51 w 227"/>
                    <a:gd name="T75" fmla="*/ 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7" h="346">
                      <a:moveTo>
                        <a:pt x="51" y="6"/>
                      </a:moveTo>
                      <a:cubicBezTo>
                        <a:pt x="41" y="16"/>
                        <a:pt x="38" y="26"/>
                        <a:pt x="35" y="40"/>
                      </a:cubicBezTo>
                      <a:cubicBezTo>
                        <a:pt x="15" y="35"/>
                        <a:pt x="24" y="47"/>
                        <a:pt x="19" y="64"/>
                      </a:cubicBezTo>
                      <a:cubicBezTo>
                        <a:pt x="18" y="69"/>
                        <a:pt x="11" y="76"/>
                        <a:pt x="11" y="76"/>
                      </a:cubicBezTo>
                      <a:cubicBezTo>
                        <a:pt x="13" y="83"/>
                        <a:pt x="17" y="87"/>
                        <a:pt x="19" y="94"/>
                      </a:cubicBezTo>
                      <a:cubicBezTo>
                        <a:pt x="13" y="113"/>
                        <a:pt x="7" y="117"/>
                        <a:pt x="31" y="120"/>
                      </a:cubicBezTo>
                      <a:cubicBezTo>
                        <a:pt x="42" y="119"/>
                        <a:pt x="48" y="114"/>
                        <a:pt x="59" y="118"/>
                      </a:cubicBezTo>
                      <a:cubicBezTo>
                        <a:pt x="54" y="125"/>
                        <a:pt x="34" y="132"/>
                        <a:pt x="31" y="140"/>
                      </a:cubicBezTo>
                      <a:cubicBezTo>
                        <a:pt x="28" y="146"/>
                        <a:pt x="37" y="162"/>
                        <a:pt x="37" y="162"/>
                      </a:cubicBezTo>
                      <a:cubicBezTo>
                        <a:pt x="52" y="166"/>
                        <a:pt x="80" y="150"/>
                        <a:pt x="87" y="164"/>
                      </a:cubicBezTo>
                      <a:cubicBezTo>
                        <a:pt x="83" y="175"/>
                        <a:pt x="90" y="182"/>
                        <a:pt x="95" y="192"/>
                      </a:cubicBezTo>
                      <a:cubicBezTo>
                        <a:pt x="84" y="226"/>
                        <a:pt x="99" y="219"/>
                        <a:pt x="49" y="222"/>
                      </a:cubicBezTo>
                      <a:cubicBezTo>
                        <a:pt x="48" y="224"/>
                        <a:pt x="44" y="226"/>
                        <a:pt x="45" y="228"/>
                      </a:cubicBezTo>
                      <a:cubicBezTo>
                        <a:pt x="46" y="233"/>
                        <a:pt x="53" y="240"/>
                        <a:pt x="53" y="240"/>
                      </a:cubicBezTo>
                      <a:cubicBezTo>
                        <a:pt x="50" y="260"/>
                        <a:pt x="53" y="253"/>
                        <a:pt x="37" y="258"/>
                      </a:cubicBezTo>
                      <a:cubicBezTo>
                        <a:pt x="28" y="272"/>
                        <a:pt x="27" y="265"/>
                        <a:pt x="23" y="276"/>
                      </a:cubicBezTo>
                      <a:cubicBezTo>
                        <a:pt x="29" y="294"/>
                        <a:pt x="75" y="290"/>
                        <a:pt x="91" y="292"/>
                      </a:cubicBezTo>
                      <a:cubicBezTo>
                        <a:pt x="84" y="312"/>
                        <a:pt x="50" y="313"/>
                        <a:pt x="31" y="314"/>
                      </a:cubicBezTo>
                      <a:cubicBezTo>
                        <a:pt x="18" y="316"/>
                        <a:pt x="18" y="319"/>
                        <a:pt x="7" y="326"/>
                      </a:cubicBezTo>
                      <a:cubicBezTo>
                        <a:pt x="0" y="340"/>
                        <a:pt x="4" y="340"/>
                        <a:pt x="19" y="346"/>
                      </a:cubicBezTo>
                      <a:cubicBezTo>
                        <a:pt x="39" y="344"/>
                        <a:pt x="40" y="332"/>
                        <a:pt x="59" y="328"/>
                      </a:cubicBezTo>
                      <a:cubicBezTo>
                        <a:pt x="70" y="317"/>
                        <a:pt x="98" y="314"/>
                        <a:pt x="113" y="318"/>
                      </a:cubicBezTo>
                      <a:cubicBezTo>
                        <a:pt x="156" y="314"/>
                        <a:pt x="163" y="307"/>
                        <a:pt x="197" y="304"/>
                      </a:cubicBezTo>
                      <a:cubicBezTo>
                        <a:pt x="193" y="278"/>
                        <a:pt x="165" y="291"/>
                        <a:pt x="203" y="284"/>
                      </a:cubicBezTo>
                      <a:cubicBezTo>
                        <a:pt x="207" y="283"/>
                        <a:pt x="211" y="283"/>
                        <a:pt x="215" y="282"/>
                      </a:cubicBezTo>
                      <a:cubicBezTo>
                        <a:pt x="227" y="266"/>
                        <a:pt x="224" y="245"/>
                        <a:pt x="207" y="234"/>
                      </a:cubicBezTo>
                      <a:cubicBezTo>
                        <a:pt x="197" y="227"/>
                        <a:pt x="186" y="258"/>
                        <a:pt x="175" y="252"/>
                      </a:cubicBezTo>
                      <a:cubicBezTo>
                        <a:pt x="162" y="254"/>
                        <a:pt x="153" y="223"/>
                        <a:pt x="157" y="236"/>
                      </a:cubicBezTo>
                      <a:cubicBezTo>
                        <a:pt x="154" y="211"/>
                        <a:pt x="155" y="162"/>
                        <a:pt x="137" y="144"/>
                      </a:cubicBezTo>
                      <a:cubicBezTo>
                        <a:pt x="126" y="111"/>
                        <a:pt x="117" y="122"/>
                        <a:pt x="83" y="114"/>
                      </a:cubicBezTo>
                      <a:cubicBezTo>
                        <a:pt x="68" y="94"/>
                        <a:pt x="87" y="105"/>
                        <a:pt x="105" y="104"/>
                      </a:cubicBezTo>
                      <a:cubicBezTo>
                        <a:pt x="110" y="90"/>
                        <a:pt x="90" y="85"/>
                        <a:pt x="119" y="80"/>
                      </a:cubicBezTo>
                      <a:cubicBezTo>
                        <a:pt x="128" y="74"/>
                        <a:pt x="129" y="60"/>
                        <a:pt x="117" y="56"/>
                      </a:cubicBezTo>
                      <a:cubicBezTo>
                        <a:pt x="95" y="49"/>
                        <a:pt x="82" y="42"/>
                        <a:pt x="59" y="40"/>
                      </a:cubicBezTo>
                      <a:cubicBezTo>
                        <a:pt x="68" y="27"/>
                        <a:pt x="77" y="21"/>
                        <a:pt x="93" y="20"/>
                      </a:cubicBezTo>
                      <a:cubicBezTo>
                        <a:pt x="105" y="12"/>
                        <a:pt x="118" y="13"/>
                        <a:pt x="105" y="6"/>
                      </a:cubicBezTo>
                      <a:cubicBezTo>
                        <a:pt x="96" y="1"/>
                        <a:pt x="79" y="1"/>
                        <a:pt x="71" y="0"/>
                      </a:cubicBezTo>
                      <a:cubicBezTo>
                        <a:pt x="67" y="1"/>
                        <a:pt x="47" y="10"/>
                        <a:pt x="51" y="6"/>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56" name="Freeform 210"/>
                <p:cNvSpPr>
                  <a:spLocks/>
                </p:cNvSpPr>
                <p:nvPr/>
              </p:nvSpPr>
              <p:spPr bwMode="auto">
                <a:xfrm>
                  <a:off x="3893477" y="2336541"/>
                  <a:ext cx="25470" cy="13748"/>
                </a:xfrm>
                <a:custGeom>
                  <a:avLst/>
                  <a:gdLst>
                    <a:gd name="T0" fmla="*/ 16 w 30"/>
                    <a:gd name="T1" fmla="*/ 7 h 15"/>
                    <a:gd name="T2" fmla="*/ 12 w 30"/>
                    <a:gd name="T3" fmla="*/ 15 h 15"/>
                    <a:gd name="T4" fmla="*/ 26 w 30"/>
                    <a:gd name="T5" fmla="*/ 11 h 15"/>
                    <a:gd name="T6" fmla="*/ 16 w 30"/>
                    <a:gd name="T7" fmla="*/ 7 h 15"/>
                  </a:gdLst>
                  <a:ahLst/>
                  <a:cxnLst>
                    <a:cxn ang="0">
                      <a:pos x="T0" y="T1"/>
                    </a:cxn>
                    <a:cxn ang="0">
                      <a:pos x="T2" y="T3"/>
                    </a:cxn>
                    <a:cxn ang="0">
                      <a:pos x="T4" y="T5"/>
                    </a:cxn>
                    <a:cxn ang="0">
                      <a:pos x="T6" y="T7"/>
                    </a:cxn>
                  </a:cxnLst>
                  <a:rect l="0" t="0" r="r" b="b"/>
                  <a:pathLst>
                    <a:path w="30" h="15">
                      <a:moveTo>
                        <a:pt x="16" y="7"/>
                      </a:moveTo>
                      <a:cubicBezTo>
                        <a:pt x="15" y="7"/>
                        <a:pt x="0" y="10"/>
                        <a:pt x="12" y="15"/>
                      </a:cubicBezTo>
                      <a:cubicBezTo>
                        <a:pt x="13" y="15"/>
                        <a:pt x="24" y="12"/>
                        <a:pt x="26" y="11"/>
                      </a:cubicBezTo>
                      <a:cubicBezTo>
                        <a:pt x="30" y="0"/>
                        <a:pt x="23" y="3"/>
                        <a:pt x="16" y="7"/>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57" name="Freeform 211"/>
                <p:cNvSpPr>
                  <a:spLocks/>
                </p:cNvSpPr>
                <p:nvPr/>
              </p:nvSpPr>
              <p:spPr bwMode="auto">
                <a:xfrm>
                  <a:off x="3899420" y="2313627"/>
                  <a:ext cx="21225" cy="21081"/>
                </a:xfrm>
                <a:custGeom>
                  <a:avLst/>
                  <a:gdLst>
                    <a:gd name="T0" fmla="*/ 17 w 25"/>
                    <a:gd name="T1" fmla="*/ 6 h 23"/>
                    <a:gd name="T2" fmla="*/ 5 w 25"/>
                    <a:gd name="T3" fmla="*/ 20 h 23"/>
                    <a:gd name="T4" fmla="*/ 25 w 25"/>
                    <a:gd name="T5" fmla="*/ 8 h 23"/>
                    <a:gd name="T6" fmla="*/ 17 w 25"/>
                    <a:gd name="T7" fmla="*/ 6 h 23"/>
                  </a:gdLst>
                  <a:ahLst/>
                  <a:cxnLst>
                    <a:cxn ang="0">
                      <a:pos x="T0" y="T1"/>
                    </a:cxn>
                    <a:cxn ang="0">
                      <a:pos x="T2" y="T3"/>
                    </a:cxn>
                    <a:cxn ang="0">
                      <a:pos x="T4" y="T5"/>
                    </a:cxn>
                    <a:cxn ang="0">
                      <a:pos x="T6" y="T7"/>
                    </a:cxn>
                  </a:cxnLst>
                  <a:rect l="0" t="0" r="r" b="b"/>
                  <a:pathLst>
                    <a:path w="25" h="23">
                      <a:moveTo>
                        <a:pt x="17" y="6"/>
                      </a:moveTo>
                      <a:cubicBezTo>
                        <a:pt x="15" y="7"/>
                        <a:pt x="0" y="15"/>
                        <a:pt x="5" y="20"/>
                      </a:cubicBezTo>
                      <a:cubicBezTo>
                        <a:pt x="8" y="23"/>
                        <a:pt x="23" y="10"/>
                        <a:pt x="25" y="8"/>
                      </a:cubicBezTo>
                      <a:cubicBezTo>
                        <a:pt x="22" y="0"/>
                        <a:pt x="25" y="1"/>
                        <a:pt x="17" y="6"/>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58" name="Freeform 212"/>
                <p:cNvSpPr>
                  <a:spLocks/>
                </p:cNvSpPr>
                <p:nvPr/>
              </p:nvSpPr>
              <p:spPr bwMode="auto">
                <a:xfrm>
                  <a:off x="3872252" y="2269633"/>
                  <a:ext cx="33111" cy="10082"/>
                </a:xfrm>
                <a:custGeom>
                  <a:avLst/>
                  <a:gdLst>
                    <a:gd name="T0" fmla="*/ 19 w 39"/>
                    <a:gd name="T1" fmla="*/ 0 h 11"/>
                    <a:gd name="T2" fmla="*/ 13 w 39"/>
                    <a:gd name="T3" fmla="*/ 10 h 11"/>
                    <a:gd name="T4" fmla="*/ 35 w 39"/>
                    <a:gd name="T5" fmla="*/ 8 h 11"/>
                    <a:gd name="T6" fmla="*/ 19 w 39"/>
                    <a:gd name="T7" fmla="*/ 0 h 11"/>
                  </a:gdLst>
                  <a:ahLst/>
                  <a:cxnLst>
                    <a:cxn ang="0">
                      <a:pos x="T0" y="T1"/>
                    </a:cxn>
                    <a:cxn ang="0">
                      <a:pos x="T2" y="T3"/>
                    </a:cxn>
                    <a:cxn ang="0">
                      <a:pos x="T4" y="T5"/>
                    </a:cxn>
                    <a:cxn ang="0">
                      <a:pos x="T6" y="T7"/>
                    </a:cxn>
                  </a:cxnLst>
                  <a:rect l="0" t="0" r="r" b="b"/>
                  <a:pathLst>
                    <a:path w="39" h="11">
                      <a:moveTo>
                        <a:pt x="19" y="0"/>
                      </a:moveTo>
                      <a:cubicBezTo>
                        <a:pt x="12" y="1"/>
                        <a:pt x="0" y="6"/>
                        <a:pt x="13" y="10"/>
                      </a:cubicBezTo>
                      <a:cubicBezTo>
                        <a:pt x="20" y="9"/>
                        <a:pt x="28" y="11"/>
                        <a:pt x="35" y="8"/>
                      </a:cubicBezTo>
                      <a:cubicBezTo>
                        <a:pt x="39" y="6"/>
                        <a:pt x="19" y="0"/>
                        <a:pt x="19" y="0"/>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59" name="Freeform 213"/>
                <p:cNvSpPr>
                  <a:spLocks/>
                </p:cNvSpPr>
                <p:nvPr/>
              </p:nvSpPr>
              <p:spPr bwMode="auto">
                <a:xfrm>
                  <a:off x="3860366" y="2223805"/>
                  <a:ext cx="19527" cy="18330"/>
                </a:xfrm>
                <a:custGeom>
                  <a:avLst/>
                  <a:gdLst>
                    <a:gd name="T0" fmla="*/ 17 w 23"/>
                    <a:gd name="T1" fmla="*/ 0 h 20"/>
                    <a:gd name="T2" fmla="*/ 15 w 23"/>
                    <a:gd name="T3" fmla="*/ 20 h 20"/>
                    <a:gd name="T4" fmla="*/ 23 w 23"/>
                    <a:gd name="T5" fmla="*/ 10 h 20"/>
                    <a:gd name="T6" fmla="*/ 17 w 23"/>
                    <a:gd name="T7" fmla="*/ 0 h 20"/>
                  </a:gdLst>
                  <a:ahLst/>
                  <a:cxnLst>
                    <a:cxn ang="0">
                      <a:pos x="T0" y="T1"/>
                    </a:cxn>
                    <a:cxn ang="0">
                      <a:pos x="T2" y="T3"/>
                    </a:cxn>
                    <a:cxn ang="0">
                      <a:pos x="T4" y="T5"/>
                    </a:cxn>
                    <a:cxn ang="0">
                      <a:pos x="T6" y="T7"/>
                    </a:cxn>
                  </a:cxnLst>
                  <a:rect l="0" t="0" r="r" b="b"/>
                  <a:pathLst>
                    <a:path w="23" h="20">
                      <a:moveTo>
                        <a:pt x="17" y="0"/>
                      </a:moveTo>
                      <a:cubicBezTo>
                        <a:pt x="11" y="8"/>
                        <a:pt x="0" y="15"/>
                        <a:pt x="15" y="20"/>
                      </a:cubicBezTo>
                      <a:cubicBezTo>
                        <a:pt x="20" y="17"/>
                        <a:pt x="23" y="16"/>
                        <a:pt x="23" y="10"/>
                      </a:cubicBezTo>
                      <a:cubicBezTo>
                        <a:pt x="23" y="4"/>
                        <a:pt x="13" y="0"/>
                        <a:pt x="17"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60" name="Freeform 214"/>
                <p:cNvSpPr>
                  <a:spLocks/>
                </p:cNvSpPr>
                <p:nvPr/>
              </p:nvSpPr>
              <p:spPr bwMode="auto">
                <a:xfrm>
                  <a:off x="3869705" y="2157814"/>
                  <a:ext cx="19527" cy="32080"/>
                </a:xfrm>
                <a:custGeom>
                  <a:avLst/>
                  <a:gdLst>
                    <a:gd name="T0" fmla="*/ 18 w 23"/>
                    <a:gd name="T1" fmla="*/ 0 h 35"/>
                    <a:gd name="T2" fmla="*/ 0 w 23"/>
                    <a:gd name="T3" fmla="*/ 22 h 35"/>
                    <a:gd name="T4" fmla="*/ 20 w 23"/>
                    <a:gd name="T5" fmla="*/ 18 h 35"/>
                    <a:gd name="T6" fmla="*/ 18 w 23"/>
                    <a:gd name="T7" fmla="*/ 0 h 35"/>
                  </a:gdLst>
                  <a:ahLst/>
                  <a:cxnLst>
                    <a:cxn ang="0">
                      <a:pos x="T0" y="T1"/>
                    </a:cxn>
                    <a:cxn ang="0">
                      <a:pos x="T2" y="T3"/>
                    </a:cxn>
                    <a:cxn ang="0">
                      <a:pos x="T4" y="T5"/>
                    </a:cxn>
                    <a:cxn ang="0">
                      <a:pos x="T6" y="T7"/>
                    </a:cxn>
                  </a:cxnLst>
                  <a:rect l="0" t="0" r="r" b="b"/>
                  <a:pathLst>
                    <a:path w="23" h="35">
                      <a:moveTo>
                        <a:pt x="18" y="0"/>
                      </a:moveTo>
                      <a:cubicBezTo>
                        <a:pt x="8" y="3"/>
                        <a:pt x="3" y="12"/>
                        <a:pt x="0" y="22"/>
                      </a:cubicBezTo>
                      <a:cubicBezTo>
                        <a:pt x="4" y="35"/>
                        <a:pt x="14" y="24"/>
                        <a:pt x="20" y="18"/>
                      </a:cubicBezTo>
                      <a:cubicBezTo>
                        <a:pt x="23" y="10"/>
                        <a:pt x="18" y="8"/>
                        <a:pt x="18"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61" name="Freeform 215"/>
                <p:cNvSpPr>
                  <a:spLocks/>
                </p:cNvSpPr>
                <p:nvPr/>
              </p:nvSpPr>
              <p:spPr bwMode="auto">
                <a:xfrm>
                  <a:off x="3991962" y="2077158"/>
                  <a:ext cx="16131" cy="43994"/>
                </a:xfrm>
                <a:custGeom>
                  <a:avLst/>
                  <a:gdLst>
                    <a:gd name="T0" fmla="*/ 12 w 19"/>
                    <a:gd name="T1" fmla="*/ 0 h 48"/>
                    <a:gd name="T2" fmla="*/ 0 w 19"/>
                    <a:gd name="T3" fmla="*/ 24 h 48"/>
                    <a:gd name="T4" fmla="*/ 14 w 19"/>
                    <a:gd name="T5" fmla="*/ 36 h 48"/>
                    <a:gd name="T6" fmla="*/ 16 w 19"/>
                    <a:gd name="T7" fmla="*/ 6 h 48"/>
                    <a:gd name="T8" fmla="*/ 12 w 19"/>
                    <a:gd name="T9" fmla="*/ 0 h 48"/>
                  </a:gdLst>
                  <a:ahLst/>
                  <a:cxnLst>
                    <a:cxn ang="0">
                      <a:pos x="T0" y="T1"/>
                    </a:cxn>
                    <a:cxn ang="0">
                      <a:pos x="T2" y="T3"/>
                    </a:cxn>
                    <a:cxn ang="0">
                      <a:pos x="T4" y="T5"/>
                    </a:cxn>
                    <a:cxn ang="0">
                      <a:pos x="T6" y="T7"/>
                    </a:cxn>
                    <a:cxn ang="0">
                      <a:pos x="T8" y="T9"/>
                    </a:cxn>
                  </a:cxnLst>
                  <a:rect l="0" t="0" r="r" b="b"/>
                  <a:pathLst>
                    <a:path w="19" h="48">
                      <a:moveTo>
                        <a:pt x="12" y="0"/>
                      </a:moveTo>
                      <a:cubicBezTo>
                        <a:pt x="6" y="6"/>
                        <a:pt x="0" y="24"/>
                        <a:pt x="0" y="24"/>
                      </a:cubicBezTo>
                      <a:cubicBezTo>
                        <a:pt x="2" y="38"/>
                        <a:pt x="2" y="48"/>
                        <a:pt x="14" y="36"/>
                      </a:cubicBezTo>
                      <a:cubicBezTo>
                        <a:pt x="18" y="25"/>
                        <a:pt x="19" y="18"/>
                        <a:pt x="16" y="6"/>
                      </a:cubicBezTo>
                      <a:cubicBezTo>
                        <a:pt x="15" y="4"/>
                        <a:pt x="12" y="0"/>
                        <a:pt x="12"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62" name="Freeform 216"/>
                <p:cNvSpPr>
                  <a:spLocks/>
                </p:cNvSpPr>
                <p:nvPr/>
              </p:nvSpPr>
              <p:spPr bwMode="auto">
                <a:xfrm>
                  <a:off x="3948663" y="2120236"/>
                  <a:ext cx="20376" cy="22914"/>
                </a:xfrm>
                <a:custGeom>
                  <a:avLst/>
                  <a:gdLst>
                    <a:gd name="T0" fmla="*/ 15 w 24"/>
                    <a:gd name="T1" fmla="*/ 7 h 25"/>
                    <a:gd name="T2" fmla="*/ 13 w 24"/>
                    <a:gd name="T3" fmla="*/ 25 h 25"/>
                    <a:gd name="T4" fmla="*/ 17 w 24"/>
                    <a:gd name="T5" fmla="*/ 17 h 25"/>
                    <a:gd name="T6" fmla="*/ 23 w 24"/>
                    <a:gd name="T7" fmla="*/ 11 h 25"/>
                    <a:gd name="T8" fmla="*/ 11 w 24"/>
                    <a:gd name="T9" fmla="*/ 3 h 25"/>
                    <a:gd name="T10" fmla="*/ 15 w 24"/>
                    <a:gd name="T11" fmla="*/ 7 h 25"/>
                  </a:gdLst>
                  <a:ahLst/>
                  <a:cxnLst>
                    <a:cxn ang="0">
                      <a:pos x="T0" y="T1"/>
                    </a:cxn>
                    <a:cxn ang="0">
                      <a:pos x="T2" y="T3"/>
                    </a:cxn>
                    <a:cxn ang="0">
                      <a:pos x="T4" y="T5"/>
                    </a:cxn>
                    <a:cxn ang="0">
                      <a:pos x="T6" y="T7"/>
                    </a:cxn>
                    <a:cxn ang="0">
                      <a:pos x="T8" y="T9"/>
                    </a:cxn>
                    <a:cxn ang="0">
                      <a:pos x="T10" y="T11"/>
                    </a:cxn>
                  </a:cxnLst>
                  <a:rect l="0" t="0" r="r" b="b"/>
                  <a:pathLst>
                    <a:path w="24" h="25">
                      <a:moveTo>
                        <a:pt x="15" y="7"/>
                      </a:moveTo>
                      <a:cubicBezTo>
                        <a:pt x="0" y="11"/>
                        <a:pt x="2" y="17"/>
                        <a:pt x="13" y="25"/>
                      </a:cubicBezTo>
                      <a:cubicBezTo>
                        <a:pt x="14" y="22"/>
                        <a:pt x="15" y="19"/>
                        <a:pt x="17" y="17"/>
                      </a:cubicBezTo>
                      <a:cubicBezTo>
                        <a:pt x="19" y="15"/>
                        <a:pt x="24" y="14"/>
                        <a:pt x="23" y="11"/>
                      </a:cubicBezTo>
                      <a:cubicBezTo>
                        <a:pt x="21" y="7"/>
                        <a:pt x="8" y="0"/>
                        <a:pt x="11" y="3"/>
                      </a:cubicBezTo>
                      <a:cubicBezTo>
                        <a:pt x="12" y="4"/>
                        <a:pt x="14" y="6"/>
                        <a:pt x="15" y="7"/>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63" name="Freeform 217"/>
                <p:cNvSpPr>
                  <a:spLocks/>
                </p:cNvSpPr>
                <p:nvPr/>
              </p:nvSpPr>
              <p:spPr bwMode="auto">
                <a:xfrm>
                  <a:off x="3874799" y="2187144"/>
                  <a:ext cx="10188" cy="32080"/>
                </a:xfrm>
                <a:custGeom>
                  <a:avLst/>
                  <a:gdLst>
                    <a:gd name="T0" fmla="*/ 0 w 12"/>
                    <a:gd name="T1" fmla="*/ 12 h 35"/>
                    <a:gd name="T2" fmla="*/ 12 w 12"/>
                    <a:gd name="T3" fmla="*/ 6 h 35"/>
                    <a:gd name="T4" fmla="*/ 0 w 12"/>
                    <a:gd name="T5" fmla="*/ 12 h 35"/>
                  </a:gdLst>
                  <a:ahLst/>
                  <a:cxnLst>
                    <a:cxn ang="0">
                      <a:pos x="T0" y="T1"/>
                    </a:cxn>
                    <a:cxn ang="0">
                      <a:pos x="T2" y="T3"/>
                    </a:cxn>
                    <a:cxn ang="0">
                      <a:pos x="T4" y="T5"/>
                    </a:cxn>
                  </a:cxnLst>
                  <a:rect l="0" t="0" r="r" b="b"/>
                  <a:pathLst>
                    <a:path w="12" h="35">
                      <a:moveTo>
                        <a:pt x="0" y="12"/>
                      </a:moveTo>
                      <a:cubicBezTo>
                        <a:pt x="4" y="35"/>
                        <a:pt x="6" y="15"/>
                        <a:pt x="12" y="6"/>
                      </a:cubicBezTo>
                      <a:cubicBezTo>
                        <a:pt x="3" y="0"/>
                        <a:pt x="4" y="4"/>
                        <a:pt x="0" y="12"/>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64" name="Freeform 218"/>
                <p:cNvSpPr>
                  <a:spLocks/>
                </p:cNvSpPr>
                <p:nvPr/>
              </p:nvSpPr>
              <p:spPr bwMode="auto">
                <a:xfrm>
                  <a:off x="3868007" y="2243053"/>
                  <a:ext cx="13584" cy="22914"/>
                </a:xfrm>
                <a:custGeom>
                  <a:avLst/>
                  <a:gdLst>
                    <a:gd name="T0" fmla="*/ 6 w 16"/>
                    <a:gd name="T1" fmla="*/ 7 h 25"/>
                    <a:gd name="T2" fmla="*/ 10 w 16"/>
                    <a:gd name="T3" fmla="*/ 25 h 25"/>
                    <a:gd name="T4" fmla="*/ 12 w 16"/>
                    <a:gd name="T5" fmla="*/ 11 h 25"/>
                    <a:gd name="T6" fmla="*/ 6 w 16"/>
                    <a:gd name="T7" fmla="*/ 7 h 25"/>
                  </a:gdLst>
                  <a:ahLst/>
                  <a:cxnLst>
                    <a:cxn ang="0">
                      <a:pos x="T0" y="T1"/>
                    </a:cxn>
                    <a:cxn ang="0">
                      <a:pos x="T2" y="T3"/>
                    </a:cxn>
                    <a:cxn ang="0">
                      <a:pos x="T4" y="T5"/>
                    </a:cxn>
                    <a:cxn ang="0">
                      <a:pos x="T6" y="T7"/>
                    </a:cxn>
                  </a:cxnLst>
                  <a:rect l="0" t="0" r="r" b="b"/>
                  <a:pathLst>
                    <a:path w="16" h="25">
                      <a:moveTo>
                        <a:pt x="6" y="7"/>
                      </a:moveTo>
                      <a:cubicBezTo>
                        <a:pt x="0" y="16"/>
                        <a:pt x="2" y="19"/>
                        <a:pt x="10" y="25"/>
                      </a:cubicBezTo>
                      <a:cubicBezTo>
                        <a:pt x="14" y="19"/>
                        <a:pt x="16" y="19"/>
                        <a:pt x="12" y="11"/>
                      </a:cubicBezTo>
                      <a:cubicBezTo>
                        <a:pt x="6" y="0"/>
                        <a:pt x="6" y="3"/>
                        <a:pt x="6" y="7"/>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sp>
            <p:nvSpPr>
              <p:cNvPr id="1370" name="Freeform 223"/>
              <p:cNvSpPr>
                <a:spLocks/>
              </p:cNvSpPr>
              <p:nvPr/>
            </p:nvSpPr>
            <p:spPr bwMode="auto">
              <a:xfrm>
                <a:off x="6440327" y="4019646"/>
                <a:ext cx="39136" cy="31759"/>
              </a:xfrm>
              <a:custGeom>
                <a:avLst/>
                <a:gdLst>
                  <a:gd name="T0" fmla="*/ 6 w 24"/>
                  <a:gd name="T1" fmla="*/ 0 h 18"/>
                  <a:gd name="T2" fmla="*/ 10 w 24"/>
                  <a:gd name="T3" fmla="*/ 18 h 18"/>
                  <a:gd name="T4" fmla="*/ 6 w 24"/>
                  <a:gd name="T5" fmla="*/ 0 h 18"/>
                </a:gdLst>
                <a:ahLst/>
                <a:cxnLst>
                  <a:cxn ang="0">
                    <a:pos x="T0" y="T1"/>
                  </a:cxn>
                  <a:cxn ang="0">
                    <a:pos x="T2" y="T3"/>
                  </a:cxn>
                  <a:cxn ang="0">
                    <a:pos x="T4" y="T5"/>
                  </a:cxn>
                </a:cxnLst>
                <a:rect l="0" t="0" r="r" b="b"/>
                <a:pathLst>
                  <a:path w="24" h="18">
                    <a:moveTo>
                      <a:pt x="6" y="0"/>
                    </a:moveTo>
                    <a:cubicBezTo>
                      <a:pt x="0" y="9"/>
                      <a:pt x="2" y="12"/>
                      <a:pt x="10" y="18"/>
                    </a:cubicBezTo>
                    <a:cubicBezTo>
                      <a:pt x="24" y="13"/>
                      <a:pt x="19" y="0"/>
                      <a:pt x="6"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71" name="Freeform 230"/>
              <p:cNvSpPr>
                <a:spLocks/>
              </p:cNvSpPr>
              <p:nvPr/>
            </p:nvSpPr>
            <p:spPr bwMode="auto">
              <a:xfrm>
                <a:off x="6641275" y="3070765"/>
                <a:ext cx="57189" cy="61759"/>
              </a:xfrm>
              <a:custGeom>
                <a:avLst/>
                <a:gdLst>
                  <a:gd name="T0" fmla="*/ 17 w 35"/>
                  <a:gd name="T1" fmla="*/ 16 h 35"/>
                  <a:gd name="T2" fmla="*/ 20 w 35"/>
                  <a:gd name="T3" fmla="*/ 31 h 35"/>
                  <a:gd name="T4" fmla="*/ 26 w 35"/>
                  <a:gd name="T5" fmla="*/ 22 h 35"/>
                  <a:gd name="T6" fmla="*/ 35 w 35"/>
                  <a:gd name="T7" fmla="*/ 16 h 35"/>
                  <a:gd name="T8" fmla="*/ 17 w 35"/>
                  <a:gd name="T9" fmla="*/ 16 h 35"/>
                </a:gdLst>
                <a:ahLst/>
                <a:cxnLst>
                  <a:cxn ang="0">
                    <a:pos x="T0" y="T1"/>
                  </a:cxn>
                  <a:cxn ang="0">
                    <a:pos x="T2" y="T3"/>
                  </a:cxn>
                  <a:cxn ang="0">
                    <a:pos x="T4" y="T5"/>
                  </a:cxn>
                  <a:cxn ang="0">
                    <a:pos x="T6" y="T7"/>
                  </a:cxn>
                  <a:cxn ang="0">
                    <a:pos x="T8" y="T9"/>
                  </a:cxn>
                </a:cxnLst>
                <a:rect l="0" t="0" r="r" b="b"/>
                <a:pathLst>
                  <a:path w="35" h="35">
                    <a:moveTo>
                      <a:pt x="17" y="16"/>
                    </a:moveTo>
                    <a:cubicBezTo>
                      <a:pt x="17" y="16"/>
                      <a:pt x="0" y="35"/>
                      <a:pt x="20" y="31"/>
                    </a:cubicBezTo>
                    <a:cubicBezTo>
                      <a:pt x="24" y="30"/>
                      <a:pt x="23" y="25"/>
                      <a:pt x="26" y="22"/>
                    </a:cubicBezTo>
                    <a:cubicBezTo>
                      <a:pt x="29" y="19"/>
                      <a:pt x="32" y="18"/>
                      <a:pt x="35" y="16"/>
                    </a:cubicBezTo>
                    <a:cubicBezTo>
                      <a:pt x="30" y="0"/>
                      <a:pt x="24" y="1"/>
                      <a:pt x="17" y="16"/>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72" name="Freeform 238"/>
              <p:cNvSpPr>
                <a:spLocks/>
              </p:cNvSpPr>
              <p:nvPr/>
            </p:nvSpPr>
            <p:spPr bwMode="auto">
              <a:xfrm>
                <a:off x="6368402" y="3434266"/>
                <a:ext cx="32679" cy="22939"/>
              </a:xfrm>
              <a:custGeom>
                <a:avLst/>
                <a:gdLst>
                  <a:gd name="T0" fmla="*/ 14 w 20"/>
                  <a:gd name="T1" fmla="*/ 1 h 13"/>
                  <a:gd name="T2" fmla="*/ 12 w 20"/>
                  <a:gd name="T3" fmla="*/ 13 h 13"/>
                  <a:gd name="T4" fmla="*/ 14 w 20"/>
                  <a:gd name="T5" fmla="*/ 1 h 13"/>
                </a:gdLst>
                <a:ahLst/>
                <a:cxnLst>
                  <a:cxn ang="0">
                    <a:pos x="T0" y="T1"/>
                  </a:cxn>
                  <a:cxn ang="0">
                    <a:pos x="T2" y="T3"/>
                  </a:cxn>
                  <a:cxn ang="0">
                    <a:pos x="T4" y="T5"/>
                  </a:cxn>
                </a:cxnLst>
                <a:rect l="0" t="0" r="r" b="b"/>
                <a:pathLst>
                  <a:path w="20" h="13">
                    <a:moveTo>
                      <a:pt x="14" y="1"/>
                    </a:moveTo>
                    <a:cubicBezTo>
                      <a:pt x="2" y="3"/>
                      <a:pt x="0" y="9"/>
                      <a:pt x="12" y="13"/>
                    </a:cubicBezTo>
                    <a:cubicBezTo>
                      <a:pt x="16" y="0"/>
                      <a:pt x="20" y="1"/>
                      <a:pt x="14" y="1"/>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73" name="Freeform 239"/>
              <p:cNvSpPr>
                <a:spLocks/>
              </p:cNvSpPr>
              <p:nvPr/>
            </p:nvSpPr>
            <p:spPr bwMode="auto">
              <a:xfrm>
                <a:off x="6597159" y="3113115"/>
                <a:ext cx="45751" cy="40585"/>
              </a:xfrm>
              <a:custGeom>
                <a:avLst/>
                <a:gdLst>
                  <a:gd name="T0" fmla="*/ 0 w 28"/>
                  <a:gd name="T1" fmla="*/ 17 h 23"/>
                  <a:gd name="T2" fmla="*/ 20 w 28"/>
                  <a:gd name="T3" fmla="*/ 13 h 23"/>
                  <a:gd name="T4" fmla="*/ 6 w 28"/>
                  <a:gd name="T5" fmla="*/ 5 h 23"/>
                  <a:gd name="T6" fmla="*/ 0 w 28"/>
                  <a:gd name="T7" fmla="*/ 17 h 23"/>
                </a:gdLst>
                <a:ahLst/>
                <a:cxnLst>
                  <a:cxn ang="0">
                    <a:pos x="T0" y="T1"/>
                  </a:cxn>
                  <a:cxn ang="0">
                    <a:pos x="T2" y="T3"/>
                  </a:cxn>
                  <a:cxn ang="0">
                    <a:pos x="T4" y="T5"/>
                  </a:cxn>
                  <a:cxn ang="0">
                    <a:pos x="T6" y="T7"/>
                  </a:cxn>
                </a:cxnLst>
                <a:rect l="0" t="0" r="r" b="b"/>
                <a:pathLst>
                  <a:path w="28" h="23">
                    <a:moveTo>
                      <a:pt x="0" y="17"/>
                    </a:moveTo>
                    <a:cubicBezTo>
                      <a:pt x="9" y="23"/>
                      <a:pt x="12" y="18"/>
                      <a:pt x="20" y="13"/>
                    </a:cubicBezTo>
                    <a:cubicBezTo>
                      <a:pt x="28" y="0"/>
                      <a:pt x="15" y="3"/>
                      <a:pt x="6" y="5"/>
                    </a:cubicBezTo>
                    <a:cubicBezTo>
                      <a:pt x="1" y="13"/>
                      <a:pt x="3" y="9"/>
                      <a:pt x="0" y="17"/>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74" name="Freeform 240"/>
              <p:cNvSpPr>
                <a:spLocks/>
              </p:cNvSpPr>
              <p:nvPr/>
            </p:nvSpPr>
            <p:spPr bwMode="auto">
              <a:xfrm>
                <a:off x="6549774" y="3125467"/>
                <a:ext cx="34313" cy="47645"/>
              </a:xfrm>
              <a:custGeom>
                <a:avLst/>
                <a:gdLst>
                  <a:gd name="T0" fmla="*/ 13 w 21"/>
                  <a:gd name="T1" fmla="*/ 8 h 27"/>
                  <a:gd name="T2" fmla="*/ 17 w 21"/>
                  <a:gd name="T3" fmla="*/ 18 h 27"/>
                  <a:gd name="T4" fmla="*/ 13 w 21"/>
                  <a:gd name="T5" fmla="*/ 8 h 27"/>
                </a:gdLst>
                <a:ahLst/>
                <a:cxnLst>
                  <a:cxn ang="0">
                    <a:pos x="T0" y="T1"/>
                  </a:cxn>
                  <a:cxn ang="0">
                    <a:pos x="T2" y="T3"/>
                  </a:cxn>
                  <a:cxn ang="0">
                    <a:pos x="T4" y="T5"/>
                  </a:cxn>
                </a:cxnLst>
                <a:rect l="0" t="0" r="r" b="b"/>
                <a:pathLst>
                  <a:path w="21" h="27">
                    <a:moveTo>
                      <a:pt x="13" y="8"/>
                    </a:moveTo>
                    <a:cubicBezTo>
                      <a:pt x="4" y="14"/>
                      <a:pt x="0" y="27"/>
                      <a:pt x="17" y="18"/>
                    </a:cubicBezTo>
                    <a:cubicBezTo>
                      <a:pt x="21" y="12"/>
                      <a:pt x="21" y="0"/>
                      <a:pt x="13" y="8"/>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75" name="Freeform 241"/>
              <p:cNvSpPr>
                <a:spLocks/>
              </p:cNvSpPr>
              <p:nvPr/>
            </p:nvSpPr>
            <p:spPr bwMode="auto">
              <a:xfrm>
                <a:off x="6618400" y="3069000"/>
                <a:ext cx="32679" cy="42350"/>
              </a:xfrm>
              <a:custGeom>
                <a:avLst/>
                <a:gdLst>
                  <a:gd name="T0" fmla="*/ 9 w 20"/>
                  <a:gd name="T1" fmla="*/ 0 h 24"/>
                  <a:gd name="T2" fmla="*/ 3 w 20"/>
                  <a:gd name="T3" fmla="*/ 24 h 24"/>
                  <a:gd name="T4" fmla="*/ 9 w 20"/>
                  <a:gd name="T5" fmla="*/ 0 h 24"/>
                </a:gdLst>
                <a:ahLst/>
                <a:cxnLst>
                  <a:cxn ang="0">
                    <a:pos x="T0" y="T1"/>
                  </a:cxn>
                  <a:cxn ang="0">
                    <a:pos x="T2" y="T3"/>
                  </a:cxn>
                  <a:cxn ang="0">
                    <a:pos x="T4" y="T5"/>
                  </a:cxn>
                </a:cxnLst>
                <a:rect l="0" t="0" r="r" b="b"/>
                <a:pathLst>
                  <a:path w="20" h="24">
                    <a:moveTo>
                      <a:pt x="9" y="0"/>
                    </a:moveTo>
                    <a:cubicBezTo>
                      <a:pt x="0" y="9"/>
                      <a:pt x="1" y="12"/>
                      <a:pt x="3" y="24"/>
                    </a:cubicBezTo>
                    <a:cubicBezTo>
                      <a:pt x="14" y="18"/>
                      <a:pt x="20" y="11"/>
                      <a:pt x="9"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76" name="Freeform 242"/>
              <p:cNvSpPr>
                <a:spLocks/>
              </p:cNvSpPr>
              <p:nvPr/>
            </p:nvSpPr>
            <p:spPr bwMode="auto">
              <a:xfrm>
                <a:off x="6700100" y="3030180"/>
                <a:ext cx="31045" cy="56465"/>
              </a:xfrm>
              <a:custGeom>
                <a:avLst/>
                <a:gdLst>
                  <a:gd name="T0" fmla="*/ 5 w 19"/>
                  <a:gd name="T1" fmla="*/ 8 h 32"/>
                  <a:gd name="T2" fmla="*/ 5 w 19"/>
                  <a:gd name="T3" fmla="*/ 30 h 32"/>
                  <a:gd name="T4" fmla="*/ 9 w 19"/>
                  <a:gd name="T5" fmla="*/ 22 h 32"/>
                  <a:gd name="T6" fmla="*/ 19 w 19"/>
                  <a:gd name="T7" fmla="*/ 8 h 32"/>
                  <a:gd name="T8" fmla="*/ 5 w 19"/>
                  <a:gd name="T9" fmla="*/ 8 h 32"/>
                </a:gdLst>
                <a:ahLst/>
                <a:cxnLst>
                  <a:cxn ang="0">
                    <a:pos x="T0" y="T1"/>
                  </a:cxn>
                  <a:cxn ang="0">
                    <a:pos x="T2" y="T3"/>
                  </a:cxn>
                  <a:cxn ang="0">
                    <a:pos x="T4" y="T5"/>
                  </a:cxn>
                  <a:cxn ang="0">
                    <a:pos x="T6" y="T7"/>
                  </a:cxn>
                  <a:cxn ang="0">
                    <a:pos x="T8" y="T9"/>
                  </a:cxn>
                </a:cxnLst>
                <a:rect l="0" t="0" r="r" b="b"/>
                <a:pathLst>
                  <a:path w="19" h="32">
                    <a:moveTo>
                      <a:pt x="5" y="8"/>
                    </a:moveTo>
                    <a:cubicBezTo>
                      <a:pt x="4" y="14"/>
                      <a:pt x="0" y="25"/>
                      <a:pt x="5" y="30"/>
                    </a:cubicBezTo>
                    <a:cubicBezTo>
                      <a:pt x="7" y="32"/>
                      <a:pt x="7" y="25"/>
                      <a:pt x="9" y="22"/>
                    </a:cubicBezTo>
                    <a:cubicBezTo>
                      <a:pt x="12" y="17"/>
                      <a:pt x="16" y="13"/>
                      <a:pt x="19" y="8"/>
                    </a:cubicBezTo>
                    <a:cubicBezTo>
                      <a:pt x="9" y="0"/>
                      <a:pt x="13" y="0"/>
                      <a:pt x="5" y="8"/>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nvGrpSpPr>
              <p:cNvPr id="1377" name="Gruppieren 280"/>
              <p:cNvGrpSpPr/>
              <p:nvPr/>
            </p:nvGrpSpPr>
            <p:grpSpPr>
              <a:xfrm>
                <a:off x="6232784" y="2883722"/>
                <a:ext cx="1037573" cy="956395"/>
                <a:chOff x="4150331" y="1684324"/>
                <a:chExt cx="539120" cy="496940"/>
              </a:xfrm>
              <a:grpFill/>
            </p:grpSpPr>
            <p:sp>
              <p:nvSpPr>
                <p:cNvPr id="1451" name="Freeform 229"/>
                <p:cNvSpPr>
                  <a:spLocks/>
                </p:cNvSpPr>
                <p:nvPr/>
              </p:nvSpPr>
              <p:spPr bwMode="auto">
                <a:xfrm>
                  <a:off x="4150331" y="1684324"/>
                  <a:ext cx="539120" cy="496940"/>
                </a:xfrm>
                <a:custGeom>
                  <a:avLst/>
                  <a:gdLst>
                    <a:gd name="T0" fmla="*/ 144 w 635"/>
                    <a:gd name="T1" fmla="*/ 509 h 542"/>
                    <a:gd name="T2" fmla="*/ 129 w 635"/>
                    <a:gd name="T3" fmla="*/ 509 h 542"/>
                    <a:gd name="T4" fmla="*/ 18 w 635"/>
                    <a:gd name="T5" fmla="*/ 521 h 542"/>
                    <a:gd name="T6" fmla="*/ 45 w 635"/>
                    <a:gd name="T7" fmla="*/ 458 h 542"/>
                    <a:gd name="T8" fmla="*/ 15 w 635"/>
                    <a:gd name="T9" fmla="*/ 422 h 542"/>
                    <a:gd name="T10" fmla="*/ 18 w 635"/>
                    <a:gd name="T11" fmla="*/ 404 h 542"/>
                    <a:gd name="T12" fmla="*/ 48 w 635"/>
                    <a:gd name="T13" fmla="*/ 353 h 542"/>
                    <a:gd name="T14" fmla="*/ 66 w 635"/>
                    <a:gd name="T15" fmla="*/ 338 h 542"/>
                    <a:gd name="T16" fmla="*/ 147 w 635"/>
                    <a:gd name="T17" fmla="*/ 335 h 542"/>
                    <a:gd name="T18" fmla="*/ 123 w 635"/>
                    <a:gd name="T19" fmla="*/ 317 h 542"/>
                    <a:gd name="T20" fmla="*/ 165 w 635"/>
                    <a:gd name="T21" fmla="*/ 260 h 542"/>
                    <a:gd name="T22" fmla="*/ 192 w 635"/>
                    <a:gd name="T23" fmla="*/ 233 h 542"/>
                    <a:gd name="T24" fmla="*/ 210 w 635"/>
                    <a:gd name="T25" fmla="*/ 200 h 542"/>
                    <a:gd name="T26" fmla="*/ 246 w 635"/>
                    <a:gd name="T27" fmla="*/ 173 h 542"/>
                    <a:gd name="T28" fmla="*/ 324 w 635"/>
                    <a:gd name="T29" fmla="*/ 107 h 542"/>
                    <a:gd name="T30" fmla="*/ 420 w 635"/>
                    <a:gd name="T31" fmla="*/ 71 h 542"/>
                    <a:gd name="T32" fmla="*/ 405 w 635"/>
                    <a:gd name="T33" fmla="*/ 50 h 542"/>
                    <a:gd name="T34" fmla="*/ 450 w 635"/>
                    <a:gd name="T35" fmla="*/ 38 h 542"/>
                    <a:gd name="T36" fmla="*/ 471 w 635"/>
                    <a:gd name="T37" fmla="*/ 47 h 542"/>
                    <a:gd name="T38" fmla="*/ 516 w 635"/>
                    <a:gd name="T39" fmla="*/ 29 h 542"/>
                    <a:gd name="T40" fmla="*/ 552 w 635"/>
                    <a:gd name="T41" fmla="*/ 38 h 542"/>
                    <a:gd name="T42" fmla="*/ 606 w 635"/>
                    <a:gd name="T43" fmla="*/ 41 h 542"/>
                    <a:gd name="T44" fmla="*/ 609 w 635"/>
                    <a:gd name="T45" fmla="*/ 74 h 542"/>
                    <a:gd name="T46" fmla="*/ 516 w 635"/>
                    <a:gd name="T47" fmla="*/ 89 h 542"/>
                    <a:gd name="T48" fmla="*/ 474 w 635"/>
                    <a:gd name="T49" fmla="*/ 137 h 542"/>
                    <a:gd name="T50" fmla="*/ 453 w 635"/>
                    <a:gd name="T51" fmla="*/ 140 h 542"/>
                    <a:gd name="T52" fmla="*/ 369 w 635"/>
                    <a:gd name="T53" fmla="*/ 143 h 542"/>
                    <a:gd name="T54" fmla="*/ 324 w 635"/>
                    <a:gd name="T55" fmla="*/ 155 h 542"/>
                    <a:gd name="T56" fmla="*/ 255 w 635"/>
                    <a:gd name="T57" fmla="*/ 233 h 542"/>
                    <a:gd name="T58" fmla="*/ 219 w 635"/>
                    <a:gd name="T59" fmla="*/ 350 h 542"/>
                    <a:gd name="T60" fmla="*/ 189 w 635"/>
                    <a:gd name="T61" fmla="*/ 404 h 542"/>
                    <a:gd name="T62" fmla="*/ 165 w 635"/>
                    <a:gd name="T63" fmla="*/ 533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5" h="542">
                      <a:moveTo>
                        <a:pt x="165" y="533"/>
                      </a:moveTo>
                      <a:cubicBezTo>
                        <a:pt x="144" y="519"/>
                        <a:pt x="149" y="528"/>
                        <a:pt x="144" y="509"/>
                      </a:cubicBezTo>
                      <a:cubicBezTo>
                        <a:pt x="143" y="499"/>
                        <a:pt x="145" y="488"/>
                        <a:pt x="141" y="479"/>
                      </a:cubicBezTo>
                      <a:cubicBezTo>
                        <a:pt x="134" y="462"/>
                        <a:pt x="136" y="502"/>
                        <a:pt x="129" y="509"/>
                      </a:cubicBezTo>
                      <a:cubicBezTo>
                        <a:pt x="114" y="524"/>
                        <a:pt x="86" y="538"/>
                        <a:pt x="66" y="542"/>
                      </a:cubicBezTo>
                      <a:cubicBezTo>
                        <a:pt x="28" y="537"/>
                        <a:pt x="47" y="531"/>
                        <a:pt x="18" y="521"/>
                      </a:cubicBezTo>
                      <a:cubicBezTo>
                        <a:pt x="13" y="506"/>
                        <a:pt x="19" y="500"/>
                        <a:pt x="9" y="485"/>
                      </a:cubicBezTo>
                      <a:cubicBezTo>
                        <a:pt x="14" y="461"/>
                        <a:pt x="24" y="465"/>
                        <a:pt x="45" y="458"/>
                      </a:cubicBezTo>
                      <a:cubicBezTo>
                        <a:pt x="40" y="443"/>
                        <a:pt x="31" y="446"/>
                        <a:pt x="15" y="443"/>
                      </a:cubicBezTo>
                      <a:cubicBezTo>
                        <a:pt x="8" y="432"/>
                        <a:pt x="0" y="427"/>
                        <a:pt x="15" y="422"/>
                      </a:cubicBezTo>
                      <a:cubicBezTo>
                        <a:pt x="29" y="427"/>
                        <a:pt x="36" y="428"/>
                        <a:pt x="51" y="425"/>
                      </a:cubicBezTo>
                      <a:cubicBezTo>
                        <a:pt x="59" y="402"/>
                        <a:pt x="38" y="406"/>
                        <a:pt x="18" y="404"/>
                      </a:cubicBezTo>
                      <a:cubicBezTo>
                        <a:pt x="22" y="379"/>
                        <a:pt x="21" y="379"/>
                        <a:pt x="45" y="374"/>
                      </a:cubicBezTo>
                      <a:cubicBezTo>
                        <a:pt x="46" y="367"/>
                        <a:pt x="44" y="359"/>
                        <a:pt x="48" y="353"/>
                      </a:cubicBezTo>
                      <a:cubicBezTo>
                        <a:pt x="50" y="350"/>
                        <a:pt x="54" y="357"/>
                        <a:pt x="57" y="356"/>
                      </a:cubicBezTo>
                      <a:cubicBezTo>
                        <a:pt x="66" y="352"/>
                        <a:pt x="61" y="343"/>
                        <a:pt x="66" y="338"/>
                      </a:cubicBezTo>
                      <a:cubicBezTo>
                        <a:pt x="74" y="330"/>
                        <a:pt x="88" y="333"/>
                        <a:pt x="99" y="332"/>
                      </a:cubicBezTo>
                      <a:cubicBezTo>
                        <a:pt x="127" y="341"/>
                        <a:pt x="111" y="339"/>
                        <a:pt x="147" y="335"/>
                      </a:cubicBezTo>
                      <a:cubicBezTo>
                        <a:pt x="163" y="325"/>
                        <a:pt x="172" y="318"/>
                        <a:pt x="153" y="305"/>
                      </a:cubicBezTo>
                      <a:cubicBezTo>
                        <a:pt x="142" y="308"/>
                        <a:pt x="134" y="313"/>
                        <a:pt x="123" y="317"/>
                      </a:cubicBezTo>
                      <a:cubicBezTo>
                        <a:pt x="117" y="295"/>
                        <a:pt x="128" y="292"/>
                        <a:pt x="147" y="287"/>
                      </a:cubicBezTo>
                      <a:cubicBezTo>
                        <a:pt x="160" y="267"/>
                        <a:pt x="131" y="271"/>
                        <a:pt x="165" y="260"/>
                      </a:cubicBezTo>
                      <a:cubicBezTo>
                        <a:pt x="169" y="261"/>
                        <a:pt x="173" y="263"/>
                        <a:pt x="177" y="263"/>
                      </a:cubicBezTo>
                      <a:cubicBezTo>
                        <a:pt x="196" y="263"/>
                        <a:pt x="183" y="242"/>
                        <a:pt x="192" y="233"/>
                      </a:cubicBezTo>
                      <a:cubicBezTo>
                        <a:pt x="196" y="229"/>
                        <a:pt x="204" y="231"/>
                        <a:pt x="210" y="230"/>
                      </a:cubicBezTo>
                      <a:cubicBezTo>
                        <a:pt x="222" y="218"/>
                        <a:pt x="219" y="214"/>
                        <a:pt x="210" y="200"/>
                      </a:cubicBezTo>
                      <a:cubicBezTo>
                        <a:pt x="216" y="196"/>
                        <a:pt x="223" y="195"/>
                        <a:pt x="228" y="191"/>
                      </a:cubicBezTo>
                      <a:cubicBezTo>
                        <a:pt x="235" y="186"/>
                        <a:pt x="246" y="173"/>
                        <a:pt x="246" y="173"/>
                      </a:cubicBezTo>
                      <a:cubicBezTo>
                        <a:pt x="257" y="141"/>
                        <a:pt x="265" y="157"/>
                        <a:pt x="291" y="140"/>
                      </a:cubicBezTo>
                      <a:cubicBezTo>
                        <a:pt x="295" y="119"/>
                        <a:pt x="303" y="114"/>
                        <a:pt x="324" y="107"/>
                      </a:cubicBezTo>
                      <a:cubicBezTo>
                        <a:pt x="343" y="88"/>
                        <a:pt x="321" y="77"/>
                        <a:pt x="351" y="83"/>
                      </a:cubicBezTo>
                      <a:cubicBezTo>
                        <a:pt x="375" y="80"/>
                        <a:pt x="396" y="74"/>
                        <a:pt x="420" y="71"/>
                      </a:cubicBezTo>
                      <a:cubicBezTo>
                        <a:pt x="413" y="61"/>
                        <a:pt x="408" y="57"/>
                        <a:pt x="396" y="53"/>
                      </a:cubicBezTo>
                      <a:cubicBezTo>
                        <a:pt x="399" y="52"/>
                        <a:pt x="402" y="49"/>
                        <a:pt x="405" y="50"/>
                      </a:cubicBezTo>
                      <a:cubicBezTo>
                        <a:pt x="412" y="52"/>
                        <a:pt x="423" y="62"/>
                        <a:pt x="423" y="62"/>
                      </a:cubicBezTo>
                      <a:cubicBezTo>
                        <a:pt x="457" y="51"/>
                        <a:pt x="435" y="53"/>
                        <a:pt x="450" y="38"/>
                      </a:cubicBezTo>
                      <a:cubicBezTo>
                        <a:pt x="455" y="33"/>
                        <a:pt x="468" y="26"/>
                        <a:pt x="468" y="26"/>
                      </a:cubicBezTo>
                      <a:cubicBezTo>
                        <a:pt x="469" y="33"/>
                        <a:pt x="468" y="41"/>
                        <a:pt x="471" y="47"/>
                      </a:cubicBezTo>
                      <a:cubicBezTo>
                        <a:pt x="479" y="63"/>
                        <a:pt x="493" y="25"/>
                        <a:pt x="495" y="20"/>
                      </a:cubicBezTo>
                      <a:cubicBezTo>
                        <a:pt x="509" y="25"/>
                        <a:pt x="501" y="34"/>
                        <a:pt x="516" y="29"/>
                      </a:cubicBezTo>
                      <a:cubicBezTo>
                        <a:pt x="519" y="1"/>
                        <a:pt x="517" y="0"/>
                        <a:pt x="543" y="5"/>
                      </a:cubicBezTo>
                      <a:cubicBezTo>
                        <a:pt x="538" y="19"/>
                        <a:pt x="536" y="33"/>
                        <a:pt x="552" y="38"/>
                      </a:cubicBezTo>
                      <a:cubicBezTo>
                        <a:pt x="576" y="20"/>
                        <a:pt x="567" y="19"/>
                        <a:pt x="603" y="23"/>
                      </a:cubicBezTo>
                      <a:cubicBezTo>
                        <a:pt x="633" y="46"/>
                        <a:pt x="635" y="51"/>
                        <a:pt x="606" y="41"/>
                      </a:cubicBezTo>
                      <a:cubicBezTo>
                        <a:pt x="586" y="43"/>
                        <a:pt x="565" y="44"/>
                        <a:pt x="546" y="50"/>
                      </a:cubicBezTo>
                      <a:cubicBezTo>
                        <a:pt x="540" y="67"/>
                        <a:pt x="594" y="69"/>
                        <a:pt x="609" y="74"/>
                      </a:cubicBezTo>
                      <a:cubicBezTo>
                        <a:pt x="614" y="88"/>
                        <a:pt x="571" y="123"/>
                        <a:pt x="555" y="128"/>
                      </a:cubicBezTo>
                      <a:cubicBezTo>
                        <a:pt x="539" y="104"/>
                        <a:pt x="543" y="96"/>
                        <a:pt x="516" y="89"/>
                      </a:cubicBezTo>
                      <a:cubicBezTo>
                        <a:pt x="510" y="90"/>
                        <a:pt x="503" y="89"/>
                        <a:pt x="498" y="92"/>
                      </a:cubicBezTo>
                      <a:cubicBezTo>
                        <a:pt x="486" y="99"/>
                        <a:pt x="499" y="129"/>
                        <a:pt x="474" y="137"/>
                      </a:cubicBezTo>
                      <a:cubicBezTo>
                        <a:pt x="473" y="140"/>
                        <a:pt x="474" y="146"/>
                        <a:pt x="471" y="146"/>
                      </a:cubicBezTo>
                      <a:cubicBezTo>
                        <a:pt x="465" y="147"/>
                        <a:pt x="453" y="140"/>
                        <a:pt x="453" y="140"/>
                      </a:cubicBezTo>
                      <a:cubicBezTo>
                        <a:pt x="433" y="180"/>
                        <a:pt x="432" y="119"/>
                        <a:pt x="414" y="107"/>
                      </a:cubicBezTo>
                      <a:cubicBezTo>
                        <a:pt x="406" y="131"/>
                        <a:pt x="388" y="130"/>
                        <a:pt x="369" y="143"/>
                      </a:cubicBezTo>
                      <a:cubicBezTo>
                        <a:pt x="366" y="152"/>
                        <a:pt x="348" y="164"/>
                        <a:pt x="348" y="164"/>
                      </a:cubicBezTo>
                      <a:cubicBezTo>
                        <a:pt x="341" y="184"/>
                        <a:pt x="334" y="161"/>
                        <a:pt x="324" y="155"/>
                      </a:cubicBezTo>
                      <a:cubicBezTo>
                        <a:pt x="311" y="194"/>
                        <a:pt x="322" y="187"/>
                        <a:pt x="273" y="191"/>
                      </a:cubicBezTo>
                      <a:cubicBezTo>
                        <a:pt x="270" y="211"/>
                        <a:pt x="269" y="219"/>
                        <a:pt x="255" y="233"/>
                      </a:cubicBezTo>
                      <a:cubicBezTo>
                        <a:pt x="251" y="245"/>
                        <a:pt x="245" y="250"/>
                        <a:pt x="234" y="257"/>
                      </a:cubicBezTo>
                      <a:cubicBezTo>
                        <a:pt x="215" y="285"/>
                        <a:pt x="238" y="322"/>
                        <a:pt x="219" y="350"/>
                      </a:cubicBezTo>
                      <a:cubicBezTo>
                        <a:pt x="208" y="343"/>
                        <a:pt x="204" y="340"/>
                        <a:pt x="192" y="344"/>
                      </a:cubicBezTo>
                      <a:cubicBezTo>
                        <a:pt x="174" y="371"/>
                        <a:pt x="181" y="374"/>
                        <a:pt x="189" y="404"/>
                      </a:cubicBezTo>
                      <a:cubicBezTo>
                        <a:pt x="191" y="441"/>
                        <a:pt x="192" y="471"/>
                        <a:pt x="183" y="506"/>
                      </a:cubicBezTo>
                      <a:cubicBezTo>
                        <a:pt x="181" y="516"/>
                        <a:pt x="165" y="527"/>
                        <a:pt x="165" y="533"/>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52" name="Freeform 243"/>
                <p:cNvSpPr>
                  <a:spLocks/>
                </p:cNvSpPr>
                <p:nvPr/>
              </p:nvSpPr>
              <p:spPr bwMode="auto">
                <a:xfrm>
                  <a:off x="4487387" y="1700827"/>
                  <a:ext cx="35658" cy="25672"/>
                </a:xfrm>
                <a:custGeom>
                  <a:avLst/>
                  <a:gdLst>
                    <a:gd name="T0" fmla="*/ 38 w 42"/>
                    <a:gd name="T1" fmla="*/ 3 h 28"/>
                    <a:gd name="T2" fmla="*/ 0 w 42"/>
                    <a:gd name="T3" fmla="*/ 15 h 28"/>
                    <a:gd name="T4" fmla="*/ 38 w 42"/>
                    <a:gd name="T5" fmla="*/ 15 h 28"/>
                    <a:gd name="T6" fmla="*/ 42 w 42"/>
                    <a:gd name="T7" fmla="*/ 9 h 28"/>
                    <a:gd name="T8" fmla="*/ 38 w 42"/>
                    <a:gd name="T9" fmla="*/ 3 h 28"/>
                  </a:gdLst>
                  <a:ahLst/>
                  <a:cxnLst>
                    <a:cxn ang="0">
                      <a:pos x="T0" y="T1"/>
                    </a:cxn>
                    <a:cxn ang="0">
                      <a:pos x="T2" y="T3"/>
                    </a:cxn>
                    <a:cxn ang="0">
                      <a:pos x="T4" y="T5"/>
                    </a:cxn>
                    <a:cxn ang="0">
                      <a:pos x="T6" y="T7"/>
                    </a:cxn>
                    <a:cxn ang="0">
                      <a:pos x="T8" y="T9"/>
                    </a:cxn>
                  </a:cxnLst>
                  <a:rect l="0" t="0" r="r" b="b"/>
                  <a:pathLst>
                    <a:path w="42" h="28">
                      <a:moveTo>
                        <a:pt x="38" y="3"/>
                      </a:moveTo>
                      <a:cubicBezTo>
                        <a:pt x="25" y="4"/>
                        <a:pt x="8" y="3"/>
                        <a:pt x="0" y="15"/>
                      </a:cubicBezTo>
                      <a:cubicBezTo>
                        <a:pt x="9" y="28"/>
                        <a:pt x="25" y="18"/>
                        <a:pt x="38" y="15"/>
                      </a:cubicBezTo>
                      <a:cubicBezTo>
                        <a:pt x="39" y="13"/>
                        <a:pt x="42" y="11"/>
                        <a:pt x="42" y="9"/>
                      </a:cubicBezTo>
                      <a:cubicBezTo>
                        <a:pt x="40" y="0"/>
                        <a:pt x="32" y="9"/>
                        <a:pt x="38" y="3"/>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sp>
            <p:nvSpPr>
              <p:cNvPr id="1378" name="Freeform 244"/>
              <p:cNvSpPr>
                <a:spLocks/>
              </p:cNvSpPr>
              <p:nvPr/>
            </p:nvSpPr>
            <p:spPr bwMode="auto">
              <a:xfrm>
                <a:off x="6754021" y="3000181"/>
                <a:ext cx="47385" cy="37056"/>
              </a:xfrm>
              <a:custGeom>
                <a:avLst/>
                <a:gdLst>
                  <a:gd name="T0" fmla="*/ 0 w 29"/>
                  <a:gd name="T1" fmla="*/ 9 h 21"/>
                  <a:gd name="T2" fmla="*/ 4 w 29"/>
                  <a:gd name="T3" fmla="*/ 15 h 21"/>
                  <a:gd name="T4" fmla="*/ 8 w 29"/>
                  <a:gd name="T5" fmla="*/ 1 h 21"/>
                  <a:gd name="T6" fmla="*/ 0 w 29"/>
                  <a:gd name="T7" fmla="*/ 9 h 21"/>
                </a:gdLst>
                <a:ahLst/>
                <a:cxnLst>
                  <a:cxn ang="0">
                    <a:pos x="T0" y="T1"/>
                  </a:cxn>
                  <a:cxn ang="0">
                    <a:pos x="T2" y="T3"/>
                  </a:cxn>
                  <a:cxn ang="0">
                    <a:pos x="T4" y="T5"/>
                  </a:cxn>
                  <a:cxn ang="0">
                    <a:pos x="T6" y="T7"/>
                  </a:cxn>
                </a:cxnLst>
                <a:rect l="0" t="0" r="r" b="b"/>
                <a:pathLst>
                  <a:path w="29" h="21">
                    <a:moveTo>
                      <a:pt x="0" y="9"/>
                    </a:moveTo>
                    <a:cubicBezTo>
                      <a:pt x="1" y="11"/>
                      <a:pt x="2" y="14"/>
                      <a:pt x="4" y="15"/>
                    </a:cubicBezTo>
                    <a:cubicBezTo>
                      <a:pt x="29" y="21"/>
                      <a:pt x="12" y="0"/>
                      <a:pt x="8" y="1"/>
                    </a:cubicBezTo>
                    <a:cubicBezTo>
                      <a:pt x="4" y="2"/>
                      <a:pt x="3" y="6"/>
                      <a:pt x="0" y="9"/>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79" name="Freeform 245"/>
              <p:cNvSpPr>
                <a:spLocks/>
              </p:cNvSpPr>
              <p:nvPr/>
            </p:nvSpPr>
            <p:spPr bwMode="auto">
              <a:xfrm>
                <a:off x="6633500" y="4069098"/>
                <a:ext cx="472274" cy="450807"/>
              </a:xfrm>
              <a:custGeom>
                <a:avLst/>
                <a:gdLst>
                  <a:gd name="T0" fmla="*/ 276 w 290"/>
                  <a:gd name="T1" fmla="*/ 60 h 256"/>
                  <a:gd name="T2" fmla="*/ 265 w 290"/>
                  <a:gd name="T3" fmla="*/ 85 h 256"/>
                  <a:gd name="T4" fmla="*/ 270 w 290"/>
                  <a:gd name="T5" fmla="*/ 135 h 256"/>
                  <a:gd name="T6" fmla="*/ 285 w 290"/>
                  <a:gd name="T7" fmla="*/ 168 h 256"/>
                  <a:gd name="T8" fmla="*/ 277 w 290"/>
                  <a:gd name="T9" fmla="*/ 184 h 256"/>
                  <a:gd name="T10" fmla="*/ 258 w 290"/>
                  <a:gd name="T11" fmla="*/ 226 h 256"/>
                  <a:gd name="T12" fmla="*/ 247 w 290"/>
                  <a:gd name="T13" fmla="*/ 256 h 256"/>
                  <a:gd name="T14" fmla="*/ 217 w 290"/>
                  <a:gd name="T15" fmla="*/ 232 h 256"/>
                  <a:gd name="T16" fmla="*/ 189 w 290"/>
                  <a:gd name="T17" fmla="*/ 237 h 256"/>
                  <a:gd name="T18" fmla="*/ 141 w 290"/>
                  <a:gd name="T19" fmla="*/ 217 h 256"/>
                  <a:gd name="T20" fmla="*/ 124 w 290"/>
                  <a:gd name="T21" fmla="*/ 207 h 256"/>
                  <a:gd name="T22" fmla="*/ 109 w 290"/>
                  <a:gd name="T23" fmla="*/ 196 h 256"/>
                  <a:gd name="T24" fmla="*/ 90 w 290"/>
                  <a:gd name="T25" fmla="*/ 198 h 256"/>
                  <a:gd name="T26" fmla="*/ 66 w 290"/>
                  <a:gd name="T27" fmla="*/ 169 h 256"/>
                  <a:gd name="T28" fmla="*/ 24 w 290"/>
                  <a:gd name="T29" fmla="*/ 154 h 256"/>
                  <a:gd name="T30" fmla="*/ 15 w 290"/>
                  <a:gd name="T31" fmla="*/ 75 h 256"/>
                  <a:gd name="T32" fmla="*/ 4 w 290"/>
                  <a:gd name="T33" fmla="*/ 55 h 256"/>
                  <a:gd name="T34" fmla="*/ 39 w 290"/>
                  <a:gd name="T35" fmla="*/ 25 h 256"/>
                  <a:gd name="T36" fmla="*/ 66 w 290"/>
                  <a:gd name="T37" fmla="*/ 12 h 256"/>
                  <a:gd name="T38" fmla="*/ 88 w 290"/>
                  <a:gd name="T39" fmla="*/ 0 h 256"/>
                  <a:gd name="T40" fmla="*/ 112 w 290"/>
                  <a:gd name="T41" fmla="*/ 1 h 256"/>
                  <a:gd name="T42" fmla="*/ 126 w 290"/>
                  <a:gd name="T43" fmla="*/ 4 h 256"/>
                  <a:gd name="T44" fmla="*/ 142 w 290"/>
                  <a:gd name="T45" fmla="*/ 19 h 256"/>
                  <a:gd name="T46" fmla="*/ 172 w 290"/>
                  <a:gd name="T47" fmla="*/ 15 h 256"/>
                  <a:gd name="T48" fmla="*/ 207 w 290"/>
                  <a:gd name="T49" fmla="*/ 18 h 256"/>
                  <a:gd name="T50" fmla="*/ 249 w 290"/>
                  <a:gd name="T51" fmla="*/ 27 h 256"/>
                  <a:gd name="T52" fmla="*/ 271 w 290"/>
                  <a:gd name="T53" fmla="*/ 57 h 256"/>
                  <a:gd name="T54" fmla="*/ 276 w 290"/>
                  <a:gd name="T55" fmla="*/ 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0" h="256">
                    <a:moveTo>
                      <a:pt x="276" y="60"/>
                    </a:moveTo>
                    <a:cubicBezTo>
                      <a:pt x="271" y="68"/>
                      <a:pt x="268" y="76"/>
                      <a:pt x="265" y="85"/>
                    </a:cubicBezTo>
                    <a:cubicBezTo>
                      <a:pt x="263" y="102"/>
                      <a:pt x="261" y="120"/>
                      <a:pt x="270" y="135"/>
                    </a:cubicBezTo>
                    <a:cubicBezTo>
                      <a:pt x="271" y="150"/>
                      <a:pt x="272" y="160"/>
                      <a:pt x="285" y="168"/>
                    </a:cubicBezTo>
                    <a:cubicBezTo>
                      <a:pt x="290" y="175"/>
                      <a:pt x="285" y="182"/>
                      <a:pt x="277" y="184"/>
                    </a:cubicBezTo>
                    <a:cubicBezTo>
                      <a:pt x="269" y="196"/>
                      <a:pt x="269" y="218"/>
                      <a:pt x="258" y="226"/>
                    </a:cubicBezTo>
                    <a:cubicBezTo>
                      <a:pt x="252" y="238"/>
                      <a:pt x="263" y="253"/>
                      <a:pt x="247" y="256"/>
                    </a:cubicBezTo>
                    <a:cubicBezTo>
                      <a:pt x="236" y="249"/>
                      <a:pt x="230" y="236"/>
                      <a:pt x="217" y="232"/>
                    </a:cubicBezTo>
                    <a:cubicBezTo>
                      <a:pt x="207" y="233"/>
                      <a:pt x="198" y="233"/>
                      <a:pt x="189" y="237"/>
                    </a:cubicBezTo>
                    <a:cubicBezTo>
                      <a:pt x="169" y="234"/>
                      <a:pt x="160" y="222"/>
                      <a:pt x="141" y="217"/>
                    </a:cubicBezTo>
                    <a:cubicBezTo>
                      <a:pt x="135" y="214"/>
                      <a:pt x="130" y="211"/>
                      <a:pt x="124" y="207"/>
                    </a:cubicBezTo>
                    <a:cubicBezTo>
                      <a:pt x="119" y="200"/>
                      <a:pt x="117" y="199"/>
                      <a:pt x="109" y="196"/>
                    </a:cubicBezTo>
                    <a:cubicBezTo>
                      <a:pt x="103" y="197"/>
                      <a:pt x="96" y="198"/>
                      <a:pt x="90" y="198"/>
                    </a:cubicBezTo>
                    <a:cubicBezTo>
                      <a:pt x="78" y="198"/>
                      <a:pt x="74" y="176"/>
                      <a:pt x="66" y="169"/>
                    </a:cubicBezTo>
                    <a:cubicBezTo>
                      <a:pt x="57" y="161"/>
                      <a:pt x="35" y="156"/>
                      <a:pt x="24" y="154"/>
                    </a:cubicBezTo>
                    <a:cubicBezTo>
                      <a:pt x="20" y="128"/>
                      <a:pt x="18" y="101"/>
                      <a:pt x="15" y="75"/>
                    </a:cubicBezTo>
                    <a:cubicBezTo>
                      <a:pt x="14" y="68"/>
                      <a:pt x="7" y="61"/>
                      <a:pt x="4" y="55"/>
                    </a:cubicBezTo>
                    <a:cubicBezTo>
                      <a:pt x="0" y="30"/>
                      <a:pt x="20" y="29"/>
                      <a:pt x="39" y="25"/>
                    </a:cubicBezTo>
                    <a:cubicBezTo>
                      <a:pt x="47" y="21"/>
                      <a:pt x="57" y="14"/>
                      <a:pt x="66" y="12"/>
                    </a:cubicBezTo>
                    <a:cubicBezTo>
                      <a:pt x="73" y="7"/>
                      <a:pt x="79" y="1"/>
                      <a:pt x="88" y="0"/>
                    </a:cubicBezTo>
                    <a:cubicBezTo>
                      <a:pt x="96" y="0"/>
                      <a:pt x="104" y="0"/>
                      <a:pt x="112" y="1"/>
                    </a:cubicBezTo>
                    <a:cubicBezTo>
                      <a:pt x="117" y="1"/>
                      <a:pt x="126" y="4"/>
                      <a:pt x="126" y="4"/>
                    </a:cubicBezTo>
                    <a:cubicBezTo>
                      <a:pt x="133" y="16"/>
                      <a:pt x="120" y="17"/>
                      <a:pt x="142" y="19"/>
                    </a:cubicBezTo>
                    <a:cubicBezTo>
                      <a:pt x="160" y="28"/>
                      <a:pt x="156" y="18"/>
                      <a:pt x="172" y="15"/>
                    </a:cubicBezTo>
                    <a:cubicBezTo>
                      <a:pt x="183" y="15"/>
                      <a:pt x="194" y="16"/>
                      <a:pt x="207" y="18"/>
                    </a:cubicBezTo>
                    <a:cubicBezTo>
                      <a:pt x="220" y="20"/>
                      <a:pt x="238" y="21"/>
                      <a:pt x="249" y="27"/>
                    </a:cubicBezTo>
                    <a:cubicBezTo>
                      <a:pt x="256" y="36"/>
                      <a:pt x="262" y="50"/>
                      <a:pt x="271" y="57"/>
                    </a:cubicBezTo>
                    <a:cubicBezTo>
                      <a:pt x="273" y="61"/>
                      <a:pt x="274" y="60"/>
                      <a:pt x="276" y="6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80" name="Freeform 246"/>
              <p:cNvSpPr>
                <a:spLocks/>
              </p:cNvSpPr>
              <p:nvPr/>
            </p:nvSpPr>
            <p:spPr bwMode="auto">
              <a:xfrm>
                <a:off x="6045113" y="3959034"/>
                <a:ext cx="418609" cy="586766"/>
              </a:xfrm>
              <a:custGeom>
                <a:avLst/>
                <a:gdLst>
                  <a:gd name="T0" fmla="*/ 252 w 258"/>
                  <a:gd name="T1" fmla="*/ 171 h 331"/>
                  <a:gd name="T2" fmla="*/ 245 w 258"/>
                  <a:gd name="T3" fmla="*/ 104 h 331"/>
                  <a:gd name="T4" fmla="*/ 234 w 258"/>
                  <a:gd name="T5" fmla="*/ 69 h 331"/>
                  <a:gd name="T6" fmla="*/ 206 w 258"/>
                  <a:gd name="T7" fmla="*/ 45 h 331"/>
                  <a:gd name="T8" fmla="*/ 194 w 258"/>
                  <a:gd name="T9" fmla="*/ 32 h 331"/>
                  <a:gd name="T10" fmla="*/ 180 w 258"/>
                  <a:gd name="T11" fmla="*/ 41 h 331"/>
                  <a:gd name="T12" fmla="*/ 155 w 258"/>
                  <a:gd name="T13" fmla="*/ 44 h 331"/>
                  <a:gd name="T14" fmla="*/ 140 w 258"/>
                  <a:gd name="T15" fmla="*/ 63 h 331"/>
                  <a:gd name="T16" fmla="*/ 107 w 258"/>
                  <a:gd name="T17" fmla="*/ 47 h 331"/>
                  <a:gd name="T18" fmla="*/ 90 w 258"/>
                  <a:gd name="T19" fmla="*/ 21 h 331"/>
                  <a:gd name="T20" fmla="*/ 89 w 258"/>
                  <a:gd name="T21" fmla="*/ 6 h 331"/>
                  <a:gd name="T22" fmla="*/ 78 w 258"/>
                  <a:gd name="T23" fmla="*/ 0 h 331"/>
                  <a:gd name="T24" fmla="*/ 60 w 258"/>
                  <a:gd name="T25" fmla="*/ 27 h 331"/>
                  <a:gd name="T26" fmla="*/ 86 w 258"/>
                  <a:gd name="T27" fmla="*/ 48 h 331"/>
                  <a:gd name="T28" fmla="*/ 90 w 258"/>
                  <a:gd name="T29" fmla="*/ 59 h 331"/>
                  <a:gd name="T30" fmla="*/ 59 w 258"/>
                  <a:gd name="T31" fmla="*/ 65 h 331"/>
                  <a:gd name="T32" fmla="*/ 47 w 258"/>
                  <a:gd name="T33" fmla="*/ 80 h 331"/>
                  <a:gd name="T34" fmla="*/ 27 w 258"/>
                  <a:gd name="T35" fmla="*/ 120 h 331"/>
                  <a:gd name="T36" fmla="*/ 14 w 258"/>
                  <a:gd name="T37" fmla="*/ 156 h 331"/>
                  <a:gd name="T38" fmla="*/ 11 w 258"/>
                  <a:gd name="T39" fmla="*/ 161 h 331"/>
                  <a:gd name="T40" fmla="*/ 6 w 258"/>
                  <a:gd name="T41" fmla="*/ 164 h 331"/>
                  <a:gd name="T42" fmla="*/ 0 w 258"/>
                  <a:gd name="T43" fmla="*/ 186 h 331"/>
                  <a:gd name="T44" fmla="*/ 3 w 258"/>
                  <a:gd name="T45" fmla="*/ 224 h 331"/>
                  <a:gd name="T46" fmla="*/ 11 w 258"/>
                  <a:gd name="T47" fmla="*/ 243 h 331"/>
                  <a:gd name="T48" fmla="*/ 30 w 258"/>
                  <a:gd name="T49" fmla="*/ 258 h 331"/>
                  <a:gd name="T50" fmla="*/ 29 w 258"/>
                  <a:gd name="T51" fmla="*/ 297 h 331"/>
                  <a:gd name="T52" fmla="*/ 29 w 258"/>
                  <a:gd name="T53" fmla="*/ 320 h 331"/>
                  <a:gd name="T54" fmla="*/ 63 w 258"/>
                  <a:gd name="T55" fmla="*/ 323 h 331"/>
                  <a:gd name="T56" fmla="*/ 102 w 258"/>
                  <a:gd name="T57" fmla="*/ 330 h 331"/>
                  <a:gd name="T58" fmla="*/ 167 w 258"/>
                  <a:gd name="T59" fmla="*/ 318 h 331"/>
                  <a:gd name="T60" fmla="*/ 194 w 258"/>
                  <a:gd name="T61" fmla="*/ 324 h 331"/>
                  <a:gd name="T62" fmla="*/ 209 w 258"/>
                  <a:gd name="T63" fmla="*/ 321 h 331"/>
                  <a:gd name="T64" fmla="*/ 207 w 258"/>
                  <a:gd name="T65" fmla="*/ 297 h 331"/>
                  <a:gd name="T66" fmla="*/ 215 w 258"/>
                  <a:gd name="T67" fmla="*/ 276 h 331"/>
                  <a:gd name="T68" fmla="*/ 224 w 258"/>
                  <a:gd name="T69" fmla="*/ 261 h 331"/>
                  <a:gd name="T70" fmla="*/ 203 w 258"/>
                  <a:gd name="T71" fmla="*/ 240 h 331"/>
                  <a:gd name="T72" fmla="*/ 200 w 258"/>
                  <a:gd name="T73" fmla="*/ 221 h 331"/>
                  <a:gd name="T74" fmla="*/ 191 w 258"/>
                  <a:gd name="T75" fmla="*/ 210 h 331"/>
                  <a:gd name="T76" fmla="*/ 236 w 258"/>
                  <a:gd name="T77" fmla="*/ 195 h 331"/>
                  <a:gd name="T78" fmla="*/ 248 w 258"/>
                  <a:gd name="T79" fmla="*/ 182 h 331"/>
                  <a:gd name="T80" fmla="*/ 252 w 258"/>
                  <a:gd name="T81" fmla="*/ 17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8" h="331">
                    <a:moveTo>
                      <a:pt x="252" y="171"/>
                    </a:moveTo>
                    <a:cubicBezTo>
                      <a:pt x="248" y="149"/>
                      <a:pt x="258" y="122"/>
                      <a:pt x="245" y="104"/>
                    </a:cubicBezTo>
                    <a:cubicBezTo>
                      <a:pt x="242" y="90"/>
                      <a:pt x="239" y="82"/>
                      <a:pt x="234" y="69"/>
                    </a:cubicBezTo>
                    <a:cubicBezTo>
                      <a:pt x="230" y="44"/>
                      <a:pt x="237" y="49"/>
                      <a:pt x="206" y="45"/>
                    </a:cubicBezTo>
                    <a:cubicBezTo>
                      <a:pt x="202" y="40"/>
                      <a:pt x="194" y="32"/>
                      <a:pt x="194" y="32"/>
                    </a:cubicBezTo>
                    <a:cubicBezTo>
                      <a:pt x="185" y="33"/>
                      <a:pt x="188" y="39"/>
                      <a:pt x="180" y="41"/>
                    </a:cubicBezTo>
                    <a:cubicBezTo>
                      <a:pt x="172" y="43"/>
                      <a:pt x="163" y="43"/>
                      <a:pt x="155" y="44"/>
                    </a:cubicBezTo>
                    <a:cubicBezTo>
                      <a:pt x="150" y="55"/>
                      <a:pt x="154" y="61"/>
                      <a:pt x="140" y="63"/>
                    </a:cubicBezTo>
                    <a:cubicBezTo>
                      <a:pt x="122" y="49"/>
                      <a:pt x="141" y="49"/>
                      <a:pt x="107" y="47"/>
                    </a:cubicBezTo>
                    <a:cubicBezTo>
                      <a:pt x="103" y="37"/>
                      <a:pt x="100" y="26"/>
                      <a:pt x="90" y="21"/>
                    </a:cubicBezTo>
                    <a:cubicBezTo>
                      <a:pt x="84" y="14"/>
                      <a:pt x="94" y="14"/>
                      <a:pt x="89" y="6"/>
                    </a:cubicBezTo>
                    <a:cubicBezTo>
                      <a:pt x="88" y="5"/>
                      <a:pt x="79" y="0"/>
                      <a:pt x="78" y="0"/>
                    </a:cubicBezTo>
                    <a:cubicBezTo>
                      <a:pt x="52" y="5"/>
                      <a:pt x="78" y="16"/>
                      <a:pt x="60" y="27"/>
                    </a:cubicBezTo>
                    <a:cubicBezTo>
                      <a:pt x="55" y="51"/>
                      <a:pt x="69" y="47"/>
                      <a:pt x="86" y="48"/>
                    </a:cubicBezTo>
                    <a:cubicBezTo>
                      <a:pt x="78" y="57"/>
                      <a:pt x="97" y="58"/>
                      <a:pt x="90" y="59"/>
                    </a:cubicBezTo>
                    <a:cubicBezTo>
                      <a:pt x="81" y="66"/>
                      <a:pt x="69" y="60"/>
                      <a:pt x="59" y="65"/>
                    </a:cubicBezTo>
                    <a:cubicBezTo>
                      <a:pt x="55" y="73"/>
                      <a:pt x="56" y="76"/>
                      <a:pt x="47" y="80"/>
                    </a:cubicBezTo>
                    <a:cubicBezTo>
                      <a:pt x="40" y="93"/>
                      <a:pt x="36" y="108"/>
                      <a:pt x="27" y="120"/>
                    </a:cubicBezTo>
                    <a:cubicBezTo>
                      <a:pt x="29" y="136"/>
                      <a:pt x="34" y="154"/>
                      <a:pt x="14" y="156"/>
                    </a:cubicBezTo>
                    <a:cubicBezTo>
                      <a:pt x="13" y="158"/>
                      <a:pt x="12" y="160"/>
                      <a:pt x="11" y="161"/>
                    </a:cubicBezTo>
                    <a:cubicBezTo>
                      <a:pt x="10" y="162"/>
                      <a:pt x="7" y="162"/>
                      <a:pt x="6" y="164"/>
                    </a:cubicBezTo>
                    <a:cubicBezTo>
                      <a:pt x="2" y="170"/>
                      <a:pt x="3" y="180"/>
                      <a:pt x="0" y="186"/>
                    </a:cubicBezTo>
                    <a:cubicBezTo>
                      <a:pt x="3" y="204"/>
                      <a:pt x="5" y="203"/>
                      <a:pt x="3" y="224"/>
                    </a:cubicBezTo>
                    <a:cubicBezTo>
                      <a:pt x="5" y="232"/>
                      <a:pt x="7" y="236"/>
                      <a:pt x="11" y="243"/>
                    </a:cubicBezTo>
                    <a:cubicBezTo>
                      <a:pt x="13" y="255"/>
                      <a:pt x="19" y="256"/>
                      <a:pt x="30" y="258"/>
                    </a:cubicBezTo>
                    <a:cubicBezTo>
                      <a:pt x="39" y="261"/>
                      <a:pt x="30" y="287"/>
                      <a:pt x="29" y="297"/>
                    </a:cubicBezTo>
                    <a:cubicBezTo>
                      <a:pt x="30" y="307"/>
                      <a:pt x="21" y="316"/>
                      <a:pt x="29" y="320"/>
                    </a:cubicBezTo>
                    <a:cubicBezTo>
                      <a:pt x="35" y="324"/>
                      <a:pt x="51" y="321"/>
                      <a:pt x="63" y="323"/>
                    </a:cubicBezTo>
                    <a:cubicBezTo>
                      <a:pt x="77" y="330"/>
                      <a:pt x="86" y="329"/>
                      <a:pt x="102" y="330"/>
                    </a:cubicBezTo>
                    <a:cubicBezTo>
                      <a:pt x="171" y="329"/>
                      <a:pt x="134" y="331"/>
                      <a:pt x="167" y="318"/>
                    </a:cubicBezTo>
                    <a:cubicBezTo>
                      <a:pt x="183" y="320"/>
                      <a:pt x="183" y="322"/>
                      <a:pt x="194" y="324"/>
                    </a:cubicBezTo>
                    <a:cubicBezTo>
                      <a:pt x="200" y="327"/>
                      <a:pt x="203" y="324"/>
                      <a:pt x="209" y="321"/>
                    </a:cubicBezTo>
                    <a:cubicBezTo>
                      <a:pt x="215" y="313"/>
                      <a:pt x="212" y="305"/>
                      <a:pt x="207" y="297"/>
                    </a:cubicBezTo>
                    <a:cubicBezTo>
                      <a:pt x="209" y="287"/>
                      <a:pt x="207" y="281"/>
                      <a:pt x="215" y="276"/>
                    </a:cubicBezTo>
                    <a:cubicBezTo>
                      <a:pt x="218" y="271"/>
                      <a:pt x="221" y="266"/>
                      <a:pt x="224" y="261"/>
                    </a:cubicBezTo>
                    <a:cubicBezTo>
                      <a:pt x="222" y="250"/>
                      <a:pt x="212" y="247"/>
                      <a:pt x="203" y="240"/>
                    </a:cubicBezTo>
                    <a:cubicBezTo>
                      <a:pt x="201" y="234"/>
                      <a:pt x="202" y="227"/>
                      <a:pt x="200" y="221"/>
                    </a:cubicBezTo>
                    <a:cubicBezTo>
                      <a:pt x="198" y="217"/>
                      <a:pt x="191" y="210"/>
                      <a:pt x="191" y="210"/>
                    </a:cubicBezTo>
                    <a:cubicBezTo>
                      <a:pt x="201" y="190"/>
                      <a:pt x="214" y="196"/>
                      <a:pt x="236" y="195"/>
                    </a:cubicBezTo>
                    <a:cubicBezTo>
                      <a:pt x="246" y="185"/>
                      <a:pt x="242" y="189"/>
                      <a:pt x="248" y="182"/>
                    </a:cubicBezTo>
                    <a:cubicBezTo>
                      <a:pt x="248" y="180"/>
                      <a:pt x="249" y="171"/>
                      <a:pt x="252" y="171"/>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81" name="Freeform 247"/>
              <p:cNvSpPr>
                <a:spLocks/>
              </p:cNvSpPr>
              <p:nvPr/>
            </p:nvSpPr>
            <p:spPr bwMode="auto">
              <a:xfrm>
                <a:off x="6143338" y="4162122"/>
                <a:ext cx="203935" cy="228981"/>
              </a:xfrm>
              <a:custGeom>
                <a:avLst/>
                <a:gdLst>
                  <a:gd name="T0" fmla="*/ 73 w 126"/>
                  <a:gd name="T1" fmla="*/ 130 h 130"/>
                  <a:gd name="T2" fmla="*/ 96 w 126"/>
                  <a:gd name="T3" fmla="*/ 84 h 130"/>
                  <a:gd name="T4" fmla="*/ 114 w 126"/>
                  <a:gd name="T5" fmla="*/ 27 h 130"/>
                  <a:gd name="T6" fmla="*/ 120 w 126"/>
                  <a:gd name="T7" fmla="*/ 9 h 130"/>
                  <a:gd name="T8" fmla="*/ 93 w 126"/>
                  <a:gd name="T9" fmla="*/ 6 h 130"/>
                  <a:gd name="T10" fmla="*/ 75 w 126"/>
                  <a:gd name="T11" fmla="*/ 0 h 130"/>
                  <a:gd name="T12" fmla="*/ 60 w 126"/>
                  <a:gd name="T13" fmla="*/ 7 h 130"/>
                  <a:gd name="T14" fmla="*/ 63 w 126"/>
                  <a:gd name="T15" fmla="*/ 21 h 130"/>
                  <a:gd name="T16" fmla="*/ 69 w 126"/>
                  <a:gd name="T17" fmla="*/ 33 h 130"/>
                  <a:gd name="T18" fmla="*/ 45 w 126"/>
                  <a:gd name="T19" fmla="*/ 30 h 130"/>
                  <a:gd name="T20" fmla="*/ 34 w 126"/>
                  <a:gd name="T21" fmla="*/ 27 h 130"/>
                  <a:gd name="T22" fmla="*/ 27 w 126"/>
                  <a:gd name="T23" fmla="*/ 48 h 130"/>
                  <a:gd name="T24" fmla="*/ 25 w 126"/>
                  <a:gd name="T25" fmla="*/ 52 h 130"/>
                  <a:gd name="T26" fmla="*/ 0 w 126"/>
                  <a:gd name="T27" fmla="*/ 96 h 130"/>
                  <a:gd name="T28" fmla="*/ 37 w 126"/>
                  <a:gd name="T29" fmla="*/ 103 h 130"/>
                  <a:gd name="T30" fmla="*/ 63 w 126"/>
                  <a:gd name="T31" fmla="*/ 118 h 130"/>
                  <a:gd name="T32" fmla="*/ 73 w 126"/>
                  <a:gd name="T3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30">
                    <a:moveTo>
                      <a:pt x="73" y="130"/>
                    </a:moveTo>
                    <a:cubicBezTo>
                      <a:pt x="76" y="111"/>
                      <a:pt x="73" y="89"/>
                      <a:pt x="96" y="84"/>
                    </a:cubicBezTo>
                    <a:cubicBezTo>
                      <a:pt x="108" y="64"/>
                      <a:pt x="99" y="47"/>
                      <a:pt x="114" y="27"/>
                    </a:cubicBezTo>
                    <a:cubicBezTo>
                      <a:pt x="115" y="21"/>
                      <a:pt x="117" y="15"/>
                      <a:pt x="120" y="9"/>
                    </a:cubicBezTo>
                    <a:cubicBezTo>
                      <a:pt x="106" y="3"/>
                      <a:pt x="126" y="11"/>
                      <a:pt x="93" y="6"/>
                    </a:cubicBezTo>
                    <a:cubicBezTo>
                      <a:pt x="87" y="5"/>
                      <a:pt x="81" y="1"/>
                      <a:pt x="75" y="0"/>
                    </a:cubicBezTo>
                    <a:cubicBezTo>
                      <a:pt x="69" y="1"/>
                      <a:pt x="65" y="3"/>
                      <a:pt x="60" y="7"/>
                    </a:cubicBezTo>
                    <a:cubicBezTo>
                      <a:pt x="57" y="14"/>
                      <a:pt x="60" y="15"/>
                      <a:pt x="63" y="21"/>
                    </a:cubicBezTo>
                    <a:cubicBezTo>
                      <a:pt x="65" y="25"/>
                      <a:pt x="69" y="33"/>
                      <a:pt x="69" y="33"/>
                    </a:cubicBezTo>
                    <a:cubicBezTo>
                      <a:pt x="64" y="42"/>
                      <a:pt x="52" y="32"/>
                      <a:pt x="45" y="30"/>
                    </a:cubicBezTo>
                    <a:cubicBezTo>
                      <a:pt x="40" y="25"/>
                      <a:pt x="37" y="18"/>
                      <a:pt x="34" y="27"/>
                    </a:cubicBezTo>
                    <a:cubicBezTo>
                      <a:pt x="33" y="40"/>
                      <a:pt x="34" y="33"/>
                      <a:pt x="27" y="48"/>
                    </a:cubicBezTo>
                    <a:cubicBezTo>
                      <a:pt x="26" y="49"/>
                      <a:pt x="25" y="52"/>
                      <a:pt x="25" y="52"/>
                    </a:cubicBezTo>
                    <a:cubicBezTo>
                      <a:pt x="22" y="68"/>
                      <a:pt x="8" y="82"/>
                      <a:pt x="0" y="96"/>
                    </a:cubicBezTo>
                    <a:cubicBezTo>
                      <a:pt x="3" y="113"/>
                      <a:pt x="22" y="104"/>
                      <a:pt x="37" y="103"/>
                    </a:cubicBezTo>
                    <a:cubicBezTo>
                      <a:pt x="48" y="106"/>
                      <a:pt x="53" y="116"/>
                      <a:pt x="63" y="118"/>
                    </a:cubicBezTo>
                    <a:cubicBezTo>
                      <a:pt x="67" y="123"/>
                      <a:pt x="72" y="124"/>
                      <a:pt x="73" y="13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82" name="Freeform 250"/>
              <p:cNvSpPr>
                <a:spLocks/>
              </p:cNvSpPr>
              <p:nvPr/>
            </p:nvSpPr>
            <p:spPr bwMode="auto">
              <a:xfrm>
                <a:off x="5742619" y="4323126"/>
                <a:ext cx="577538" cy="648064"/>
              </a:xfrm>
              <a:custGeom>
                <a:avLst/>
                <a:gdLst>
                  <a:gd name="T0" fmla="*/ 210 w 356"/>
                  <a:gd name="T1" fmla="*/ 11 h 366"/>
                  <a:gd name="T2" fmla="*/ 252 w 356"/>
                  <a:gd name="T3" fmla="*/ 51 h 366"/>
                  <a:gd name="T4" fmla="*/ 281 w 356"/>
                  <a:gd name="T5" fmla="*/ 66 h 366"/>
                  <a:gd name="T6" fmla="*/ 296 w 356"/>
                  <a:gd name="T7" fmla="*/ 75 h 366"/>
                  <a:gd name="T8" fmla="*/ 312 w 356"/>
                  <a:gd name="T9" fmla="*/ 86 h 366"/>
                  <a:gd name="T10" fmla="*/ 347 w 356"/>
                  <a:gd name="T11" fmla="*/ 98 h 366"/>
                  <a:gd name="T12" fmla="*/ 348 w 356"/>
                  <a:gd name="T13" fmla="*/ 126 h 366"/>
                  <a:gd name="T14" fmla="*/ 344 w 356"/>
                  <a:gd name="T15" fmla="*/ 140 h 366"/>
                  <a:gd name="T16" fmla="*/ 342 w 356"/>
                  <a:gd name="T17" fmla="*/ 165 h 366"/>
                  <a:gd name="T18" fmla="*/ 332 w 356"/>
                  <a:gd name="T19" fmla="*/ 179 h 366"/>
                  <a:gd name="T20" fmla="*/ 323 w 356"/>
                  <a:gd name="T21" fmla="*/ 186 h 366"/>
                  <a:gd name="T22" fmla="*/ 342 w 356"/>
                  <a:gd name="T23" fmla="*/ 222 h 366"/>
                  <a:gd name="T24" fmla="*/ 338 w 356"/>
                  <a:gd name="T25" fmla="*/ 261 h 366"/>
                  <a:gd name="T26" fmla="*/ 347 w 356"/>
                  <a:gd name="T27" fmla="*/ 282 h 366"/>
                  <a:gd name="T28" fmla="*/ 330 w 356"/>
                  <a:gd name="T29" fmla="*/ 318 h 366"/>
                  <a:gd name="T30" fmla="*/ 317 w 356"/>
                  <a:gd name="T31" fmla="*/ 329 h 366"/>
                  <a:gd name="T32" fmla="*/ 294 w 356"/>
                  <a:gd name="T33" fmla="*/ 305 h 366"/>
                  <a:gd name="T34" fmla="*/ 282 w 356"/>
                  <a:gd name="T35" fmla="*/ 320 h 366"/>
                  <a:gd name="T36" fmla="*/ 249 w 356"/>
                  <a:gd name="T37" fmla="*/ 308 h 366"/>
                  <a:gd name="T38" fmla="*/ 234 w 356"/>
                  <a:gd name="T39" fmla="*/ 318 h 366"/>
                  <a:gd name="T40" fmla="*/ 228 w 356"/>
                  <a:gd name="T41" fmla="*/ 341 h 366"/>
                  <a:gd name="T42" fmla="*/ 201 w 356"/>
                  <a:gd name="T43" fmla="*/ 348 h 366"/>
                  <a:gd name="T44" fmla="*/ 179 w 356"/>
                  <a:gd name="T45" fmla="*/ 353 h 366"/>
                  <a:gd name="T46" fmla="*/ 147 w 356"/>
                  <a:gd name="T47" fmla="*/ 347 h 366"/>
                  <a:gd name="T48" fmla="*/ 126 w 356"/>
                  <a:gd name="T49" fmla="*/ 339 h 366"/>
                  <a:gd name="T50" fmla="*/ 102 w 356"/>
                  <a:gd name="T51" fmla="*/ 326 h 366"/>
                  <a:gd name="T52" fmla="*/ 72 w 356"/>
                  <a:gd name="T53" fmla="*/ 312 h 366"/>
                  <a:gd name="T54" fmla="*/ 83 w 356"/>
                  <a:gd name="T55" fmla="*/ 282 h 366"/>
                  <a:gd name="T56" fmla="*/ 89 w 356"/>
                  <a:gd name="T57" fmla="*/ 252 h 366"/>
                  <a:gd name="T58" fmla="*/ 108 w 356"/>
                  <a:gd name="T59" fmla="*/ 246 h 366"/>
                  <a:gd name="T60" fmla="*/ 105 w 356"/>
                  <a:gd name="T61" fmla="*/ 221 h 366"/>
                  <a:gd name="T62" fmla="*/ 99 w 356"/>
                  <a:gd name="T63" fmla="*/ 203 h 366"/>
                  <a:gd name="T64" fmla="*/ 93 w 356"/>
                  <a:gd name="T65" fmla="*/ 191 h 366"/>
                  <a:gd name="T66" fmla="*/ 92 w 356"/>
                  <a:gd name="T67" fmla="*/ 176 h 366"/>
                  <a:gd name="T68" fmla="*/ 78 w 356"/>
                  <a:gd name="T69" fmla="*/ 170 h 366"/>
                  <a:gd name="T70" fmla="*/ 15 w 356"/>
                  <a:gd name="T71" fmla="*/ 135 h 366"/>
                  <a:gd name="T72" fmla="*/ 2 w 356"/>
                  <a:gd name="T73" fmla="*/ 111 h 366"/>
                  <a:gd name="T74" fmla="*/ 14 w 356"/>
                  <a:gd name="T75" fmla="*/ 93 h 366"/>
                  <a:gd name="T76" fmla="*/ 45 w 356"/>
                  <a:gd name="T77" fmla="*/ 98 h 366"/>
                  <a:gd name="T78" fmla="*/ 62 w 356"/>
                  <a:gd name="T79" fmla="*/ 113 h 366"/>
                  <a:gd name="T80" fmla="*/ 72 w 356"/>
                  <a:gd name="T81" fmla="*/ 99 h 366"/>
                  <a:gd name="T82" fmla="*/ 80 w 356"/>
                  <a:gd name="T83" fmla="*/ 65 h 366"/>
                  <a:gd name="T84" fmla="*/ 101 w 356"/>
                  <a:gd name="T85" fmla="*/ 77 h 366"/>
                  <a:gd name="T86" fmla="*/ 134 w 356"/>
                  <a:gd name="T87" fmla="*/ 81 h 366"/>
                  <a:gd name="T88" fmla="*/ 149 w 356"/>
                  <a:gd name="T89" fmla="*/ 80 h 366"/>
                  <a:gd name="T90" fmla="*/ 176 w 356"/>
                  <a:gd name="T91" fmla="*/ 57 h 366"/>
                  <a:gd name="T92" fmla="*/ 182 w 356"/>
                  <a:gd name="T93" fmla="*/ 32 h 366"/>
                  <a:gd name="T94" fmla="*/ 194 w 356"/>
                  <a:gd name="T95" fmla="*/ 5 h 366"/>
                  <a:gd name="T96" fmla="*/ 210 w 356"/>
                  <a:gd name="T97" fmla="*/ 8 h 366"/>
                  <a:gd name="T98" fmla="*/ 210 w 356"/>
                  <a:gd name="T99" fmla="*/ 11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6" h="366">
                    <a:moveTo>
                      <a:pt x="210" y="11"/>
                    </a:moveTo>
                    <a:cubicBezTo>
                      <a:pt x="213" y="25"/>
                      <a:pt x="239" y="50"/>
                      <a:pt x="252" y="51"/>
                    </a:cubicBezTo>
                    <a:cubicBezTo>
                      <a:pt x="263" y="55"/>
                      <a:pt x="272" y="59"/>
                      <a:pt x="281" y="66"/>
                    </a:cubicBezTo>
                    <a:cubicBezTo>
                      <a:pt x="285" y="73"/>
                      <a:pt x="288" y="74"/>
                      <a:pt x="296" y="75"/>
                    </a:cubicBezTo>
                    <a:cubicBezTo>
                      <a:pt x="302" y="78"/>
                      <a:pt x="306" y="83"/>
                      <a:pt x="312" y="86"/>
                    </a:cubicBezTo>
                    <a:cubicBezTo>
                      <a:pt x="319" y="96"/>
                      <a:pt x="336" y="94"/>
                      <a:pt x="347" y="98"/>
                    </a:cubicBezTo>
                    <a:cubicBezTo>
                      <a:pt x="356" y="105"/>
                      <a:pt x="353" y="117"/>
                      <a:pt x="348" y="126"/>
                    </a:cubicBezTo>
                    <a:cubicBezTo>
                      <a:pt x="347" y="131"/>
                      <a:pt x="345" y="135"/>
                      <a:pt x="344" y="140"/>
                    </a:cubicBezTo>
                    <a:cubicBezTo>
                      <a:pt x="345" y="149"/>
                      <a:pt x="346" y="157"/>
                      <a:pt x="342" y="165"/>
                    </a:cubicBezTo>
                    <a:cubicBezTo>
                      <a:pt x="341" y="171"/>
                      <a:pt x="337" y="175"/>
                      <a:pt x="332" y="179"/>
                    </a:cubicBezTo>
                    <a:cubicBezTo>
                      <a:pt x="329" y="182"/>
                      <a:pt x="323" y="186"/>
                      <a:pt x="323" y="186"/>
                    </a:cubicBezTo>
                    <a:cubicBezTo>
                      <a:pt x="315" y="205"/>
                      <a:pt x="328" y="212"/>
                      <a:pt x="342" y="222"/>
                    </a:cubicBezTo>
                    <a:cubicBezTo>
                      <a:pt x="348" y="236"/>
                      <a:pt x="347" y="248"/>
                      <a:pt x="338" y="261"/>
                    </a:cubicBezTo>
                    <a:cubicBezTo>
                      <a:pt x="339" y="269"/>
                      <a:pt x="342" y="275"/>
                      <a:pt x="347" y="282"/>
                    </a:cubicBezTo>
                    <a:cubicBezTo>
                      <a:pt x="345" y="298"/>
                      <a:pt x="344" y="309"/>
                      <a:pt x="330" y="318"/>
                    </a:cubicBezTo>
                    <a:cubicBezTo>
                      <a:pt x="326" y="323"/>
                      <a:pt x="323" y="326"/>
                      <a:pt x="317" y="329"/>
                    </a:cubicBezTo>
                    <a:cubicBezTo>
                      <a:pt x="306" y="324"/>
                      <a:pt x="301" y="314"/>
                      <a:pt x="294" y="305"/>
                    </a:cubicBezTo>
                    <a:cubicBezTo>
                      <a:pt x="287" y="310"/>
                      <a:pt x="290" y="317"/>
                      <a:pt x="282" y="320"/>
                    </a:cubicBezTo>
                    <a:cubicBezTo>
                      <a:pt x="265" y="312"/>
                      <a:pt x="273" y="309"/>
                      <a:pt x="249" y="308"/>
                    </a:cubicBezTo>
                    <a:cubicBezTo>
                      <a:pt x="233" y="309"/>
                      <a:pt x="239" y="308"/>
                      <a:pt x="234" y="318"/>
                    </a:cubicBezTo>
                    <a:cubicBezTo>
                      <a:pt x="233" y="326"/>
                      <a:pt x="231" y="333"/>
                      <a:pt x="228" y="341"/>
                    </a:cubicBezTo>
                    <a:cubicBezTo>
                      <a:pt x="226" y="366"/>
                      <a:pt x="219" y="351"/>
                      <a:pt x="201" y="348"/>
                    </a:cubicBezTo>
                    <a:cubicBezTo>
                      <a:pt x="182" y="351"/>
                      <a:pt x="188" y="348"/>
                      <a:pt x="179" y="353"/>
                    </a:cubicBezTo>
                    <a:cubicBezTo>
                      <a:pt x="167" y="352"/>
                      <a:pt x="158" y="349"/>
                      <a:pt x="147" y="347"/>
                    </a:cubicBezTo>
                    <a:cubicBezTo>
                      <a:pt x="140" y="344"/>
                      <a:pt x="133" y="343"/>
                      <a:pt x="126" y="339"/>
                    </a:cubicBezTo>
                    <a:cubicBezTo>
                      <a:pt x="118" y="334"/>
                      <a:pt x="112" y="328"/>
                      <a:pt x="102" y="326"/>
                    </a:cubicBezTo>
                    <a:cubicBezTo>
                      <a:pt x="92" y="321"/>
                      <a:pt x="82" y="318"/>
                      <a:pt x="72" y="312"/>
                    </a:cubicBezTo>
                    <a:cubicBezTo>
                      <a:pt x="76" y="303"/>
                      <a:pt x="79" y="292"/>
                      <a:pt x="83" y="282"/>
                    </a:cubicBezTo>
                    <a:cubicBezTo>
                      <a:pt x="84" y="271"/>
                      <a:pt x="86" y="262"/>
                      <a:pt x="89" y="252"/>
                    </a:cubicBezTo>
                    <a:cubicBezTo>
                      <a:pt x="91" y="238"/>
                      <a:pt x="95" y="245"/>
                      <a:pt x="108" y="246"/>
                    </a:cubicBezTo>
                    <a:cubicBezTo>
                      <a:pt x="113" y="239"/>
                      <a:pt x="107" y="229"/>
                      <a:pt x="105" y="221"/>
                    </a:cubicBezTo>
                    <a:cubicBezTo>
                      <a:pt x="104" y="212"/>
                      <a:pt x="103" y="210"/>
                      <a:pt x="99" y="203"/>
                    </a:cubicBezTo>
                    <a:cubicBezTo>
                      <a:pt x="97" y="199"/>
                      <a:pt x="93" y="191"/>
                      <a:pt x="93" y="191"/>
                    </a:cubicBezTo>
                    <a:cubicBezTo>
                      <a:pt x="93" y="186"/>
                      <a:pt x="94" y="181"/>
                      <a:pt x="92" y="176"/>
                    </a:cubicBezTo>
                    <a:cubicBezTo>
                      <a:pt x="90" y="171"/>
                      <a:pt x="82" y="173"/>
                      <a:pt x="78" y="170"/>
                    </a:cubicBezTo>
                    <a:cubicBezTo>
                      <a:pt x="56" y="155"/>
                      <a:pt x="39" y="147"/>
                      <a:pt x="15" y="135"/>
                    </a:cubicBezTo>
                    <a:cubicBezTo>
                      <a:pt x="12" y="126"/>
                      <a:pt x="7" y="119"/>
                      <a:pt x="2" y="111"/>
                    </a:cubicBezTo>
                    <a:cubicBezTo>
                      <a:pt x="3" y="97"/>
                      <a:pt x="0" y="91"/>
                      <a:pt x="14" y="93"/>
                    </a:cubicBezTo>
                    <a:cubicBezTo>
                      <a:pt x="24" y="92"/>
                      <a:pt x="39" y="88"/>
                      <a:pt x="45" y="98"/>
                    </a:cubicBezTo>
                    <a:cubicBezTo>
                      <a:pt x="48" y="112"/>
                      <a:pt x="48" y="111"/>
                      <a:pt x="62" y="113"/>
                    </a:cubicBezTo>
                    <a:cubicBezTo>
                      <a:pt x="71" y="109"/>
                      <a:pt x="71" y="108"/>
                      <a:pt x="72" y="99"/>
                    </a:cubicBezTo>
                    <a:cubicBezTo>
                      <a:pt x="71" y="87"/>
                      <a:pt x="65" y="67"/>
                      <a:pt x="80" y="65"/>
                    </a:cubicBezTo>
                    <a:cubicBezTo>
                      <a:pt x="96" y="69"/>
                      <a:pt x="89" y="71"/>
                      <a:pt x="101" y="77"/>
                    </a:cubicBezTo>
                    <a:cubicBezTo>
                      <a:pt x="111" y="81"/>
                      <a:pt x="125" y="81"/>
                      <a:pt x="134" y="81"/>
                    </a:cubicBezTo>
                    <a:cubicBezTo>
                      <a:pt x="141" y="83"/>
                      <a:pt x="144" y="86"/>
                      <a:pt x="149" y="80"/>
                    </a:cubicBezTo>
                    <a:cubicBezTo>
                      <a:pt x="151" y="63"/>
                      <a:pt x="160" y="61"/>
                      <a:pt x="176" y="57"/>
                    </a:cubicBezTo>
                    <a:cubicBezTo>
                      <a:pt x="185" y="48"/>
                      <a:pt x="183" y="47"/>
                      <a:pt x="182" y="32"/>
                    </a:cubicBezTo>
                    <a:cubicBezTo>
                      <a:pt x="184" y="19"/>
                      <a:pt x="181" y="8"/>
                      <a:pt x="194" y="5"/>
                    </a:cubicBezTo>
                    <a:cubicBezTo>
                      <a:pt x="199" y="2"/>
                      <a:pt x="205" y="10"/>
                      <a:pt x="210" y="8"/>
                    </a:cubicBezTo>
                    <a:cubicBezTo>
                      <a:pt x="212" y="16"/>
                      <a:pt x="210" y="0"/>
                      <a:pt x="210" y="11"/>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83" name="Freeform 252"/>
              <p:cNvSpPr>
                <a:spLocks/>
              </p:cNvSpPr>
              <p:nvPr/>
            </p:nvSpPr>
            <p:spPr bwMode="auto">
              <a:xfrm>
                <a:off x="6261406" y="4605774"/>
                <a:ext cx="189626" cy="107335"/>
              </a:xfrm>
              <a:custGeom>
                <a:avLst/>
                <a:gdLst>
                  <a:gd name="T0" fmla="*/ 90 w 117"/>
                  <a:gd name="T1" fmla="*/ 11 h 62"/>
                  <a:gd name="T2" fmla="*/ 117 w 117"/>
                  <a:gd name="T3" fmla="*/ 39 h 62"/>
                  <a:gd name="T4" fmla="*/ 105 w 117"/>
                  <a:gd name="T5" fmla="*/ 59 h 62"/>
                  <a:gd name="T6" fmla="*/ 72 w 117"/>
                  <a:gd name="T7" fmla="*/ 44 h 62"/>
                  <a:gd name="T8" fmla="*/ 51 w 117"/>
                  <a:gd name="T9" fmla="*/ 51 h 62"/>
                  <a:gd name="T10" fmla="*/ 33 w 117"/>
                  <a:gd name="T11" fmla="*/ 57 h 62"/>
                  <a:gd name="T12" fmla="*/ 18 w 117"/>
                  <a:gd name="T13" fmla="*/ 60 h 62"/>
                  <a:gd name="T14" fmla="*/ 3 w 117"/>
                  <a:gd name="T15" fmla="*/ 44 h 62"/>
                  <a:gd name="T16" fmla="*/ 15 w 117"/>
                  <a:gd name="T17" fmla="*/ 20 h 62"/>
                  <a:gd name="T18" fmla="*/ 30 w 117"/>
                  <a:gd name="T19" fmla="*/ 0 h 62"/>
                  <a:gd name="T20" fmla="*/ 71 w 117"/>
                  <a:gd name="T21" fmla="*/ 5 h 62"/>
                  <a:gd name="T22" fmla="*/ 90 w 117"/>
                  <a:gd name="T23"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62">
                    <a:moveTo>
                      <a:pt x="90" y="11"/>
                    </a:moveTo>
                    <a:cubicBezTo>
                      <a:pt x="98" y="22"/>
                      <a:pt x="109" y="27"/>
                      <a:pt x="117" y="39"/>
                    </a:cubicBezTo>
                    <a:cubicBezTo>
                      <a:pt x="116" y="55"/>
                      <a:pt x="117" y="53"/>
                      <a:pt x="105" y="59"/>
                    </a:cubicBezTo>
                    <a:cubicBezTo>
                      <a:pt x="84" y="57"/>
                      <a:pt x="83" y="59"/>
                      <a:pt x="72" y="44"/>
                    </a:cubicBezTo>
                    <a:cubicBezTo>
                      <a:pt x="63" y="45"/>
                      <a:pt x="60" y="50"/>
                      <a:pt x="51" y="51"/>
                    </a:cubicBezTo>
                    <a:cubicBezTo>
                      <a:pt x="46" y="55"/>
                      <a:pt x="33" y="57"/>
                      <a:pt x="33" y="57"/>
                    </a:cubicBezTo>
                    <a:cubicBezTo>
                      <a:pt x="27" y="62"/>
                      <a:pt x="25" y="62"/>
                      <a:pt x="18" y="60"/>
                    </a:cubicBezTo>
                    <a:cubicBezTo>
                      <a:pt x="12" y="54"/>
                      <a:pt x="10" y="48"/>
                      <a:pt x="3" y="44"/>
                    </a:cubicBezTo>
                    <a:cubicBezTo>
                      <a:pt x="0" y="27"/>
                      <a:pt x="2" y="30"/>
                      <a:pt x="15" y="20"/>
                    </a:cubicBezTo>
                    <a:cubicBezTo>
                      <a:pt x="19" y="13"/>
                      <a:pt x="23" y="3"/>
                      <a:pt x="30" y="0"/>
                    </a:cubicBezTo>
                    <a:cubicBezTo>
                      <a:pt x="43" y="5"/>
                      <a:pt x="57" y="4"/>
                      <a:pt x="71" y="5"/>
                    </a:cubicBezTo>
                    <a:cubicBezTo>
                      <a:pt x="78" y="6"/>
                      <a:pt x="83" y="11"/>
                      <a:pt x="90" y="11"/>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84" name="Freeform 253"/>
              <p:cNvSpPr>
                <a:spLocks/>
              </p:cNvSpPr>
              <p:nvPr/>
            </p:nvSpPr>
            <p:spPr bwMode="auto">
              <a:xfrm>
                <a:off x="6572678" y="4348168"/>
                <a:ext cx="275492" cy="168159"/>
              </a:xfrm>
              <a:custGeom>
                <a:avLst/>
                <a:gdLst>
                  <a:gd name="T0" fmla="*/ 57 w 169"/>
                  <a:gd name="T1" fmla="*/ 0 h 96"/>
                  <a:gd name="T2" fmla="*/ 20 w 169"/>
                  <a:gd name="T3" fmla="*/ 21 h 96"/>
                  <a:gd name="T4" fmla="*/ 6 w 169"/>
                  <a:gd name="T5" fmla="*/ 25 h 96"/>
                  <a:gd name="T6" fmla="*/ 3 w 169"/>
                  <a:gd name="T7" fmla="*/ 46 h 96"/>
                  <a:gd name="T8" fmla="*/ 21 w 169"/>
                  <a:gd name="T9" fmla="*/ 75 h 96"/>
                  <a:gd name="T10" fmla="*/ 104 w 169"/>
                  <a:gd name="T11" fmla="*/ 90 h 96"/>
                  <a:gd name="T12" fmla="*/ 125 w 169"/>
                  <a:gd name="T13" fmla="*/ 91 h 96"/>
                  <a:gd name="T14" fmla="*/ 158 w 169"/>
                  <a:gd name="T15" fmla="*/ 76 h 96"/>
                  <a:gd name="T16" fmla="*/ 164 w 169"/>
                  <a:gd name="T17" fmla="*/ 63 h 96"/>
                  <a:gd name="T18" fmla="*/ 123 w 169"/>
                  <a:gd name="T19" fmla="*/ 37 h 96"/>
                  <a:gd name="T20" fmla="*/ 110 w 169"/>
                  <a:gd name="T21" fmla="*/ 21 h 96"/>
                  <a:gd name="T22" fmla="*/ 99 w 169"/>
                  <a:gd name="T23" fmla="*/ 15 h 96"/>
                  <a:gd name="T24" fmla="*/ 57 w 169"/>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96">
                    <a:moveTo>
                      <a:pt x="57" y="0"/>
                    </a:moveTo>
                    <a:cubicBezTo>
                      <a:pt x="41" y="21"/>
                      <a:pt x="58" y="18"/>
                      <a:pt x="20" y="21"/>
                    </a:cubicBezTo>
                    <a:cubicBezTo>
                      <a:pt x="15" y="22"/>
                      <a:pt x="11" y="24"/>
                      <a:pt x="6" y="25"/>
                    </a:cubicBezTo>
                    <a:cubicBezTo>
                      <a:pt x="2" y="31"/>
                      <a:pt x="0" y="39"/>
                      <a:pt x="3" y="46"/>
                    </a:cubicBezTo>
                    <a:cubicBezTo>
                      <a:pt x="6" y="63"/>
                      <a:pt x="7" y="65"/>
                      <a:pt x="21" y="75"/>
                    </a:cubicBezTo>
                    <a:cubicBezTo>
                      <a:pt x="32" y="96"/>
                      <a:pt x="98" y="90"/>
                      <a:pt x="104" y="90"/>
                    </a:cubicBezTo>
                    <a:cubicBezTo>
                      <a:pt x="113" y="91"/>
                      <a:pt x="116" y="93"/>
                      <a:pt x="125" y="91"/>
                    </a:cubicBezTo>
                    <a:cubicBezTo>
                      <a:pt x="136" y="83"/>
                      <a:pt x="146" y="82"/>
                      <a:pt x="158" y="76"/>
                    </a:cubicBezTo>
                    <a:cubicBezTo>
                      <a:pt x="161" y="72"/>
                      <a:pt x="162" y="68"/>
                      <a:pt x="164" y="63"/>
                    </a:cubicBezTo>
                    <a:cubicBezTo>
                      <a:pt x="169" y="37"/>
                      <a:pt x="140" y="38"/>
                      <a:pt x="123" y="37"/>
                    </a:cubicBezTo>
                    <a:cubicBezTo>
                      <a:pt x="118" y="34"/>
                      <a:pt x="115" y="24"/>
                      <a:pt x="110" y="21"/>
                    </a:cubicBezTo>
                    <a:cubicBezTo>
                      <a:pt x="95" y="6"/>
                      <a:pt x="107" y="20"/>
                      <a:pt x="99" y="15"/>
                    </a:cubicBezTo>
                    <a:cubicBezTo>
                      <a:pt x="88" y="1"/>
                      <a:pt x="74" y="0"/>
                      <a:pt x="57"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85" name="Freeform 254"/>
              <p:cNvSpPr>
                <a:spLocks/>
              </p:cNvSpPr>
              <p:nvPr/>
            </p:nvSpPr>
            <p:spPr bwMode="auto">
              <a:xfrm>
                <a:off x="6415254" y="4502018"/>
                <a:ext cx="400718" cy="178893"/>
              </a:xfrm>
              <a:custGeom>
                <a:avLst/>
                <a:gdLst>
                  <a:gd name="T0" fmla="*/ 225 w 246"/>
                  <a:gd name="T1" fmla="*/ 4 h 102"/>
                  <a:gd name="T2" fmla="*/ 243 w 246"/>
                  <a:gd name="T3" fmla="*/ 16 h 102"/>
                  <a:gd name="T4" fmla="*/ 237 w 246"/>
                  <a:gd name="T5" fmla="*/ 52 h 102"/>
                  <a:gd name="T6" fmla="*/ 220 w 246"/>
                  <a:gd name="T7" fmla="*/ 97 h 102"/>
                  <a:gd name="T8" fmla="*/ 123 w 246"/>
                  <a:gd name="T9" fmla="*/ 88 h 102"/>
                  <a:gd name="T10" fmla="*/ 94 w 246"/>
                  <a:gd name="T11" fmla="*/ 84 h 102"/>
                  <a:gd name="T12" fmla="*/ 66 w 246"/>
                  <a:gd name="T13" fmla="*/ 85 h 102"/>
                  <a:gd name="T14" fmla="*/ 49 w 246"/>
                  <a:gd name="T15" fmla="*/ 88 h 102"/>
                  <a:gd name="T16" fmla="*/ 18 w 246"/>
                  <a:gd name="T17" fmla="*/ 91 h 102"/>
                  <a:gd name="T18" fmla="*/ 0 w 246"/>
                  <a:gd name="T19" fmla="*/ 72 h 102"/>
                  <a:gd name="T20" fmla="*/ 51 w 246"/>
                  <a:gd name="T21" fmla="*/ 66 h 102"/>
                  <a:gd name="T22" fmla="*/ 67 w 246"/>
                  <a:gd name="T23" fmla="*/ 60 h 102"/>
                  <a:gd name="T24" fmla="*/ 84 w 246"/>
                  <a:gd name="T25" fmla="*/ 58 h 102"/>
                  <a:gd name="T26" fmla="*/ 97 w 246"/>
                  <a:gd name="T27" fmla="*/ 63 h 102"/>
                  <a:gd name="T28" fmla="*/ 115 w 246"/>
                  <a:gd name="T29" fmla="*/ 54 h 102"/>
                  <a:gd name="T30" fmla="*/ 120 w 246"/>
                  <a:gd name="T31" fmla="*/ 12 h 102"/>
                  <a:gd name="T32" fmla="*/ 129 w 246"/>
                  <a:gd name="T33" fmla="*/ 0 h 102"/>
                  <a:gd name="T34" fmla="*/ 145 w 246"/>
                  <a:gd name="T35" fmla="*/ 4 h 102"/>
                  <a:gd name="T36" fmla="*/ 184 w 246"/>
                  <a:gd name="T37" fmla="*/ 4 h 102"/>
                  <a:gd name="T38" fmla="*/ 225 w 246"/>
                  <a:gd name="T39" fmla="*/ 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102">
                    <a:moveTo>
                      <a:pt x="225" y="4"/>
                    </a:moveTo>
                    <a:cubicBezTo>
                      <a:pt x="236" y="10"/>
                      <a:pt x="235" y="5"/>
                      <a:pt x="243" y="16"/>
                    </a:cubicBezTo>
                    <a:cubicBezTo>
                      <a:pt x="246" y="31"/>
                      <a:pt x="244" y="39"/>
                      <a:pt x="237" y="52"/>
                    </a:cubicBezTo>
                    <a:cubicBezTo>
                      <a:pt x="234" y="65"/>
                      <a:pt x="237" y="94"/>
                      <a:pt x="220" y="97"/>
                    </a:cubicBezTo>
                    <a:cubicBezTo>
                      <a:pt x="138" y="96"/>
                      <a:pt x="164" y="102"/>
                      <a:pt x="123" y="88"/>
                    </a:cubicBezTo>
                    <a:cubicBezTo>
                      <a:pt x="118" y="81"/>
                      <a:pt x="101" y="84"/>
                      <a:pt x="94" y="84"/>
                    </a:cubicBezTo>
                    <a:cubicBezTo>
                      <a:pt x="85" y="84"/>
                      <a:pt x="75" y="84"/>
                      <a:pt x="66" y="85"/>
                    </a:cubicBezTo>
                    <a:cubicBezTo>
                      <a:pt x="60" y="86"/>
                      <a:pt x="49" y="88"/>
                      <a:pt x="49" y="88"/>
                    </a:cubicBezTo>
                    <a:cubicBezTo>
                      <a:pt x="38" y="94"/>
                      <a:pt x="30" y="93"/>
                      <a:pt x="18" y="91"/>
                    </a:cubicBezTo>
                    <a:cubicBezTo>
                      <a:pt x="15" y="84"/>
                      <a:pt x="6" y="77"/>
                      <a:pt x="0" y="72"/>
                    </a:cubicBezTo>
                    <a:cubicBezTo>
                      <a:pt x="11" y="53"/>
                      <a:pt x="0" y="69"/>
                      <a:pt x="51" y="66"/>
                    </a:cubicBezTo>
                    <a:cubicBezTo>
                      <a:pt x="56" y="66"/>
                      <a:pt x="61" y="61"/>
                      <a:pt x="67" y="60"/>
                    </a:cubicBezTo>
                    <a:cubicBezTo>
                      <a:pt x="73" y="57"/>
                      <a:pt x="77" y="57"/>
                      <a:pt x="84" y="58"/>
                    </a:cubicBezTo>
                    <a:cubicBezTo>
                      <a:pt x="88" y="60"/>
                      <a:pt x="93" y="61"/>
                      <a:pt x="97" y="63"/>
                    </a:cubicBezTo>
                    <a:cubicBezTo>
                      <a:pt x="107" y="61"/>
                      <a:pt x="109" y="62"/>
                      <a:pt x="115" y="54"/>
                    </a:cubicBezTo>
                    <a:cubicBezTo>
                      <a:pt x="114" y="37"/>
                      <a:pt x="110" y="26"/>
                      <a:pt x="120" y="12"/>
                    </a:cubicBezTo>
                    <a:cubicBezTo>
                      <a:pt x="121" y="5"/>
                      <a:pt x="123" y="4"/>
                      <a:pt x="129" y="0"/>
                    </a:cubicBezTo>
                    <a:cubicBezTo>
                      <a:pt x="135" y="1"/>
                      <a:pt x="139" y="3"/>
                      <a:pt x="145" y="4"/>
                    </a:cubicBezTo>
                    <a:cubicBezTo>
                      <a:pt x="154" y="5"/>
                      <a:pt x="171" y="4"/>
                      <a:pt x="184" y="4"/>
                    </a:cubicBezTo>
                    <a:cubicBezTo>
                      <a:pt x="197" y="4"/>
                      <a:pt x="217" y="4"/>
                      <a:pt x="225" y="4"/>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nvGrpSpPr>
              <p:cNvPr id="1386" name="Gruppieren 291"/>
              <p:cNvGrpSpPr/>
              <p:nvPr/>
            </p:nvGrpSpPr>
            <p:grpSpPr>
              <a:xfrm>
                <a:off x="6293608" y="4634396"/>
                <a:ext cx="579609" cy="726303"/>
                <a:chOff x="4181935" y="2593969"/>
                <a:chExt cx="301163" cy="377385"/>
              </a:xfrm>
              <a:grpFill/>
            </p:grpSpPr>
            <p:sp>
              <p:nvSpPr>
                <p:cNvPr id="1447" name="Freeform 251"/>
                <p:cNvSpPr>
                  <a:spLocks/>
                </p:cNvSpPr>
                <p:nvPr/>
              </p:nvSpPr>
              <p:spPr bwMode="auto">
                <a:xfrm>
                  <a:off x="4203318" y="2729404"/>
                  <a:ext cx="36246" cy="63482"/>
                </a:xfrm>
                <a:custGeom>
                  <a:avLst/>
                  <a:gdLst>
                    <a:gd name="T0" fmla="*/ 30 w 43"/>
                    <a:gd name="T1" fmla="*/ 1 h 69"/>
                    <a:gd name="T2" fmla="*/ 10 w 43"/>
                    <a:gd name="T3" fmla="*/ 21 h 69"/>
                    <a:gd name="T4" fmla="*/ 0 w 43"/>
                    <a:gd name="T5" fmla="*/ 30 h 69"/>
                    <a:gd name="T6" fmla="*/ 12 w 43"/>
                    <a:gd name="T7" fmla="*/ 54 h 69"/>
                    <a:gd name="T8" fmla="*/ 22 w 43"/>
                    <a:gd name="T9" fmla="*/ 69 h 69"/>
                    <a:gd name="T10" fmla="*/ 42 w 43"/>
                    <a:gd name="T11" fmla="*/ 48 h 69"/>
                    <a:gd name="T12" fmla="*/ 30 w 43"/>
                    <a:gd name="T13" fmla="*/ 1 h 69"/>
                  </a:gdLst>
                  <a:ahLst/>
                  <a:cxnLst>
                    <a:cxn ang="0">
                      <a:pos x="T0" y="T1"/>
                    </a:cxn>
                    <a:cxn ang="0">
                      <a:pos x="T2" y="T3"/>
                    </a:cxn>
                    <a:cxn ang="0">
                      <a:pos x="T4" y="T5"/>
                    </a:cxn>
                    <a:cxn ang="0">
                      <a:pos x="T6" y="T7"/>
                    </a:cxn>
                    <a:cxn ang="0">
                      <a:pos x="T8" y="T9"/>
                    </a:cxn>
                    <a:cxn ang="0">
                      <a:pos x="T10" y="T11"/>
                    </a:cxn>
                    <a:cxn ang="0">
                      <a:pos x="T12" y="T13"/>
                    </a:cxn>
                  </a:cxnLst>
                  <a:rect l="0" t="0" r="r" b="b"/>
                  <a:pathLst>
                    <a:path w="43" h="69">
                      <a:moveTo>
                        <a:pt x="30" y="1"/>
                      </a:moveTo>
                      <a:cubicBezTo>
                        <a:pt x="24" y="16"/>
                        <a:pt x="25" y="17"/>
                        <a:pt x="10" y="21"/>
                      </a:cubicBezTo>
                      <a:cubicBezTo>
                        <a:pt x="4" y="25"/>
                        <a:pt x="1" y="23"/>
                        <a:pt x="0" y="30"/>
                      </a:cubicBezTo>
                      <a:cubicBezTo>
                        <a:pt x="3" y="44"/>
                        <a:pt x="1" y="48"/>
                        <a:pt x="12" y="54"/>
                      </a:cubicBezTo>
                      <a:cubicBezTo>
                        <a:pt x="15" y="59"/>
                        <a:pt x="19" y="64"/>
                        <a:pt x="22" y="69"/>
                      </a:cubicBezTo>
                      <a:cubicBezTo>
                        <a:pt x="42" y="65"/>
                        <a:pt x="37" y="64"/>
                        <a:pt x="42" y="48"/>
                      </a:cubicBezTo>
                      <a:cubicBezTo>
                        <a:pt x="39" y="0"/>
                        <a:pt x="43" y="23"/>
                        <a:pt x="30" y="1"/>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48" name="Freeform 257"/>
                <p:cNvSpPr>
                  <a:spLocks/>
                </p:cNvSpPr>
                <p:nvPr/>
              </p:nvSpPr>
              <p:spPr bwMode="auto">
                <a:xfrm>
                  <a:off x="4198053" y="2806994"/>
                  <a:ext cx="46659" cy="69784"/>
                </a:xfrm>
                <a:custGeom>
                  <a:avLst/>
                  <a:gdLst>
                    <a:gd name="T0" fmla="*/ 34 w 55"/>
                    <a:gd name="T1" fmla="*/ 0 h 76"/>
                    <a:gd name="T2" fmla="*/ 19 w 55"/>
                    <a:gd name="T3" fmla="*/ 14 h 76"/>
                    <a:gd name="T4" fmla="*/ 17 w 55"/>
                    <a:gd name="T5" fmla="*/ 29 h 76"/>
                    <a:gd name="T6" fmla="*/ 23 w 55"/>
                    <a:gd name="T7" fmla="*/ 53 h 76"/>
                    <a:gd name="T8" fmla="*/ 38 w 55"/>
                    <a:gd name="T9" fmla="*/ 72 h 76"/>
                    <a:gd name="T10" fmla="*/ 47 w 55"/>
                    <a:gd name="T11" fmla="*/ 48 h 76"/>
                    <a:gd name="T12" fmla="*/ 55 w 55"/>
                    <a:gd name="T13" fmla="*/ 26 h 76"/>
                    <a:gd name="T14" fmla="*/ 34 w 55"/>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76">
                      <a:moveTo>
                        <a:pt x="34" y="0"/>
                      </a:moveTo>
                      <a:cubicBezTo>
                        <a:pt x="30" y="7"/>
                        <a:pt x="26" y="10"/>
                        <a:pt x="19" y="14"/>
                      </a:cubicBezTo>
                      <a:cubicBezTo>
                        <a:pt x="0" y="9"/>
                        <a:pt x="9" y="23"/>
                        <a:pt x="17" y="29"/>
                      </a:cubicBezTo>
                      <a:cubicBezTo>
                        <a:pt x="16" y="42"/>
                        <a:pt x="12" y="44"/>
                        <a:pt x="23" y="53"/>
                      </a:cubicBezTo>
                      <a:cubicBezTo>
                        <a:pt x="31" y="69"/>
                        <a:pt x="16" y="76"/>
                        <a:pt x="38" y="72"/>
                      </a:cubicBezTo>
                      <a:cubicBezTo>
                        <a:pt x="48" y="59"/>
                        <a:pt x="55" y="72"/>
                        <a:pt x="47" y="48"/>
                      </a:cubicBezTo>
                      <a:cubicBezTo>
                        <a:pt x="49" y="40"/>
                        <a:pt x="50" y="33"/>
                        <a:pt x="55" y="26"/>
                      </a:cubicBezTo>
                      <a:cubicBezTo>
                        <a:pt x="51" y="8"/>
                        <a:pt x="36" y="9"/>
                        <a:pt x="34"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49" name="Freeform 258"/>
                <p:cNvSpPr>
                  <a:spLocks/>
                </p:cNvSpPr>
                <p:nvPr/>
              </p:nvSpPr>
              <p:spPr bwMode="auto">
                <a:xfrm>
                  <a:off x="4181935" y="2593969"/>
                  <a:ext cx="301163" cy="333310"/>
                </a:xfrm>
                <a:custGeom>
                  <a:avLst/>
                  <a:gdLst>
                    <a:gd name="T0" fmla="*/ 5 w 355"/>
                    <a:gd name="T1" fmla="*/ 129 h 363"/>
                    <a:gd name="T2" fmla="*/ 9 w 355"/>
                    <a:gd name="T3" fmla="*/ 112 h 363"/>
                    <a:gd name="T4" fmla="*/ 0 w 355"/>
                    <a:gd name="T5" fmla="*/ 91 h 363"/>
                    <a:gd name="T6" fmla="*/ 6 w 355"/>
                    <a:gd name="T7" fmla="*/ 69 h 363"/>
                    <a:gd name="T8" fmla="*/ 3 w 355"/>
                    <a:gd name="T9" fmla="*/ 49 h 363"/>
                    <a:gd name="T10" fmla="*/ 41 w 355"/>
                    <a:gd name="T11" fmla="*/ 30 h 363"/>
                    <a:gd name="T12" fmla="*/ 66 w 355"/>
                    <a:gd name="T13" fmla="*/ 40 h 363"/>
                    <a:gd name="T14" fmla="*/ 93 w 355"/>
                    <a:gd name="T15" fmla="*/ 39 h 363"/>
                    <a:gd name="T16" fmla="*/ 96 w 355"/>
                    <a:gd name="T17" fmla="*/ 24 h 363"/>
                    <a:gd name="T18" fmla="*/ 107 w 355"/>
                    <a:gd name="T19" fmla="*/ 21 h 363"/>
                    <a:gd name="T20" fmla="*/ 135 w 355"/>
                    <a:gd name="T21" fmla="*/ 10 h 363"/>
                    <a:gd name="T22" fmla="*/ 156 w 355"/>
                    <a:gd name="T23" fmla="*/ 12 h 363"/>
                    <a:gd name="T24" fmla="*/ 200 w 355"/>
                    <a:gd name="T25" fmla="*/ 13 h 363"/>
                    <a:gd name="T26" fmla="*/ 189 w 355"/>
                    <a:gd name="T27" fmla="*/ 49 h 363"/>
                    <a:gd name="T28" fmla="*/ 170 w 355"/>
                    <a:gd name="T29" fmla="*/ 60 h 363"/>
                    <a:gd name="T30" fmla="*/ 162 w 355"/>
                    <a:gd name="T31" fmla="*/ 85 h 363"/>
                    <a:gd name="T32" fmla="*/ 183 w 355"/>
                    <a:gd name="T33" fmla="*/ 106 h 363"/>
                    <a:gd name="T34" fmla="*/ 197 w 355"/>
                    <a:gd name="T35" fmla="*/ 127 h 363"/>
                    <a:gd name="T36" fmla="*/ 209 w 355"/>
                    <a:gd name="T37" fmla="*/ 160 h 363"/>
                    <a:gd name="T38" fmla="*/ 254 w 355"/>
                    <a:gd name="T39" fmla="*/ 196 h 363"/>
                    <a:gd name="T40" fmla="*/ 275 w 355"/>
                    <a:gd name="T41" fmla="*/ 189 h 363"/>
                    <a:gd name="T42" fmla="*/ 317 w 355"/>
                    <a:gd name="T43" fmla="*/ 237 h 363"/>
                    <a:gd name="T44" fmla="*/ 344 w 355"/>
                    <a:gd name="T45" fmla="*/ 255 h 363"/>
                    <a:gd name="T46" fmla="*/ 353 w 355"/>
                    <a:gd name="T47" fmla="*/ 270 h 363"/>
                    <a:gd name="T48" fmla="*/ 339 w 355"/>
                    <a:gd name="T49" fmla="*/ 277 h 363"/>
                    <a:gd name="T50" fmla="*/ 320 w 355"/>
                    <a:gd name="T51" fmla="*/ 265 h 363"/>
                    <a:gd name="T52" fmla="*/ 303 w 355"/>
                    <a:gd name="T53" fmla="*/ 279 h 363"/>
                    <a:gd name="T54" fmla="*/ 309 w 355"/>
                    <a:gd name="T55" fmla="*/ 309 h 363"/>
                    <a:gd name="T56" fmla="*/ 297 w 355"/>
                    <a:gd name="T57" fmla="*/ 330 h 363"/>
                    <a:gd name="T58" fmla="*/ 281 w 355"/>
                    <a:gd name="T59" fmla="*/ 363 h 363"/>
                    <a:gd name="T60" fmla="*/ 276 w 355"/>
                    <a:gd name="T61" fmla="*/ 310 h 363"/>
                    <a:gd name="T62" fmla="*/ 270 w 355"/>
                    <a:gd name="T63" fmla="*/ 288 h 363"/>
                    <a:gd name="T64" fmla="*/ 240 w 355"/>
                    <a:gd name="T65" fmla="*/ 277 h 363"/>
                    <a:gd name="T66" fmla="*/ 219 w 355"/>
                    <a:gd name="T67" fmla="*/ 232 h 363"/>
                    <a:gd name="T68" fmla="*/ 188 w 355"/>
                    <a:gd name="T69" fmla="*/ 228 h 363"/>
                    <a:gd name="T70" fmla="*/ 167 w 355"/>
                    <a:gd name="T71" fmla="*/ 222 h 363"/>
                    <a:gd name="T72" fmla="*/ 122 w 355"/>
                    <a:gd name="T73" fmla="*/ 180 h 363"/>
                    <a:gd name="T74" fmla="*/ 108 w 355"/>
                    <a:gd name="T75" fmla="*/ 174 h 363"/>
                    <a:gd name="T76" fmla="*/ 87 w 355"/>
                    <a:gd name="T77" fmla="*/ 118 h 363"/>
                    <a:gd name="T78" fmla="*/ 62 w 355"/>
                    <a:gd name="T79" fmla="*/ 109 h 363"/>
                    <a:gd name="T80" fmla="*/ 39 w 355"/>
                    <a:gd name="T81" fmla="*/ 106 h 363"/>
                    <a:gd name="T82" fmla="*/ 15 w 355"/>
                    <a:gd name="T83" fmla="*/ 124 h 363"/>
                    <a:gd name="T84" fmla="*/ 5 w 355"/>
                    <a:gd name="T85" fmla="*/ 129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5" h="363">
                      <a:moveTo>
                        <a:pt x="5" y="129"/>
                      </a:moveTo>
                      <a:cubicBezTo>
                        <a:pt x="6" y="122"/>
                        <a:pt x="8" y="118"/>
                        <a:pt x="9" y="112"/>
                      </a:cubicBezTo>
                      <a:cubicBezTo>
                        <a:pt x="8" y="104"/>
                        <a:pt x="4" y="98"/>
                        <a:pt x="0" y="91"/>
                      </a:cubicBezTo>
                      <a:cubicBezTo>
                        <a:pt x="2" y="83"/>
                        <a:pt x="5" y="77"/>
                        <a:pt x="6" y="69"/>
                      </a:cubicBezTo>
                      <a:cubicBezTo>
                        <a:pt x="5" y="62"/>
                        <a:pt x="3" y="56"/>
                        <a:pt x="3" y="49"/>
                      </a:cubicBezTo>
                      <a:cubicBezTo>
                        <a:pt x="3" y="39"/>
                        <a:pt x="34" y="31"/>
                        <a:pt x="41" y="30"/>
                      </a:cubicBezTo>
                      <a:cubicBezTo>
                        <a:pt x="53" y="31"/>
                        <a:pt x="57" y="33"/>
                        <a:pt x="66" y="40"/>
                      </a:cubicBezTo>
                      <a:cubicBezTo>
                        <a:pt x="75" y="40"/>
                        <a:pt x="84" y="41"/>
                        <a:pt x="93" y="39"/>
                      </a:cubicBezTo>
                      <a:cubicBezTo>
                        <a:pt x="98" y="38"/>
                        <a:pt x="94" y="29"/>
                        <a:pt x="96" y="24"/>
                      </a:cubicBezTo>
                      <a:cubicBezTo>
                        <a:pt x="97" y="22"/>
                        <a:pt x="106" y="21"/>
                        <a:pt x="107" y="21"/>
                      </a:cubicBezTo>
                      <a:cubicBezTo>
                        <a:pt x="118" y="16"/>
                        <a:pt x="123" y="11"/>
                        <a:pt x="135" y="10"/>
                      </a:cubicBezTo>
                      <a:cubicBezTo>
                        <a:pt x="140" y="9"/>
                        <a:pt x="151" y="13"/>
                        <a:pt x="156" y="12"/>
                      </a:cubicBezTo>
                      <a:cubicBezTo>
                        <a:pt x="198" y="13"/>
                        <a:pt x="180" y="0"/>
                        <a:pt x="200" y="13"/>
                      </a:cubicBezTo>
                      <a:cubicBezTo>
                        <a:pt x="205" y="25"/>
                        <a:pt x="204" y="46"/>
                        <a:pt x="189" y="49"/>
                      </a:cubicBezTo>
                      <a:cubicBezTo>
                        <a:pt x="182" y="52"/>
                        <a:pt x="176" y="56"/>
                        <a:pt x="170" y="60"/>
                      </a:cubicBezTo>
                      <a:cubicBezTo>
                        <a:pt x="168" y="69"/>
                        <a:pt x="168" y="77"/>
                        <a:pt x="162" y="85"/>
                      </a:cubicBezTo>
                      <a:cubicBezTo>
                        <a:pt x="165" y="98"/>
                        <a:pt x="170" y="102"/>
                        <a:pt x="183" y="106"/>
                      </a:cubicBezTo>
                      <a:cubicBezTo>
                        <a:pt x="188" y="114"/>
                        <a:pt x="193" y="119"/>
                        <a:pt x="197" y="127"/>
                      </a:cubicBezTo>
                      <a:cubicBezTo>
                        <a:pt x="198" y="140"/>
                        <a:pt x="201" y="150"/>
                        <a:pt x="209" y="160"/>
                      </a:cubicBezTo>
                      <a:cubicBezTo>
                        <a:pt x="211" y="172"/>
                        <a:pt x="242" y="194"/>
                        <a:pt x="254" y="196"/>
                      </a:cubicBezTo>
                      <a:cubicBezTo>
                        <a:pt x="265" y="194"/>
                        <a:pt x="264" y="187"/>
                        <a:pt x="275" y="189"/>
                      </a:cubicBezTo>
                      <a:cubicBezTo>
                        <a:pt x="281" y="214"/>
                        <a:pt x="290" y="228"/>
                        <a:pt x="317" y="237"/>
                      </a:cubicBezTo>
                      <a:cubicBezTo>
                        <a:pt x="326" y="243"/>
                        <a:pt x="335" y="249"/>
                        <a:pt x="344" y="255"/>
                      </a:cubicBezTo>
                      <a:cubicBezTo>
                        <a:pt x="348" y="260"/>
                        <a:pt x="350" y="265"/>
                        <a:pt x="353" y="270"/>
                      </a:cubicBezTo>
                      <a:cubicBezTo>
                        <a:pt x="355" y="281"/>
                        <a:pt x="348" y="279"/>
                        <a:pt x="339" y="277"/>
                      </a:cubicBezTo>
                      <a:cubicBezTo>
                        <a:pt x="333" y="273"/>
                        <a:pt x="327" y="268"/>
                        <a:pt x="320" y="265"/>
                      </a:cubicBezTo>
                      <a:cubicBezTo>
                        <a:pt x="302" y="269"/>
                        <a:pt x="308" y="265"/>
                        <a:pt x="303" y="279"/>
                      </a:cubicBezTo>
                      <a:cubicBezTo>
                        <a:pt x="304" y="292"/>
                        <a:pt x="307" y="298"/>
                        <a:pt x="309" y="309"/>
                      </a:cubicBezTo>
                      <a:cubicBezTo>
                        <a:pt x="308" y="317"/>
                        <a:pt x="301" y="322"/>
                        <a:pt x="297" y="330"/>
                      </a:cubicBezTo>
                      <a:cubicBezTo>
                        <a:pt x="296" y="344"/>
                        <a:pt x="293" y="354"/>
                        <a:pt x="281" y="363"/>
                      </a:cubicBezTo>
                      <a:cubicBezTo>
                        <a:pt x="267" y="357"/>
                        <a:pt x="276" y="311"/>
                        <a:pt x="276" y="310"/>
                      </a:cubicBezTo>
                      <a:cubicBezTo>
                        <a:pt x="275" y="299"/>
                        <a:pt x="276" y="296"/>
                        <a:pt x="270" y="288"/>
                      </a:cubicBezTo>
                      <a:cubicBezTo>
                        <a:pt x="268" y="279"/>
                        <a:pt x="249" y="280"/>
                        <a:pt x="240" y="277"/>
                      </a:cubicBezTo>
                      <a:cubicBezTo>
                        <a:pt x="235" y="267"/>
                        <a:pt x="234" y="236"/>
                        <a:pt x="219" y="232"/>
                      </a:cubicBezTo>
                      <a:cubicBezTo>
                        <a:pt x="216" y="231"/>
                        <a:pt x="196" y="229"/>
                        <a:pt x="188" y="228"/>
                      </a:cubicBezTo>
                      <a:cubicBezTo>
                        <a:pt x="181" y="225"/>
                        <a:pt x="174" y="225"/>
                        <a:pt x="167" y="222"/>
                      </a:cubicBezTo>
                      <a:cubicBezTo>
                        <a:pt x="150" y="214"/>
                        <a:pt x="139" y="186"/>
                        <a:pt x="122" y="180"/>
                      </a:cubicBezTo>
                      <a:cubicBezTo>
                        <a:pt x="111" y="176"/>
                        <a:pt x="116" y="179"/>
                        <a:pt x="108" y="174"/>
                      </a:cubicBezTo>
                      <a:cubicBezTo>
                        <a:pt x="95" y="157"/>
                        <a:pt x="103" y="132"/>
                        <a:pt x="87" y="118"/>
                      </a:cubicBezTo>
                      <a:cubicBezTo>
                        <a:pt x="80" y="112"/>
                        <a:pt x="71" y="111"/>
                        <a:pt x="62" y="109"/>
                      </a:cubicBezTo>
                      <a:cubicBezTo>
                        <a:pt x="54" y="104"/>
                        <a:pt x="49" y="105"/>
                        <a:pt x="39" y="106"/>
                      </a:cubicBezTo>
                      <a:cubicBezTo>
                        <a:pt x="26" y="109"/>
                        <a:pt x="24" y="115"/>
                        <a:pt x="15" y="124"/>
                      </a:cubicBezTo>
                      <a:cubicBezTo>
                        <a:pt x="13" y="126"/>
                        <a:pt x="7" y="131"/>
                        <a:pt x="5" y="129"/>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50" name="Freeform 259"/>
                <p:cNvSpPr>
                  <a:spLocks/>
                </p:cNvSpPr>
                <p:nvPr/>
              </p:nvSpPr>
              <p:spPr bwMode="auto">
                <a:xfrm>
                  <a:off x="4318518" y="2903406"/>
                  <a:ext cx="83986" cy="67948"/>
                </a:xfrm>
                <a:custGeom>
                  <a:avLst/>
                  <a:gdLst>
                    <a:gd name="T0" fmla="*/ 27 w 99"/>
                    <a:gd name="T1" fmla="*/ 3 h 74"/>
                    <a:gd name="T2" fmla="*/ 21 w 99"/>
                    <a:gd name="T3" fmla="*/ 14 h 74"/>
                    <a:gd name="T4" fmla="*/ 7 w 99"/>
                    <a:gd name="T5" fmla="*/ 11 h 74"/>
                    <a:gd name="T6" fmla="*/ 1 w 99"/>
                    <a:gd name="T7" fmla="*/ 27 h 74"/>
                    <a:gd name="T8" fmla="*/ 19 w 99"/>
                    <a:gd name="T9" fmla="*/ 35 h 74"/>
                    <a:gd name="T10" fmla="*/ 64 w 99"/>
                    <a:gd name="T11" fmla="*/ 47 h 74"/>
                    <a:gd name="T12" fmla="*/ 87 w 99"/>
                    <a:gd name="T13" fmla="*/ 74 h 74"/>
                    <a:gd name="T14" fmla="*/ 99 w 99"/>
                    <a:gd name="T15" fmla="*/ 47 h 74"/>
                    <a:gd name="T16" fmla="*/ 93 w 99"/>
                    <a:gd name="T17" fmla="*/ 32 h 74"/>
                    <a:gd name="T18" fmla="*/ 94 w 99"/>
                    <a:gd name="T19" fmla="*/ 6 h 74"/>
                    <a:gd name="T20" fmla="*/ 43 w 99"/>
                    <a:gd name="T21" fmla="*/ 9 h 74"/>
                    <a:gd name="T22" fmla="*/ 27 w 99"/>
                    <a:gd name="T23" fmla="*/ 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4">
                      <a:moveTo>
                        <a:pt x="27" y="3"/>
                      </a:moveTo>
                      <a:cubicBezTo>
                        <a:pt x="26" y="5"/>
                        <a:pt x="24" y="14"/>
                        <a:pt x="21" y="14"/>
                      </a:cubicBezTo>
                      <a:cubicBezTo>
                        <a:pt x="16" y="15"/>
                        <a:pt x="7" y="11"/>
                        <a:pt x="7" y="11"/>
                      </a:cubicBezTo>
                      <a:cubicBezTo>
                        <a:pt x="5" y="16"/>
                        <a:pt x="0" y="21"/>
                        <a:pt x="1" y="27"/>
                      </a:cubicBezTo>
                      <a:cubicBezTo>
                        <a:pt x="2" y="35"/>
                        <a:pt x="14" y="34"/>
                        <a:pt x="19" y="35"/>
                      </a:cubicBezTo>
                      <a:cubicBezTo>
                        <a:pt x="34" y="38"/>
                        <a:pt x="49" y="44"/>
                        <a:pt x="64" y="47"/>
                      </a:cubicBezTo>
                      <a:cubicBezTo>
                        <a:pt x="72" y="57"/>
                        <a:pt x="74" y="69"/>
                        <a:pt x="87" y="74"/>
                      </a:cubicBezTo>
                      <a:cubicBezTo>
                        <a:pt x="95" y="68"/>
                        <a:pt x="97" y="57"/>
                        <a:pt x="99" y="47"/>
                      </a:cubicBezTo>
                      <a:cubicBezTo>
                        <a:pt x="97" y="41"/>
                        <a:pt x="97" y="37"/>
                        <a:pt x="93" y="32"/>
                      </a:cubicBezTo>
                      <a:cubicBezTo>
                        <a:pt x="94" y="22"/>
                        <a:pt x="96" y="16"/>
                        <a:pt x="94" y="6"/>
                      </a:cubicBezTo>
                      <a:cubicBezTo>
                        <a:pt x="85" y="6"/>
                        <a:pt x="56" y="12"/>
                        <a:pt x="43" y="9"/>
                      </a:cubicBezTo>
                      <a:cubicBezTo>
                        <a:pt x="36" y="0"/>
                        <a:pt x="24" y="6"/>
                        <a:pt x="27" y="3"/>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sp>
            <p:nvSpPr>
              <p:cNvPr id="1387" name="Freeform 260"/>
              <p:cNvSpPr>
                <a:spLocks/>
              </p:cNvSpPr>
              <p:nvPr/>
            </p:nvSpPr>
            <p:spPr bwMode="auto">
              <a:xfrm>
                <a:off x="6776615" y="4441192"/>
                <a:ext cx="254028" cy="132381"/>
              </a:xfrm>
              <a:custGeom>
                <a:avLst/>
                <a:gdLst>
                  <a:gd name="T0" fmla="*/ 39 w 156"/>
                  <a:gd name="T1" fmla="*/ 0 h 75"/>
                  <a:gd name="T2" fmla="*/ 13 w 156"/>
                  <a:gd name="T3" fmla="*/ 33 h 75"/>
                  <a:gd name="T4" fmla="*/ 0 w 156"/>
                  <a:gd name="T5" fmla="*/ 41 h 75"/>
                  <a:gd name="T6" fmla="*/ 19 w 156"/>
                  <a:gd name="T7" fmla="*/ 51 h 75"/>
                  <a:gd name="T8" fmla="*/ 57 w 156"/>
                  <a:gd name="T9" fmla="*/ 74 h 75"/>
                  <a:gd name="T10" fmla="*/ 105 w 156"/>
                  <a:gd name="T11" fmla="*/ 57 h 75"/>
                  <a:gd name="T12" fmla="*/ 123 w 156"/>
                  <a:gd name="T13" fmla="*/ 59 h 75"/>
                  <a:gd name="T14" fmla="*/ 141 w 156"/>
                  <a:gd name="T15" fmla="*/ 62 h 75"/>
                  <a:gd name="T16" fmla="*/ 148 w 156"/>
                  <a:gd name="T17" fmla="*/ 50 h 75"/>
                  <a:gd name="T18" fmla="*/ 130 w 156"/>
                  <a:gd name="T19" fmla="*/ 23 h 75"/>
                  <a:gd name="T20" fmla="*/ 100 w 156"/>
                  <a:gd name="T21" fmla="*/ 27 h 75"/>
                  <a:gd name="T22" fmla="*/ 75 w 156"/>
                  <a:gd name="T23" fmla="*/ 17 h 75"/>
                  <a:gd name="T24" fmla="*/ 61 w 156"/>
                  <a:gd name="T25" fmla="*/ 14 h 75"/>
                  <a:gd name="T26" fmla="*/ 48 w 156"/>
                  <a:gd name="T27" fmla="*/ 6 h 75"/>
                  <a:gd name="T28" fmla="*/ 39 w 156"/>
                  <a:gd name="T2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6" h="75">
                    <a:moveTo>
                      <a:pt x="39" y="0"/>
                    </a:moveTo>
                    <a:cubicBezTo>
                      <a:pt x="32" y="18"/>
                      <a:pt x="37" y="29"/>
                      <a:pt x="13" y="33"/>
                    </a:cubicBezTo>
                    <a:cubicBezTo>
                      <a:pt x="8" y="35"/>
                      <a:pt x="4" y="38"/>
                      <a:pt x="0" y="41"/>
                    </a:cubicBezTo>
                    <a:cubicBezTo>
                      <a:pt x="11" y="43"/>
                      <a:pt x="15" y="41"/>
                      <a:pt x="19" y="51"/>
                    </a:cubicBezTo>
                    <a:cubicBezTo>
                      <a:pt x="21" y="67"/>
                      <a:pt x="45" y="75"/>
                      <a:pt x="57" y="74"/>
                    </a:cubicBezTo>
                    <a:cubicBezTo>
                      <a:pt x="74" y="68"/>
                      <a:pt x="86" y="60"/>
                      <a:pt x="105" y="57"/>
                    </a:cubicBezTo>
                    <a:cubicBezTo>
                      <a:pt x="111" y="58"/>
                      <a:pt x="117" y="58"/>
                      <a:pt x="123" y="59"/>
                    </a:cubicBezTo>
                    <a:cubicBezTo>
                      <a:pt x="129" y="60"/>
                      <a:pt x="141" y="62"/>
                      <a:pt x="141" y="62"/>
                    </a:cubicBezTo>
                    <a:cubicBezTo>
                      <a:pt x="142" y="56"/>
                      <a:pt x="143" y="54"/>
                      <a:pt x="148" y="50"/>
                    </a:cubicBezTo>
                    <a:cubicBezTo>
                      <a:pt x="156" y="36"/>
                      <a:pt x="143" y="25"/>
                      <a:pt x="130" y="23"/>
                    </a:cubicBezTo>
                    <a:cubicBezTo>
                      <a:pt x="119" y="24"/>
                      <a:pt x="111" y="26"/>
                      <a:pt x="100" y="27"/>
                    </a:cubicBezTo>
                    <a:cubicBezTo>
                      <a:pt x="92" y="31"/>
                      <a:pt x="82" y="21"/>
                      <a:pt x="75" y="17"/>
                    </a:cubicBezTo>
                    <a:cubicBezTo>
                      <a:pt x="71" y="15"/>
                      <a:pt x="61" y="14"/>
                      <a:pt x="61" y="14"/>
                    </a:cubicBezTo>
                    <a:cubicBezTo>
                      <a:pt x="56" y="12"/>
                      <a:pt x="52" y="9"/>
                      <a:pt x="48" y="6"/>
                    </a:cubicBezTo>
                    <a:cubicBezTo>
                      <a:pt x="45" y="4"/>
                      <a:pt x="39" y="0"/>
                      <a:pt x="39"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88" name="Freeform 261"/>
              <p:cNvSpPr>
                <a:spLocks/>
              </p:cNvSpPr>
              <p:nvPr/>
            </p:nvSpPr>
            <p:spPr bwMode="auto">
              <a:xfrm>
                <a:off x="6787348" y="4548528"/>
                <a:ext cx="239715" cy="171737"/>
              </a:xfrm>
              <a:custGeom>
                <a:avLst/>
                <a:gdLst>
                  <a:gd name="T0" fmla="*/ 16 w 148"/>
                  <a:gd name="T1" fmla="*/ 5 h 98"/>
                  <a:gd name="T2" fmla="*/ 10 w 148"/>
                  <a:gd name="T3" fmla="*/ 23 h 98"/>
                  <a:gd name="T4" fmla="*/ 0 w 148"/>
                  <a:gd name="T5" fmla="*/ 67 h 98"/>
                  <a:gd name="T6" fmla="*/ 30 w 148"/>
                  <a:gd name="T7" fmla="*/ 86 h 98"/>
                  <a:gd name="T8" fmla="*/ 46 w 148"/>
                  <a:gd name="T9" fmla="*/ 98 h 98"/>
                  <a:gd name="T10" fmla="*/ 81 w 148"/>
                  <a:gd name="T11" fmla="*/ 76 h 98"/>
                  <a:gd name="T12" fmla="*/ 123 w 148"/>
                  <a:gd name="T13" fmla="*/ 71 h 98"/>
                  <a:gd name="T14" fmla="*/ 141 w 148"/>
                  <a:gd name="T15" fmla="*/ 40 h 98"/>
                  <a:gd name="T16" fmla="*/ 148 w 148"/>
                  <a:gd name="T17" fmla="*/ 25 h 98"/>
                  <a:gd name="T18" fmla="*/ 129 w 148"/>
                  <a:gd name="T19" fmla="*/ 1 h 98"/>
                  <a:gd name="T20" fmla="*/ 73 w 148"/>
                  <a:gd name="T21" fmla="*/ 5 h 98"/>
                  <a:gd name="T22" fmla="*/ 55 w 148"/>
                  <a:gd name="T23" fmla="*/ 11 h 98"/>
                  <a:gd name="T24" fmla="*/ 36 w 148"/>
                  <a:gd name="T25" fmla="*/ 10 h 98"/>
                  <a:gd name="T26" fmla="*/ 22 w 148"/>
                  <a:gd name="T27" fmla="*/ 4 h 98"/>
                  <a:gd name="T28" fmla="*/ 16 w 148"/>
                  <a:gd name="T29" fmla="*/ 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8" h="98">
                    <a:moveTo>
                      <a:pt x="16" y="5"/>
                    </a:moveTo>
                    <a:cubicBezTo>
                      <a:pt x="15" y="11"/>
                      <a:pt x="13" y="17"/>
                      <a:pt x="10" y="23"/>
                    </a:cubicBezTo>
                    <a:cubicBezTo>
                      <a:pt x="7" y="38"/>
                      <a:pt x="2" y="52"/>
                      <a:pt x="0" y="67"/>
                    </a:cubicBezTo>
                    <a:cubicBezTo>
                      <a:pt x="2" y="81"/>
                      <a:pt x="17" y="85"/>
                      <a:pt x="30" y="86"/>
                    </a:cubicBezTo>
                    <a:cubicBezTo>
                      <a:pt x="36" y="89"/>
                      <a:pt x="41" y="94"/>
                      <a:pt x="46" y="98"/>
                    </a:cubicBezTo>
                    <a:cubicBezTo>
                      <a:pt x="61" y="97"/>
                      <a:pt x="69" y="85"/>
                      <a:pt x="81" y="76"/>
                    </a:cubicBezTo>
                    <a:cubicBezTo>
                      <a:pt x="92" y="67"/>
                      <a:pt x="109" y="72"/>
                      <a:pt x="123" y="71"/>
                    </a:cubicBezTo>
                    <a:cubicBezTo>
                      <a:pt x="133" y="61"/>
                      <a:pt x="129" y="48"/>
                      <a:pt x="141" y="40"/>
                    </a:cubicBezTo>
                    <a:cubicBezTo>
                      <a:pt x="144" y="34"/>
                      <a:pt x="147" y="32"/>
                      <a:pt x="148" y="25"/>
                    </a:cubicBezTo>
                    <a:cubicBezTo>
                      <a:pt x="147" y="9"/>
                      <a:pt x="145" y="3"/>
                      <a:pt x="129" y="1"/>
                    </a:cubicBezTo>
                    <a:cubicBezTo>
                      <a:pt x="73" y="2"/>
                      <a:pt x="97" y="0"/>
                      <a:pt x="73" y="5"/>
                    </a:cubicBezTo>
                    <a:cubicBezTo>
                      <a:pt x="67" y="8"/>
                      <a:pt x="61" y="10"/>
                      <a:pt x="55" y="11"/>
                    </a:cubicBezTo>
                    <a:cubicBezTo>
                      <a:pt x="49" y="14"/>
                      <a:pt x="43" y="11"/>
                      <a:pt x="36" y="10"/>
                    </a:cubicBezTo>
                    <a:cubicBezTo>
                      <a:pt x="31" y="8"/>
                      <a:pt x="28" y="5"/>
                      <a:pt x="22" y="4"/>
                    </a:cubicBezTo>
                    <a:cubicBezTo>
                      <a:pt x="20" y="4"/>
                      <a:pt x="16" y="5"/>
                      <a:pt x="16" y="5"/>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89" name="Freeform 267"/>
              <p:cNvSpPr>
                <a:spLocks/>
              </p:cNvSpPr>
              <p:nvPr/>
            </p:nvSpPr>
            <p:spPr bwMode="auto">
              <a:xfrm>
                <a:off x="6955506" y="4541372"/>
                <a:ext cx="436496" cy="311274"/>
              </a:xfrm>
              <a:custGeom>
                <a:avLst/>
                <a:gdLst>
                  <a:gd name="T0" fmla="*/ 39 w 268"/>
                  <a:gd name="T1" fmla="*/ 16 h 175"/>
                  <a:gd name="T2" fmla="*/ 27 w 268"/>
                  <a:gd name="T3" fmla="*/ 59 h 175"/>
                  <a:gd name="T4" fmla="*/ 17 w 268"/>
                  <a:gd name="T5" fmla="*/ 79 h 175"/>
                  <a:gd name="T6" fmla="*/ 0 w 268"/>
                  <a:gd name="T7" fmla="*/ 77 h 175"/>
                  <a:gd name="T8" fmla="*/ 26 w 268"/>
                  <a:gd name="T9" fmla="*/ 98 h 175"/>
                  <a:gd name="T10" fmla="*/ 48 w 268"/>
                  <a:gd name="T11" fmla="*/ 115 h 175"/>
                  <a:gd name="T12" fmla="*/ 62 w 268"/>
                  <a:gd name="T13" fmla="*/ 122 h 175"/>
                  <a:gd name="T14" fmla="*/ 71 w 268"/>
                  <a:gd name="T15" fmla="*/ 137 h 175"/>
                  <a:gd name="T16" fmla="*/ 77 w 268"/>
                  <a:gd name="T17" fmla="*/ 161 h 175"/>
                  <a:gd name="T18" fmla="*/ 135 w 268"/>
                  <a:gd name="T19" fmla="*/ 170 h 175"/>
                  <a:gd name="T20" fmla="*/ 173 w 268"/>
                  <a:gd name="T21" fmla="*/ 169 h 175"/>
                  <a:gd name="T22" fmla="*/ 185 w 268"/>
                  <a:gd name="T23" fmla="*/ 160 h 175"/>
                  <a:gd name="T24" fmla="*/ 213 w 268"/>
                  <a:gd name="T25" fmla="*/ 164 h 175"/>
                  <a:gd name="T26" fmla="*/ 243 w 268"/>
                  <a:gd name="T27" fmla="*/ 154 h 175"/>
                  <a:gd name="T28" fmla="*/ 254 w 268"/>
                  <a:gd name="T29" fmla="*/ 136 h 175"/>
                  <a:gd name="T30" fmla="*/ 261 w 268"/>
                  <a:gd name="T31" fmla="*/ 122 h 175"/>
                  <a:gd name="T32" fmla="*/ 254 w 268"/>
                  <a:gd name="T33" fmla="*/ 92 h 175"/>
                  <a:gd name="T34" fmla="*/ 228 w 268"/>
                  <a:gd name="T35" fmla="*/ 85 h 175"/>
                  <a:gd name="T36" fmla="*/ 210 w 268"/>
                  <a:gd name="T37" fmla="*/ 77 h 175"/>
                  <a:gd name="T38" fmla="*/ 200 w 268"/>
                  <a:gd name="T39" fmla="*/ 46 h 175"/>
                  <a:gd name="T40" fmla="*/ 180 w 268"/>
                  <a:gd name="T41" fmla="*/ 11 h 175"/>
                  <a:gd name="T42" fmla="*/ 165 w 268"/>
                  <a:gd name="T43" fmla="*/ 7 h 175"/>
                  <a:gd name="T44" fmla="*/ 149 w 268"/>
                  <a:gd name="T45" fmla="*/ 10 h 175"/>
                  <a:gd name="T46" fmla="*/ 113 w 268"/>
                  <a:gd name="T47" fmla="*/ 4 h 175"/>
                  <a:gd name="T48" fmla="*/ 99 w 268"/>
                  <a:gd name="T49" fmla="*/ 14 h 175"/>
                  <a:gd name="T50" fmla="*/ 71 w 268"/>
                  <a:gd name="T51" fmla="*/ 7 h 175"/>
                  <a:gd name="T52" fmla="*/ 51 w 268"/>
                  <a:gd name="T53" fmla="*/ 8 h 175"/>
                  <a:gd name="T54" fmla="*/ 39 w 268"/>
                  <a:gd name="T55" fmla="*/ 1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8" h="175">
                    <a:moveTo>
                      <a:pt x="39" y="16"/>
                    </a:moveTo>
                    <a:cubicBezTo>
                      <a:pt x="48" y="35"/>
                      <a:pt x="37" y="46"/>
                      <a:pt x="27" y="59"/>
                    </a:cubicBezTo>
                    <a:cubicBezTo>
                      <a:pt x="26" y="67"/>
                      <a:pt x="24" y="74"/>
                      <a:pt x="17" y="79"/>
                    </a:cubicBezTo>
                    <a:cubicBezTo>
                      <a:pt x="11" y="76"/>
                      <a:pt x="7" y="76"/>
                      <a:pt x="0" y="77"/>
                    </a:cubicBezTo>
                    <a:cubicBezTo>
                      <a:pt x="3" y="90"/>
                      <a:pt x="13" y="95"/>
                      <a:pt x="26" y="98"/>
                    </a:cubicBezTo>
                    <a:cubicBezTo>
                      <a:pt x="35" y="103"/>
                      <a:pt x="38" y="111"/>
                      <a:pt x="48" y="115"/>
                    </a:cubicBezTo>
                    <a:cubicBezTo>
                      <a:pt x="53" y="121"/>
                      <a:pt x="53" y="126"/>
                      <a:pt x="62" y="122"/>
                    </a:cubicBezTo>
                    <a:cubicBezTo>
                      <a:pt x="69" y="125"/>
                      <a:pt x="68" y="131"/>
                      <a:pt x="71" y="137"/>
                    </a:cubicBezTo>
                    <a:cubicBezTo>
                      <a:pt x="73" y="144"/>
                      <a:pt x="74" y="154"/>
                      <a:pt x="77" y="161"/>
                    </a:cubicBezTo>
                    <a:cubicBezTo>
                      <a:pt x="80" y="175"/>
                      <a:pt x="130" y="170"/>
                      <a:pt x="135" y="170"/>
                    </a:cubicBezTo>
                    <a:cubicBezTo>
                      <a:pt x="148" y="170"/>
                      <a:pt x="160" y="171"/>
                      <a:pt x="173" y="169"/>
                    </a:cubicBezTo>
                    <a:cubicBezTo>
                      <a:pt x="175" y="169"/>
                      <a:pt x="180" y="161"/>
                      <a:pt x="185" y="160"/>
                    </a:cubicBezTo>
                    <a:cubicBezTo>
                      <a:pt x="192" y="156"/>
                      <a:pt x="204" y="163"/>
                      <a:pt x="213" y="164"/>
                    </a:cubicBezTo>
                    <a:cubicBezTo>
                      <a:pt x="240" y="163"/>
                      <a:pt x="252" y="172"/>
                      <a:pt x="243" y="154"/>
                    </a:cubicBezTo>
                    <a:cubicBezTo>
                      <a:pt x="245" y="139"/>
                      <a:pt x="242" y="138"/>
                      <a:pt x="254" y="136"/>
                    </a:cubicBezTo>
                    <a:cubicBezTo>
                      <a:pt x="264" y="131"/>
                      <a:pt x="264" y="137"/>
                      <a:pt x="261" y="122"/>
                    </a:cubicBezTo>
                    <a:cubicBezTo>
                      <a:pt x="263" y="111"/>
                      <a:pt x="268" y="98"/>
                      <a:pt x="254" y="92"/>
                    </a:cubicBezTo>
                    <a:cubicBezTo>
                      <a:pt x="246" y="88"/>
                      <a:pt x="228" y="85"/>
                      <a:pt x="228" y="85"/>
                    </a:cubicBezTo>
                    <a:cubicBezTo>
                      <a:pt x="217" y="86"/>
                      <a:pt x="208" y="90"/>
                      <a:pt x="210" y="77"/>
                    </a:cubicBezTo>
                    <a:cubicBezTo>
                      <a:pt x="209" y="65"/>
                      <a:pt x="207" y="56"/>
                      <a:pt x="200" y="46"/>
                    </a:cubicBezTo>
                    <a:cubicBezTo>
                      <a:pt x="197" y="34"/>
                      <a:pt x="192" y="17"/>
                      <a:pt x="180" y="11"/>
                    </a:cubicBezTo>
                    <a:cubicBezTo>
                      <a:pt x="175" y="4"/>
                      <a:pt x="174" y="5"/>
                      <a:pt x="165" y="7"/>
                    </a:cubicBezTo>
                    <a:cubicBezTo>
                      <a:pt x="159" y="11"/>
                      <a:pt x="156" y="11"/>
                      <a:pt x="149" y="10"/>
                    </a:cubicBezTo>
                    <a:cubicBezTo>
                      <a:pt x="129" y="0"/>
                      <a:pt x="132" y="0"/>
                      <a:pt x="113" y="4"/>
                    </a:cubicBezTo>
                    <a:cubicBezTo>
                      <a:pt x="108" y="8"/>
                      <a:pt x="106" y="13"/>
                      <a:pt x="99" y="14"/>
                    </a:cubicBezTo>
                    <a:cubicBezTo>
                      <a:pt x="88" y="12"/>
                      <a:pt x="82" y="8"/>
                      <a:pt x="71" y="7"/>
                    </a:cubicBezTo>
                    <a:cubicBezTo>
                      <a:pt x="64" y="7"/>
                      <a:pt x="58" y="6"/>
                      <a:pt x="51" y="8"/>
                    </a:cubicBezTo>
                    <a:cubicBezTo>
                      <a:pt x="46" y="9"/>
                      <a:pt x="44" y="19"/>
                      <a:pt x="39" y="16"/>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90" name="Freeform 268"/>
              <p:cNvSpPr>
                <a:spLocks/>
              </p:cNvSpPr>
              <p:nvPr/>
            </p:nvSpPr>
            <p:spPr bwMode="auto">
              <a:xfrm>
                <a:off x="7238157" y="4544952"/>
                <a:ext cx="171737" cy="153846"/>
              </a:xfrm>
              <a:custGeom>
                <a:avLst/>
                <a:gdLst>
                  <a:gd name="T0" fmla="*/ 0 w 105"/>
                  <a:gd name="T1" fmla="*/ 5 h 86"/>
                  <a:gd name="T2" fmla="*/ 23 w 105"/>
                  <a:gd name="T3" fmla="*/ 33 h 86"/>
                  <a:gd name="T4" fmla="*/ 35 w 105"/>
                  <a:gd name="T5" fmla="*/ 59 h 86"/>
                  <a:gd name="T6" fmla="*/ 57 w 105"/>
                  <a:gd name="T7" fmla="*/ 86 h 86"/>
                  <a:gd name="T8" fmla="*/ 75 w 105"/>
                  <a:gd name="T9" fmla="*/ 72 h 86"/>
                  <a:gd name="T10" fmla="*/ 99 w 105"/>
                  <a:gd name="T11" fmla="*/ 74 h 86"/>
                  <a:gd name="T12" fmla="*/ 98 w 105"/>
                  <a:gd name="T13" fmla="*/ 51 h 86"/>
                  <a:gd name="T14" fmla="*/ 77 w 105"/>
                  <a:gd name="T15" fmla="*/ 44 h 86"/>
                  <a:gd name="T16" fmla="*/ 50 w 105"/>
                  <a:gd name="T17" fmla="*/ 11 h 86"/>
                  <a:gd name="T18" fmla="*/ 29 w 105"/>
                  <a:gd name="T19" fmla="*/ 0 h 86"/>
                  <a:gd name="T20" fmla="*/ 6 w 105"/>
                  <a:gd name="T21" fmla="*/ 3 h 86"/>
                  <a:gd name="T22" fmla="*/ 0 w 105"/>
                  <a:gd name="T23" fmla="*/ 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86">
                    <a:moveTo>
                      <a:pt x="0" y="5"/>
                    </a:moveTo>
                    <a:cubicBezTo>
                      <a:pt x="12" y="12"/>
                      <a:pt x="15" y="22"/>
                      <a:pt x="23" y="33"/>
                    </a:cubicBezTo>
                    <a:cubicBezTo>
                      <a:pt x="25" y="42"/>
                      <a:pt x="31" y="51"/>
                      <a:pt x="35" y="59"/>
                    </a:cubicBezTo>
                    <a:cubicBezTo>
                      <a:pt x="37" y="81"/>
                      <a:pt x="35" y="82"/>
                      <a:pt x="57" y="86"/>
                    </a:cubicBezTo>
                    <a:cubicBezTo>
                      <a:pt x="61" y="76"/>
                      <a:pt x="65" y="74"/>
                      <a:pt x="75" y="72"/>
                    </a:cubicBezTo>
                    <a:cubicBezTo>
                      <a:pt x="95" y="75"/>
                      <a:pt x="87" y="76"/>
                      <a:pt x="99" y="74"/>
                    </a:cubicBezTo>
                    <a:cubicBezTo>
                      <a:pt x="102" y="68"/>
                      <a:pt x="105" y="57"/>
                      <a:pt x="98" y="51"/>
                    </a:cubicBezTo>
                    <a:cubicBezTo>
                      <a:pt x="92" y="47"/>
                      <a:pt x="77" y="44"/>
                      <a:pt x="77" y="44"/>
                    </a:cubicBezTo>
                    <a:cubicBezTo>
                      <a:pt x="70" y="37"/>
                      <a:pt x="56" y="16"/>
                      <a:pt x="50" y="11"/>
                    </a:cubicBezTo>
                    <a:cubicBezTo>
                      <a:pt x="44" y="6"/>
                      <a:pt x="29" y="0"/>
                      <a:pt x="29" y="0"/>
                    </a:cubicBezTo>
                    <a:cubicBezTo>
                      <a:pt x="21" y="1"/>
                      <a:pt x="13" y="1"/>
                      <a:pt x="6" y="3"/>
                    </a:cubicBezTo>
                    <a:cubicBezTo>
                      <a:pt x="4" y="4"/>
                      <a:pt x="0" y="5"/>
                      <a:pt x="0" y="5"/>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91" name="Freeform 269"/>
              <p:cNvSpPr>
                <a:spLocks/>
              </p:cNvSpPr>
              <p:nvPr/>
            </p:nvSpPr>
            <p:spPr bwMode="auto">
              <a:xfrm>
                <a:off x="7066420" y="4824024"/>
                <a:ext cx="293383" cy="189624"/>
              </a:xfrm>
              <a:custGeom>
                <a:avLst/>
                <a:gdLst>
                  <a:gd name="T0" fmla="*/ 177 w 181"/>
                  <a:gd name="T1" fmla="*/ 4 h 108"/>
                  <a:gd name="T2" fmla="*/ 169 w 181"/>
                  <a:gd name="T3" fmla="*/ 29 h 108"/>
                  <a:gd name="T4" fmla="*/ 142 w 181"/>
                  <a:gd name="T5" fmla="*/ 77 h 108"/>
                  <a:gd name="T6" fmla="*/ 132 w 181"/>
                  <a:gd name="T7" fmla="*/ 82 h 108"/>
                  <a:gd name="T8" fmla="*/ 121 w 181"/>
                  <a:gd name="T9" fmla="*/ 100 h 108"/>
                  <a:gd name="T10" fmla="*/ 66 w 181"/>
                  <a:gd name="T11" fmla="*/ 95 h 108"/>
                  <a:gd name="T12" fmla="*/ 48 w 181"/>
                  <a:gd name="T13" fmla="*/ 107 h 108"/>
                  <a:gd name="T14" fmla="*/ 30 w 181"/>
                  <a:gd name="T15" fmla="*/ 106 h 108"/>
                  <a:gd name="T16" fmla="*/ 7 w 181"/>
                  <a:gd name="T17" fmla="*/ 91 h 108"/>
                  <a:gd name="T18" fmla="*/ 13 w 181"/>
                  <a:gd name="T19" fmla="*/ 62 h 108"/>
                  <a:gd name="T20" fmla="*/ 6 w 181"/>
                  <a:gd name="T21" fmla="*/ 10 h 108"/>
                  <a:gd name="T22" fmla="*/ 40 w 181"/>
                  <a:gd name="T23" fmla="*/ 13 h 108"/>
                  <a:gd name="T24" fmla="*/ 111 w 181"/>
                  <a:gd name="T25" fmla="*/ 10 h 108"/>
                  <a:gd name="T26" fmla="*/ 123 w 181"/>
                  <a:gd name="T27" fmla="*/ 1 h 108"/>
                  <a:gd name="T28" fmla="*/ 156 w 181"/>
                  <a:gd name="T29" fmla="*/ 8 h 108"/>
                  <a:gd name="T30" fmla="*/ 177 w 181"/>
                  <a:gd name="T31"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108">
                    <a:moveTo>
                      <a:pt x="177" y="4"/>
                    </a:moveTo>
                    <a:cubicBezTo>
                      <a:pt x="179" y="16"/>
                      <a:pt x="181" y="22"/>
                      <a:pt x="169" y="29"/>
                    </a:cubicBezTo>
                    <a:cubicBezTo>
                      <a:pt x="165" y="50"/>
                      <a:pt x="168" y="72"/>
                      <a:pt x="142" y="77"/>
                    </a:cubicBezTo>
                    <a:cubicBezTo>
                      <a:pt x="139" y="79"/>
                      <a:pt x="134" y="79"/>
                      <a:pt x="132" y="82"/>
                    </a:cubicBezTo>
                    <a:cubicBezTo>
                      <a:pt x="124" y="95"/>
                      <a:pt x="133" y="93"/>
                      <a:pt x="121" y="100"/>
                    </a:cubicBezTo>
                    <a:cubicBezTo>
                      <a:pt x="95" y="97"/>
                      <a:pt x="93" y="94"/>
                      <a:pt x="66" y="95"/>
                    </a:cubicBezTo>
                    <a:cubicBezTo>
                      <a:pt x="62" y="102"/>
                      <a:pt x="56" y="106"/>
                      <a:pt x="48" y="107"/>
                    </a:cubicBezTo>
                    <a:cubicBezTo>
                      <a:pt x="42" y="107"/>
                      <a:pt x="36" y="108"/>
                      <a:pt x="30" y="106"/>
                    </a:cubicBezTo>
                    <a:cubicBezTo>
                      <a:pt x="23" y="104"/>
                      <a:pt x="20" y="93"/>
                      <a:pt x="7" y="91"/>
                    </a:cubicBezTo>
                    <a:cubicBezTo>
                      <a:pt x="0" y="79"/>
                      <a:pt x="1" y="71"/>
                      <a:pt x="13" y="62"/>
                    </a:cubicBezTo>
                    <a:cubicBezTo>
                      <a:pt x="17" y="54"/>
                      <a:pt x="10" y="18"/>
                      <a:pt x="6" y="10"/>
                    </a:cubicBezTo>
                    <a:cubicBezTo>
                      <a:pt x="11" y="0"/>
                      <a:pt x="23" y="13"/>
                      <a:pt x="40" y="13"/>
                    </a:cubicBezTo>
                    <a:cubicBezTo>
                      <a:pt x="57" y="13"/>
                      <a:pt x="97" y="12"/>
                      <a:pt x="111" y="10"/>
                    </a:cubicBezTo>
                    <a:cubicBezTo>
                      <a:pt x="116" y="6"/>
                      <a:pt x="116" y="2"/>
                      <a:pt x="123" y="1"/>
                    </a:cubicBezTo>
                    <a:cubicBezTo>
                      <a:pt x="133" y="8"/>
                      <a:pt x="144" y="7"/>
                      <a:pt x="156" y="8"/>
                    </a:cubicBezTo>
                    <a:cubicBezTo>
                      <a:pt x="175" y="10"/>
                      <a:pt x="169" y="9"/>
                      <a:pt x="177" y="4"/>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92" name="Freeform 278"/>
              <p:cNvSpPr>
                <a:spLocks/>
              </p:cNvSpPr>
              <p:nvPr/>
            </p:nvSpPr>
            <p:spPr bwMode="auto">
              <a:xfrm>
                <a:off x="6916152" y="5146660"/>
                <a:ext cx="43909" cy="35093"/>
              </a:xfrm>
              <a:custGeom>
                <a:avLst/>
                <a:gdLst>
                  <a:gd name="T0" fmla="*/ 0 w 27"/>
                  <a:gd name="T1" fmla="*/ 4 h 20"/>
                  <a:gd name="T2" fmla="*/ 18 w 27"/>
                  <a:gd name="T3" fmla="*/ 20 h 20"/>
                  <a:gd name="T4" fmla="*/ 0 w 27"/>
                  <a:gd name="T5" fmla="*/ 4 h 20"/>
                </a:gdLst>
                <a:ahLst/>
                <a:cxnLst>
                  <a:cxn ang="0">
                    <a:pos x="T0" y="T1"/>
                  </a:cxn>
                  <a:cxn ang="0">
                    <a:pos x="T2" y="T3"/>
                  </a:cxn>
                  <a:cxn ang="0">
                    <a:pos x="T4" y="T5"/>
                  </a:cxn>
                </a:cxnLst>
                <a:rect l="0" t="0" r="r" b="b"/>
                <a:pathLst>
                  <a:path w="27" h="20">
                    <a:moveTo>
                      <a:pt x="0" y="4"/>
                    </a:moveTo>
                    <a:cubicBezTo>
                      <a:pt x="4" y="11"/>
                      <a:pt x="10" y="18"/>
                      <a:pt x="18" y="20"/>
                    </a:cubicBezTo>
                    <a:cubicBezTo>
                      <a:pt x="27" y="8"/>
                      <a:pt x="10" y="0"/>
                      <a:pt x="0" y="4"/>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93" name="Freeform 279"/>
              <p:cNvSpPr>
                <a:spLocks/>
              </p:cNvSpPr>
              <p:nvPr/>
            </p:nvSpPr>
            <p:spPr bwMode="auto">
              <a:xfrm>
                <a:off x="7122689" y="5158941"/>
                <a:ext cx="91073" cy="85978"/>
              </a:xfrm>
              <a:custGeom>
                <a:avLst/>
                <a:gdLst>
                  <a:gd name="T0" fmla="*/ 3 w 56"/>
                  <a:gd name="T1" fmla="*/ 0 h 49"/>
                  <a:gd name="T2" fmla="*/ 23 w 56"/>
                  <a:gd name="T3" fmla="*/ 27 h 49"/>
                  <a:gd name="T4" fmla="*/ 35 w 56"/>
                  <a:gd name="T5" fmla="*/ 37 h 49"/>
                  <a:gd name="T6" fmla="*/ 48 w 56"/>
                  <a:gd name="T7" fmla="*/ 49 h 49"/>
                  <a:gd name="T8" fmla="*/ 30 w 56"/>
                  <a:gd name="T9" fmla="*/ 18 h 49"/>
                  <a:gd name="T10" fmla="*/ 3 w 56"/>
                  <a:gd name="T11" fmla="*/ 0 h 49"/>
                </a:gdLst>
                <a:ahLst/>
                <a:cxnLst>
                  <a:cxn ang="0">
                    <a:pos x="T0" y="T1"/>
                  </a:cxn>
                  <a:cxn ang="0">
                    <a:pos x="T2" y="T3"/>
                  </a:cxn>
                  <a:cxn ang="0">
                    <a:pos x="T4" y="T5"/>
                  </a:cxn>
                  <a:cxn ang="0">
                    <a:pos x="T6" y="T7"/>
                  </a:cxn>
                  <a:cxn ang="0">
                    <a:pos x="T8" y="T9"/>
                  </a:cxn>
                  <a:cxn ang="0">
                    <a:pos x="T10" y="T11"/>
                  </a:cxn>
                </a:cxnLst>
                <a:rect l="0" t="0" r="r" b="b"/>
                <a:pathLst>
                  <a:path w="56" h="49">
                    <a:moveTo>
                      <a:pt x="3" y="0"/>
                    </a:moveTo>
                    <a:cubicBezTo>
                      <a:pt x="0" y="17"/>
                      <a:pt x="9" y="22"/>
                      <a:pt x="23" y="27"/>
                    </a:cubicBezTo>
                    <a:cubicBezTo>
                      <a:pt x="28" y="30"/>
                      <a:pt x="32" y="32"/>
                      <a:pt x="35" y="37"/>
                    </a:cubicBezTo>
                    <a:cubicBezTo>
                      <a:pt x="37" y="46"/>
                      <a:pt x="39" y="47"/>
                      <a:pt x="48" y="49"/>
                    </a:cubicBezTo>
                    <a:cubicBezTo>
                      <a:pt x="56" y="33"/>
                      <a:pt x="42" y="25"/>
                      <a:pt x="30" y="18"/>
                    </a:cubicBezTo>
                    <a:cubicBezTo>
                      <a:pt x="23" y="9"/>
                      <a:pt x="8" y="7"/>
                      <a:pt x="3"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94" name="Freeform 286"/>
              <p:cNvSpPr>
                <a:spLocks/>
              </p:cNvSpPr>
              <p:nvPr/>
            </p:nvSpPr>
            <p:spPr bwMode="auto">
              <a:xfrm>
                <a:off x="7225145" y="5157186"/>
                <a:ext cx="63426" cy="42111"/>
              </a:xfrm>
              <a:custGeom>
                <a:avLst/>
                <a:gdLst>
                  <a:gd name="T0" fmla="*/ 5 w 39"/>
                  <a:gd name="T1" fmla="*/ 8 h 24"/>
                  <a:gd name="T2" fmla="*/ 39 w 39"/>
                  <a:gd name="T3" fmla="*/ 16 h 24"/>
                  <a:gd name="T4" fmla="*/ 21 w 39"/>
                  <a:gd name="T5" fmla="*/ 4 h 24"/>
                  <a:gd name="T6" fmla="*/ 5 w 39"/>
                  <a:gd name="T7" fmla="*/ 8 h 24"/>
                </a:gdLst>
                <a:ahLst/>
                <a:cxnLst>
                  <a:cxn ang="0">
                    <a:pos x="T0" y="T1"/>
                  </a:cxn>
                  <a:cxn ang="0">
                    <a:pos x="T2" y="T3"/>
                  </a:cxn>
                  <a:cxn ang="0">
                    <a:pos x="T4" y="T5"/>
                  </a:cxn>
                  <a:cxn ang="0">
                    <a:pos x="T6" y="T7"/>
                  </a:cxn>
                </a:cxnLst>
                <a:rect l="0" t="0" r="r" b="b"/>
                <a:pathLst>
                  <a:path w="39" h="24">
                    <a:moveTo>
                      <a:pt x="5" y="8"/>
                    </a:moveTo>
                    <a:cubicBezTo>
                      <a:pt x="8" y="24"/>
                      <a:pt x="26" y="16"/>
                      <a:pt x="39" y="16"/>
                    </a:cubicBezTo>
                    <a:cubicBezTo>
                      <a:pt x="37" y="7"/>
                      <a:pt x="30" y="5"/>
                      <a:pt x="21" y="4"/>
                    </a:cubicBezTo>
                    <a:cubicBezTo>
                      <a:pt x="2" y="5"/>
                      <a:pt x="0" y="0"/>
                      <a:pt x="5" y="8"/>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95" name="Freeform 290"/>
              <p:cNvSpPr>
                <a:spLocks/>
              </p:cNvSpPr>
              <p:nvPr/>
            </p:nvSpPr>
            <p:spPr bwMode="auto">
              <a:xfrm>
                <a:off x="7345492" y="5376517"/>
                <a:ext cx="35778" cy="42111"/>
              </a:xfrm>
              <a:custGeom>
                <a:avLst/>
                <a:gdLst>
                  <a:gd name="T0" fmla="*/ 10 w 22"/>
                  <a:gd name="T1" fmla="*/ 0 h 24"/>
                  <a:gd name="T2" fmla="*/ 3 w 22"/>
                  <a:gd name="T3" fmla="*/ 14 h 24"/>
                  <a:gd name="T4" fmla="*/ 15 w 22"/>
                  <a:gd name="T5" fmla="*/ 21 h 24"/>
                  <a:gd name="T6" fmla="*/ 22 w 22"/>
                  <a:gd name="T7" fmla="*/ 6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cubicBezTo>
                      <a:pt x="6" y="5"/>
                      <a:pt x="4" y="8"/>
                      <a:pt x="3" y="14"/>
                    </a:cubicBezTo>
                    <a:cubicBezTo>
                      <a:pt x="4" y="23"/>
                      <a:pt x="7" y="24"/>
                      <a:pt x="15" y="21"/>
                    </a:cubicBezTo>
                    <a:cubicBezTo>
                      <a:pt x="19" y="16"/>
                      <a:pt x="21" y="13"/>
                      <a:pt x="22" y="6"/>
                    </a:cubicBezTo>
                    <a:cubicBezTo>
                      <a:pt x="17" y="2"/>
                      <a:pt x="0" y="5"/>
                      <a:pt x="10"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96" name="Freeform 292"/>
              <p:cNvSpPr>
                <a:spLocks/>
              </p:cNvSpPr>
              <p:nvPr/>
            </p:nvSpPr>
            <p:spPr bwMode="auto">
              <a:xfrm>
                <a:off x="7002019" y="4247991"/>
                <a:ext cx="808592" cy="543831"/>
              </a:xfrm>
              <a:custGeom>
                <a:avLst/>
                <a:gdLst>
                  <a:gd name="T0" fmla="*/ 206 w 497"/>
                  <a:gd name="T1" fmla="*/ 253 h 309"/>
                  <a:gd name="T2" fmla="*/ 226 w 497"/>
                  <a:gd name="T3" fmla="*/ 259 h 309"/>
                  <a:gd name="T4" fmla="*/ 238 w 497"/>
                  <a:gd name="T5" fmla="*/ 267 h 309"/>
                  <a:gd name="T6" fmla="*/ 259 w 497"/>
                  <a:gd name="T7" fmla="*/ 268 h 309"/>
                  <a:gd name="T8" fmla="*/ 262 w 497"/>
                  <a:gd name="T9" fmla="*/ 252 h 309"/>
                  <a:gd name="T10" fmla="*/ 272 w 497"/>
                  <a:gd name="T11" fmla="*/ 246 h 309"/>
                  <a:gd name="T12" fmla="*/ 289 w 497"/>
                  <a:gd name="T13" fmla="*/ 228 h 309"/>
                  <a:gd name="T14" fmla="*/ 316 w 497"/>
                  <a:gd name="T15" fmla="*/ 210 h 309"/>
                  <a:gd name="T16" fmla="*/ 313 w 497"/>
                  <a:gd name="T17" fmla="*/ 229 h 309"/>
                  <a:gd name="T18" fmla="*/ 322 w 497"/>
                  <a:gd name="T19" fmla="*/ 255 h 309"/>
                  <a:gd name="T20" fmla="*/ 349 w 497"/>
                  <a:gd name="T21" fmla="*/ 255 h 309"/>
                  <a:gd name="T22" fmla="*/ 341 w 497"/>
                  <a:gd name="T23" fmla="*/ 267 h 309"/>
                  <a:gd name="T24" fmla="*/ 358 w 497"/>
                  <a:gd name="T25" fmla="*/ 286 h 309"/>
                  <a:gd name="T26" fmla="*/ 364 w 497"/>
                  <a:gd name="T27" fmla="*/ 300 h 309"/>
                  <a:gd name="T28" fmla="*/ 371 w 497"/>
                  <a:gd name="T29" fmla="*/ 309 h 309"/>
                  <a:gd name="T30" fmla="*/ 386 w 497"/>
                  <a:gd name="T31" fmla="*/ 307 h 309"/>
                  <a:gd name="T32" fmla="*/ 406 w 497"/>
                  <a:gd name="T33" fmla="*/ 288 h 309"/>
                  <a:gd name="T34" fmla="*/ 434 w 497"/>
                  <a:gd name="T35" fmla="*/ 285 h 309"/>
                  <a:gd name="T36" fmla="*/ 416 w 497"/>
                  <a:gd name="T37" fmla="*/ 261 h 309"/>
                  <a:gd name="T38" fmla="*/ 403 w 497"/>
                  <a:gd name="T39" fmla="*/ 244 h 309"/>
                  <a:gd name="T40" fmla="*/ 404 w 497"/>
                  <a:gd name="T41" fmla="*/ 232 h 309"/>
                  <a:gd name="T42" fmla="*/ 413 w 497"/>
                  <a:gd name="T43" fmla="*/ 225 h 309"/>
                  <a:gd name="T44" fmla="*/ 424 w 497"/>
                  <a:gd name="T45" fmla="*/ 238 h 309"/>
                  <a:gd name="T46" fmla="*/ 460 w 497"/>
                  <a:gd name="T47" fmla="*/ 204 h 309"/>
                  <a:gd name="T48" fmla="*/ 473 w 497"/>
                  <a:gd name="T49" fmla="*/ 178 h 309"/>
                  <a:gd name="T50" fmla="*/ 490 w 497"/>
                  <a:gd name="T51" fmla="*/ 165 h 309"/>
                  <a:gd name="T52" fmla="*/ 496 w 497"/>
                  <a:gd name="T53" fmla="*/ 156 h 309"/>
                  <a:gd name="T54" fmla="*/ 466 w 497"/>
                  <a:gd name="T55" fmla="*/ 108 h 309"/>
                  <a:gd name="T56" fmla="*/ 424 w 497"/>
                  <a:gd name="T57" fmla="*/ 94 h 309"/>
                  <a:gd name="T58" fmla="*/ 377 w 497"/>
                  <a:gd name="T59" fmla="*/ 51 h 309"/>
                  <a:gd name="T60" fmla="*/ 367 w 497"/>
                  <a:gd name="T61" fmla="*/ 13 h 309"/>
                  <a:gd name="T62" fmla="*/ 310 w 497"/>
                  <a:gd name="T63" fmla="*/ 7 h 309"/>
                  <a:gd name="T64" fmla="*/ 292 w 497"/>
                  <a:gd name="T65" fmla="*/ 7 h 309"/>
                  <a:gd name="T66" fmla="*/ 275 w 497"/>
                  <a:gd name="T67" fmla="*/ 27 h 309"/>
                  <a:gd name="T68" fmla="*/ 248 w 497"/>
                  <a:gd name="T69" fmla="*/ 46 h 309"/>
                  <a:gd name="T70" fmla="*/ 232 w 497"/>
                  <a:gd name="T71" fmla="*/ 37 h 309"/>
                  <a:gd name="T72" fmla="*/ 220 w 497"/>
                  <a:gd name="T73" fmla="*/ 28 h 309"/>
                  <a:gd name="T74" fmla="*/ 151 w 497"/>
                  <a:gd name="T75" fmla="*/ 31 h 309"/>
                  <a:gd name="T76" fmla="*/ 122 w 497"/>
                  <a:gd name="T77" fmla="*/ 25 h 309"/>
                  <a:gd name="T78" fmla="*/ 95 w 497"/>
                  <a:gd name="T79" fmla="*/ 22 h 309"/>
                  <a:gd name="T80" fmla="*/ 61 w 497"/>
                  <a:gd name="T81" fmla="*/ 28 h 309"/>
                  <a:gd name="T82" fmla="*/ 50 w 497"/>
                  <a:gd name="T83" fmla="*/ 43 h 309"/>
                  <a:gd name="T84" fmla="*/ 59 w 497"/>
                  <a:gd name="T85" fmla="*/ 67 h 309"/>
                  <a:gd name="T86" fmla="*/ 50 w 497"/>
                  <a:gd name="T87" fmla="*/ 88 h 309"/>
                  <a:gd name="T88" fmla="*/ 41 w 497"/>
                  <a:gd name="T89" fmla="*/ 109 h 309"/>
                  <a:gd name="T90" fmla="*/ 29 w 497"/>
                  <a:gd name="T91" fmla="*/ 133 h 309"/>
                  <a:gd name="T92" fmla="*/ 23 w 497"/>
                  <a:gd name="T93" fmla="*/ 157 h 309"/>
                  <a:gd name="T94" fmla="*/ 5 w 497"/>
                  <a:gd name="T95" fmla="*/ 165 h 309"/>
                  <a:gd name="T96" fmla="*/ 13 w 497"/>
                  <a:gd name="T97" fmla="*/ 181 h 309"/>
                  <a:gd name="T98" fmla="*/ 20 w 497"/>
                  <a:gd name="T99" fmla="*/ 172 h 309"/>
                  <a:gd name="T100" fmla="*/ 55 w 497"/>
                  <a:gd name="T101" fmla="*/ 175 h 309"/>
                  <a:gd name="T102" fmla="*/ 80 w 497"/>
                  <a:gd name="T103" fmla="*/ 183 h 309"/>
                  <a:gd name="T104" fmla="*/ 88 w 497"/>
                  <a:gd name="T105" fmla="*/ 166 h 309"/>
                  <a:gd name="T106" fmla="*/ 121 w 497"/>
                  <a:gd name="T107" fmla="*/ 177 h 309"/>
                  <a:gd name="T108" fmla="*/ 145 w 497"/>
                  <a:gd name="T109" fmla="*/ 172 h 309"/>
                  <a:gd name="T110" fmla="*/ 178 w 497"/>
                  <a:gd name="T111" fmla="*/ 168 h 309"/>
                  <a:gd name="T112" fmla="*/ 208 w 497"/>
                  <a:gd name="T113" fmla="*/ 189 h 309"/>
                  <a:gd name="T114" fmla="*/ 232 w 497"/>
                  <a:gd name="T115" fmla="*/ 214 h 309"/>
                  <a:gd name="T116" fmla="*/ 250 w 497"/>
                  <a:gd name="T117" fmla="*/ 238 h 309"/>
                  <a:gd name="T118" fmla="*/ 208 w 497"/>
                  <a:gd name="T119" fmla="*/ 247 h 309"/>
                  <a:gd name="T120" fmla="*/ 206 w 497"/>
                  <a:gd name="T121" fmla="*/ 25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97" h="309">
                    <a:moveTo>
                      <a:pt x="206" y="253"/>
                    </a:moveTo>
                    <a:cubicBezTo>
                      <a:pt x="212" y="256"/>
                      <a:pt x="219" y="258"/>
                      <a:pt x="226" y="259"/>
                    </a:cubicBezTo>
                    <a:cubicBezTo>
                      <a:pt x="230" y="266"/>
                      <a:pt x="230" y="268"/>
                      <a:pt x="238" y="267"/>
                    </a:cubicBezTo>
                    <a:cubicBezTo>
                      <a:pt x="243" y="258"/>
                      <a:pt x="250" y="267"/>
                      <a:pt x="259" y="268"/>
                    </a:cubicBezTo>
                    <a:cubicBezTo>
                      <a:pt x="266" y="263"/>
                      <a:pt x="268" y="259"/>
                      <a:pt x="262" y="252"/>
                    </a:cubicBezTo>
                    <a:cubicBezTo>
                      <a:pt x="263" y="243"/>
                      <a:pt x="264" y="240"/>
                      <a:pt x="272" y="246"/>
                    </a:cubicBezTo>
                    <a:cubicBezTo>
                      <a:pt x="284" y="242"/>
                      <a:pt x="277" y="230"/>
                      <a:pt x="289" y="228"/>
                    </a:cubicBezTo>
                    <a:cubicBezTo>
                      <a:pt x="300" y="222"/>
                      <a:pt x="302" y="212"/>
                      <a:pt x="316" y="210"/>
                    </a:cubicBezTo>
                    <a:cubicBezTo>
                      <a:pt x="328" y="219"/>
                      <a:pt x="327" y="222"/>
                      <a:pt x="313" y="229"/>
                    </a:cubicBezTo>
                    <a:cubicBezTo>
                      <a:pt x="307" y="239"/>
                      <a:pt x="311" y="251"/>
                      <a:pt x="322" y="255"/>
                    </a:cubicBezTo>
                    <a:cubicBezTo>
                      <a:pt x="332" y="254"/>
                      <a:pt x="341" y="250"/>
                      <a:pt x="349" y="255"/>
                    </a:cubicBezTo>
                    <a:cubicBezTo>
                      <a:pt x="346" y="261"/>
                      <a:pt x="347" y="263"/>
                      <a:pt x="341" y="267"/>
                    </a:cubicBezTo>
                    <a:cubicBezTo>
                      <a:pt x="339" y="281"/>
                      <a:pt x="345" y="284"/>
                      <a:pt x="358" y="286"/>
                    </a:cubicBezTo>
                    <a:cubicBezTo>
                      <a:pt x="359" y="291"/>
                      <a:pt x="361" y="295"/>
                      <a:pt x="364" y="300"/>
                    </a:cubicBezTo>
                    <a:cubicBezTo>
                      <a:pt x="366" y="303"/>
                      <a:pt x="371" y="309"/>
                      <a:pt x="371" y="309"/>
                    </a:cubicBezTo>
                    <a:cubicBezTo>
                      <a:pt x="376" y="308"/>
                      <a:pt x="381" y="308"/>
                      <a:pt x="386" y="307"/>
                    </a:cubicBezTo>
                    <a:cubicBezTo>
                      <a:pt x="395" y="304"/>
                      <a:pt x="397" y="291"/>
                      <a:pt x="406" y="288"/>
                    </a:cubicBezTo>
                    <a:cubicBezTo>
                      <a:pt x="414" y="286"/>
                      <a:pt x="426" y="285"/>
                      <a:pt x="434" y="285"/>
                    </a:cubicBezTo>
                    <a:cubicBezTo>
                      <a:pt x="442" y="269"/>
                      <a:pt x="430" y="264"/>
                      <a:pt x="416" y="261"/>
                    </a:cubicBezTo>
                    <a:cubicBezTo>
                      <a:pt x="406" y="253"/>
                      <a:pt x="409" y="256"/>
                      <a:pt x="403" y="244"/>
                    </a:cubicBezTo>
                    <a:cubicBezTo>
                      <a:pt x="403" y="240"/>
                      <a:pt x="402" y="236"/>
                      <a:pt x="404" y="232"/>
                    </a:cubicBezTo>
                    <a:cubicBezTo>
                      <a:pt x="406" y="229"/>
                      <a:pt x="413" y="225"/>
                      <a:pt x="413" y="225"/>
                    </a:cubicBezTo>
                    <a:cubicBezTo>
                      <a:pt x="417" y="230"/>
                      <a:pt x="418" y="234"/>
                      <a:pt x="424" y="238"/>
                    </a:cubicBezTo>
                    <a:cubicBezTo>
                      <a:pt x="437" y="225"/>
                      <a:pt x="440" y="207"/>
                      <a:pt x="460" y="204"/>
                    </a:cubicBezTo>
                    <a:cubicBezTo>
                      <a:pt x="466" y="194"/>
                      <a:pt x="459" y="185"/>
                      <a:pt x="473" y="178"/>
                    </a:cubicBezTo>
                    <a:cubicBezTo>
                      <a:pt x="478" y="172"/>
                      <a:pt x="484" y="170"/>
                      <a:pt x="490" y="165"/>
                    </a:cubicBezTo>
                    <a:cubicBezTo>
                      <a:pt x="492" y="162"/>
                      <a:pt x="496" y="160"/>
                      <a:pt x="496" y="156"/>
                    </a:cubicBezTo>
                    <a:cubicBezTo>
                      <a:pt x="497" y="140"/>
                      <a:pt x="479" y="115"/>
                      <a:pt x="466" y="108"/>
                    </a:cubicBezTo>
                    <a:cubicBezTo>
                      <a:pt x="458" y="103"/>
                      <a:pt x="433" y="95"/>
                      <a:pt x="424" y="94"/>
                    </a:cubicBezTo>
                    <a:cubicBezTo>
                      <a:pt x="397" y="83"/>
                      <a:pt x="390" y="77"/>
                      <a:pt x="377" y="51"/>
                    </a:cubicBezTo>
                    <a:cubicBezTo>
                      <a:pt x="364" y="36"/>
                      <a:pt x="378" y="20"/>
                      <a:pt x="367" y="13"/>
                    </a:cubicBezTo>
                    <a:cubicBezTo>
                      <a:pt x="356" y="6"/>
                      <a:pt x="322" y="8"/>
                      <a:pt x="310" y="7"/>
                    </a:cubicBezTo>
                    <a:cubicBezTo>
                      <a:pt x="301" y="2"/>
                      <a:pt x="301" y="0"/>
                      <a:pt x="292" y="7"/>
                    </a:cubicBezTo>
                    <a:cubicBezTo>
                      <a:pt x="294" y="15"/>
                      <a:pt x="281" y="23"/>
                      <a:pt x="275" y="27"/>
                    </a:cubicBezTo>
                    <a:cubicBezTo>
                      <a:pt x="264" y="34"/>
                      <a:pt x="259" y="39"/>
                      <a:pt x="248" y="46"/>
                    </a:cubicBezTo>
                    <a:cubicBezTo>
                      <a:pt x="231" y="44"/>
                      <a:pt x="244" y="49"/>
                      <a:pt x="232" y="37"/>
                    </a:cubicBezTo>
                    <a:cubicBezTo>
                      <a:pt x="230" y="35"/>
                      <a:pt x="224" y="30"/>
                      <a:pt x="220" y="28"/>
                    </a:cubicBezTo>
                    <a:cubicBezTo>
                      <a:pt x="198" y="35"/>
                      <a:pt x="174" y="33"/>
                      <a:pt x="151" y="31"/>
                    </a:cubicBezTo>
                    <a:cubicBezTo>
                      <a:pt x="146" y="30"/>
                      <a:pt x="127" y="26"/>
                      <a:pt x="122" y="25"/>
                    </a:cubicBezTo>
                    <a:cubicBezTo>
                      <a:pt x="111" y="19"/>
                      <a:pt x="107" y="21"/>
                      <a:pt x="95" y="22"/>
                    </a:cubicBezTo>
                    <a:cubicBezTo>
                      <a:pt x="80" y="24"/>
                      <a:pt x="74" y="22"/>
                      <a:pt x="61" y="28"/>
                    </a:cubicBezTo>
                    <a:cubicBezTo>
                      <a:pt x="56" y="30"/>
                      <a:pt x="50" y="43"/>
                      <a:pt x="50" y="43"/>
                    </a:cubicBezTo>
                    <a:cubicBezTo>
                      <a:pt x="48" y="53"/>
                      <a:pt x="51" y="61"/>
                      <a:pt x="59" y="67"/>
                    </a:cubicBezTo>
                    <a:cubicBezTo>
                      <a:pt x="66" y="78"/>
                      <a:pt x="58" y="82"/>
                      <a:pt x="50" y="88"/>
                    </a:cubicBezTo>
                    <a:cubicBezTo>
                      <a:pt x="49" y="96"/>
                      <a:pt x="46" y="102"/>
                      <a:pt x="41" y="109"/>
                    </a:cubicBezTo>
                    <a:cubicBezTo>
                      <a:pt x="39" y="118"/>
                      <a:pt x="34" y="125"/>
                      <a:pt x="29" y="133"/>
                    </a:cubicBezTo>
                    <a:cubicBezTo>
                      <a:pt x="30" y="142"/>
                      <a:pt x="36" y="155"/>
                      <a:pt x="23" y="157"/>
                    </a:cubicBezTo>
                    <a:cubicBezTo>
                      <a:pt x="2" y="136"/>
                      <a:pt x="23" y="156"/>
                      <a:pt x="5" y="165"/>
                    </a:cubicBezTo>
                    <a:cubicBezTo>
                      <a:pt x="0" y="172"/>
                      <a:pt x="7" y="177"/>
                      <a:pt x="13" y="181"/>
                    </a:cubicBezTo>
                    <a:cubicBezTo>
                      <a:pt x="16" y="178"/>
                      <a:pt x="16" y="172"/>
                      <a:pt x="20" y="172"/>
                    </a:cubicBezTo>
                    <a:cubicBezTo>
                      <a:pt x="32" y="171"/>
                      <a:pt x="55" y="175"/>
                      <a:pt x="55" y="175"/>
                    </a:cubicBezTo>
                    <a:cubicBezTo>
                      <a:pt x="62" y="180"/>
                      <a:pt x="71" y="181"/>
                      <a:pt x="80" y="183"/>
                    </a:cubicBezTo>
                    <a:cubicBezTo>
                      <a:pt x="84" y="179"/>
                      <a:pt x="83" y="170"/>
                      <a:pt x="88" y="166"/>
                    </a:cubicBezTo>
                    <a:cubicBezTo>
                      <a:pt x="108" y="169"/>
                      <a:pt x="110" y="175"/>
                      <a:pt x="121" y="177"/>
                    </a:cubicBezTo>
                    <a:cubicBezTo>
                      <a:pt x="130" y="177"/>
                      <a:pt x="136" y="173"/>
                      <a:pt x="145" y="172"/>
                    </a:cubicBezTo>
                    <a:cubicBezTo>
                      <a:pt x="154" y="171"/>
                      <a:pt x="168" y="165"/>
                      <a:pt x="178" y="168"/>
                    </a:cubicBezTo>
                    <a:cubicBezTo>
                      <a:pt x="187" y="173"/>
                      <a:pt x="198" y="185"/>
                      <a:pt x="208" y="189"/>
                    </a:cubicBezTo>
                    <a:cubicBezTo>
                      <a:pt x="216" y="197"/>
                      <a:pt x="221" y="212"/>
                      <a:pt x="232" y="214"/>
                    </a:cubicBezTo>
                    <a:cubicBezTo>
                      <a:pt x="245" y="224"/>
                      <a:pt x="242" y="225"/>
                      <a:pt x="250" y="238"/>
                    </a:cubicBezTo>
                    <a:cubicBezTo>
                      <a:pt x="238" y="245"/>
                      <a:pt x="220" y="238"/>
                      <a:pt x="208" y="247"/>
                    </a:cubicBezTo>
                    <a:cubicBezTo>
                      <a:pt x="206" y="252"/>
                      <a:pt x="206" y="250"/>
                      <a:pt x="206" y="253"/>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397" name="Freeform 294"/>
              <p:cNvSpPr>
                <a:spLocks/>
              </p:cNvSpPr>
              <p:nvPr/>
            </p:nvSpPr>
            <p:spPr bwMode="auto">
              <a:xfrm>
                <a:off x="7255082" y="4947437"/>
                <a:ext cx="952667" cy="449040"/>
              </a:xfrm>
              <a:custGeom>
                <a:avLst/>
                <a:gdLst>
                  <a:gd name="T0" fmla="*/ 310 w 585"/>
                  <a:gd name="T1" fmla="*/ 249 h 254"/>
                  <a:gd name="T2" fmla="*/ 324 w 585"/>
                  <a:gd name="T3" fmla="*/ 227 h 254"/>
                  <a:gd name="T4" fmla="*/ 315 w 585"/>
                  <a:gd name="T5" fmla="*/ 207 h 254"/>
                  <a:gd name="T6" fmla="*/ 300 w 585"/>
                  <a:gd name="T7" fmla="*/ 216 h 254"/>
                  <a:gd name="T8" fmla="*/ 264 w 585"/>
                  <a:gd name="T9" fmla="*/ 216 h 254"/>
                  <a:gd name="T10" fmla="*/ 258 w 585"/>
                  <a:gd name="T11" fmla="*/ 225 h 254"/>
                  <a:gd name="T12" fmla="*/ 229 w 585"/>
                  <a:gd name="T13" fmla="*/ 239 h 254"/>
                  <a:gd name="T14" fmla="*/ 199 w 585"/>
                  <a:gd name="T15" fmla="*/ 227 h 254"/>
                  <a:gd name="T16" fmla="*/ 174 w 585"/>
                  <a:gd name="T17" fmla="*/ 206 h 254"/>
                  <a:gd name="T18" fmla="*/ 150 w 585"/>
                  <a:gd name="T19" fmla="*/ 212 h 254"/>
                  <a:gd name="T20" fmla="*/ 136 w 585"/>
                  <a:gd name="T21" fmla="*/ 233 h 254"/>
                  <a:gd name="T22" fmla="*/ 99 w 585"/>
                  <a:gd name="T23" fmla="*/ 236 h 254"/>
                  <a:gd name="T24" fmla="*/ 87 w 585"/>
                  <a:gd name="T25" fmla="*/ 224 h 254"/>
                  <a:gd name="T26" fmla="*/ 61 w 585"/>
                  <a:gd name="T27" fmla="*/ 231 h 254"/>
                  <a:gd name="T28" fmla="*/ 46 w 585"/>
                  <a:gd name="T29" fmla="*/ 221 h 254"/>
                  <a:gd name="T30" fmla="*/ 57 w 585"/>
                  <a:gd name="T31" fmla="*/ 212 h 254"/>
                  <a:gd name="T32" fmla="*/ 70 w 585"/>
                  <a:gd name="T33" fmla="*/ 201 h 254"/>
                  <a:gd name="T34" fmla="*/ 42 w 585"/>
                  <a:gd name="T35" fmla="*/ 197 h 254"/>
                  <a:gd name="T36" fmla="*/ 48 w 585"/>
                  <a:gd name="T37" fmla="*/ 183 h 254"/>
                  <a:gd name="T38" fmla="*/ 54 w 585"/>
                  <a:gd name="T39" fmla="*/ 167 h 254"/>
                  <a:gd name="T40" fmla="*/ 19 w 585"/>
                  <a:gd name="T41" fmla="*/ 158 h 254"/>
                  <a:gd name="T42" fmla="*/ 33 w 585"/>
                  <a:gd name="T43" fmla="*/ 132 h 254"/>
                  <a:gd name="T44" fmla="*/ 7 w 585"/>
                  <a:gd name="T45" fmla="*/ 111 h 254"/>
                  <a:gd name="T46" fmla="*/ 12 w 585"/>
                  <a:gd name="T47" fmla="*/ 95 h 254"/>
                  <a:gd name="T48" fmla="*/ 28 w 585"/>
                  <a:gd name="T49" fmla="*/ 86 h 254"/>
                  <a:gd name="T50" fmla="*/ 60 w 585"/>
                  <a:gd name="T51" fmla="*/ 71 h 254"/>
                  <a:gd name="T52" fmla="*/ 73 w 585"/>
                  <a:gd name="T53" fmla="*/ 83 h 254"/>
                  <a:gd name="T54" fmla="*/ 75 w 585"/>
                  <a:gd name="T55" fmla="*/ 95 h 254"/>
                  <a:gd name="T56" fmla="*/ 88 w 585"/>
                  <a:gd name="T57" fmla="*/ 80 h 254"/>
                  <a:gd name="T58" fmla="*/ 111 w 585"/>
                  <a:gd name="T59" fmla="*/ 74 h 254"/>
                  <a:gd name="T60" fmla="*/ 78 w 585"/>
                  <a:gd name="T61" fmla="*/ 48 h 254"/>
                  <a:gd name="T62" fmla="*/ 109 w 585"/>
                  <a:gd name="T63" fmla="*/ 39 h 254"/>
                  <a:gd name="T64" fmla="*/ 141 w 585"/>
                  <a:gd name="T65" fmla="*/ 42 h 254"/>
                  <a:gd name="T66" fmla="*/ 178 w 585"/>
                  <a:gd name="T67" fmla="*/ 24 h 254"/>
                  <a:gd name="T68" fmla="*/ 250 w 585"/>
                  <a:gd name="T69" fmla="*/ 5 h 254"/>
                  <a:gd name="T70" fmla="*/ 271 w 585"/>
                  <a:gd name="T71" fmla="*/ 5 h 254"/>
                  <a:gd name="T72" fmla="*/ 285 w 585"/>
                  <a:gd name="T73" fmla="*/ 27 h 254"/>
                  <a:gd name="T74" fmla="*/ 298 w 585"/>
                  <a:gd name="T75" fmla="*/ 24 h 254"/>
                  <a:gd name="T76" fmla="*/ 313 w 585"/>
                  <a:gd name="T77" fmla="*/ 32 h 254"/>
                  <a:gd name="T78" fmla="*/ 351 w 585"/>
                  <a:gd name="T79" fmla="*/ 39 h 254"/>
                  <a:gd name="T80" fmla="*/ 382 w 585"/>
                  <a:gd name="T81" fmla="*/ 39 h 254"/>
                  <a:gd name="T82" fmla="*/ 493 w 585"/>
                  <a:gd name="T83" fmla="*/ 51 h 254"/>
                  <a:gd name="T84" fmla="*/ 510 w 585"/>
                  <a:gd name="T85" fmla="*/ 63 h 254"/>
                  <a:gd name="T86" fmla="*/ 523 w 585"/>
                  <a:gd name="T87" fmla="*/ 90 h 254"/>
                  <a:gd name="T88" fmla="*/ 552 w 585"/>
                  <a:gd name="T89" fmla="*/ 104 h 254"/>
                  <a:gd name="T90" fmla="*/ 567 w 585"/>
                  <a:gd name="T91" fmla="*/ 134 h 254"/>
                  <a:gd name="T92" fmla="*/ 579 w 585"/>
                  <a:gd name="T93" fmla="*/ 168 h 254"/>
                  <a:gd name="T94" fmla="*/ 585 w 585"/>
                  <a:gd name="T95" fmla="*/ 189 h 254"/>
                  <a:gd name="T96" fmla="*/ 574 w 585"/>
                  <a:gd name="T97" fmla="*/ 212 h 254"/>
                  <a:gd name="T98" fmla="*/ 552 w 585"/>
                  <a:gd name="T99" fmla="*/ 201 h 254"/>
                  <a:gd name="T100" fmla="*/ 511 w 585"/>
                  <a:gd name="T101" fmla="*/ 213 h 254"/>
                  <a:gd name="T102" fmla="*/ 480 w 585"/>
                  <a:gd name="T103" fmla="*/ 209 h 254"/>
                  <a:gd name="T104" fmla="*/ 454 w 585"/>
                  <a:gd name="T105" fmla="*/ 215 h 254"/>
                  <a:gd name="T106" fmla="*/ 408 w 585"/>
                  <a:gd name="T107" fmla="*/ 225 h 254"/>
                  <a:gd name="T108" fmla="*/ 391 w 585"/>
                  <a:gd name="T109" fmla="*/ 216 h 254"/>
                  <a:gd name="T110" fmla="*/ 354 w 585"/>
                  <a:gd name="T111" fmla="*/ 242 h 254"/>
                  <a:gd name="T112" fmla="*/ 331 w 585"/>
                  <a:gd name="T113" fmla="*/ 242 h 254"/>
                  <a:gd name="T114" fmla="*/ 316 w 585"/>
                  <a:gd name="T115" fmla="*/ 254 h 254"/>
                  <a:gd name="T116" fmla="*/ 310 w 585"/>
                  <a:gd name="T117" fmla="*/ 24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5" h="254">
                    <a:moveTo>
                      <a:pt x="310" y="249"/>
                    </a:moveTo>
                    <a:cubicBezTo>
                      <a:pt x="301" y="237"/>
                      <a:pt x="314" y="233"/>
                      <a:pt x="324" y="227"/>
                    </a:cubicBezTo>
                    <a:cubicBezTo>
                      <a:pt x="326" y="215"/>
                      <a:pt x="327" y="213"/>
                      <a:pt x="315" y="207"/>
                    </a:cubicBezTo>
                    <a:cubicBezTo>
                      <a:pt x="310" y="210"/>
                      <a:pt x="305" y="212"/>
                      <a:pt x="300" y="216"/>
                    </a:cubicBezTo>
                    <a:cubicBezTo>
                      <a:pt x="288" y="216"/>
                      <a:pt x="275" y="211"/>
                      <a:pt x="264" y="216"/>
                    </a:cubicBezTo>
                    <a:cubicBezTo>
                      <a:pt x="261" y="218"/>
                      <a:pt x="261" y="223"/>
                      <a:pt x="258" y="225"/>
                    </a:cubicBezTo>
                    <a:cubicBezTo>
                      <a:pt x="250" y="230"/>
                      <a:pt x="238" y="236"/>
                      <a:pt x="229" y="239"/>
                    </a:cubicBezTo>
                    <a:cubicBezTo>
                      <a:pt x="217" y="235"/>
                      <a:pt x="212" y="230"/>
                      <a:pt x="199" y="227"/>
                    </a:cubicBezTo>
                    <a:cubicBezTo>
                      <a:pt x="184" y="218"/>
                      <a:pt x="197" y="210"/>
                      <a:pt x="174" y="206"/>
                    </a:cubicBezTo>
                    <a:cubicBezTo>
                      <a:pt x="169" y="207"/>
                      <a:pt x="155" y="210"/>
                      <a:pt x="150" y="212"/>
                    </a:cubicBezTo>
                    <a:cubicBezTo>
                      <a:pt x="145" y="214"/>
                      <a:pt x="144" y="231"/>
                      <a:pt x="136" y="233"/>
                    </a:cubicBezTo>
                    <a:cubicBezTo>
                      <a:pt x="124" y="235"/>
                      <a:pt x="99" y="236"/>
                      <a:pt x="99" y="236"/>
                    </a:cubicBezTo>
                    <a:cubicBezTo>
                      <a:pt x="93" y="232"/>
                      <a:pt x="92" y="228"/>
                      <a:pt x="87" y="224"/>
                    </a:cubicBezTo>
                    <a:cubicBezTo>
                      <a:pt x="76" y="225"/>
                      <a:pt x="71" y="229"/>
                      <a:pt x="61" y="231"/>
                    </a:cubicBezTo>
                    <a:cubicBezTo>
                      <a:pt x="53" y="235"/>
                      <a:pt x="49" y="228"/>
                      <a:pt x="46" y="221"/>
                    </a:cubicBezTo>
                    <a:cubicBezTo>
                      <a:pt x="49" y="215"/>
                      <a:pt x="50" y="213"/>
                      <a:pt x="57" y="212"/>
                    </a:cubicBezTo>
                    <a:cubicBezTo>
                      <a:pt x="60" y="211"/>
                      <a:pt x="69" y="205"/>
                      <a:pt x="70" y="201"/>
                    </a:cubicBezTo>
                    <a:cubicBezTo>
                      <a:pt x="72" y="189"/>
                      <a:pt x="47" y="197"/>
                      <a:pt x="42" y="197"/>
                    </a:cubicBezTo>
                    <a:cubicBezTo>
                      <a:pt x="39" y="188"/>
                      <a:pt x="53" y="191"/>
                      <a:pt x="48" y="183"/>
                    </a:cubicBezTo>
                    <a:cubicBezTo>
                      <a:pt x="53" y="176"/>
                      <a:pt x="46" y="169"/>
                      <a:pt x="54" y="167"/>
                    </a:cubicBezTo>
                    <a:cubicBezTo>
                      <a:pt x="49" y="153"/>
                      <a:pt x="34" y="159"/>
                      <a:pt x="19" y="158"/>
                    </a:cubicBezTo>
                    <a:cubicBezTo>
                      <a:pt x="15" y="145"/>
                      <a:pt x="18" y="133"/>
                      <a:pt x="33" y="132"/>
                    </a:cubicBezTo>
                    <a:cubicBezTo>
                      <a:pt x="32" y="101"/>
                      <a:pt x="27" y="121"/>
                      <a:pt x="7" y="111"/>
                    </a:cubicBezTo>
                    <a:cubicBezTo>
                      <a:pt x="0" y="102"/>
                      <a:pt x="0" y="97"/>
                      <a:pt x="12" y="95"/>
                    </a:cubicBezTo>
                    <a:cubicBezTo>
                      <a:pt x="17" y="87"/>
                      <a:pt x="19" y="87"/>
                      <a:pt x="28" y="86"/>
                    </a:cubicBezTo>
                    <a:cubicBezTo>
                      <a:pt x="40" y="81"/>
                      <a:pt x="47" y="74"/>
                      <a:pt x="60" y="71"/>
                    </a:cubicBezTo>
                    <a:cubicBezTo>
                      <a:pt x="64" y="75"/>
                      <a:pt x="70" y="78"/>
                      <a:pt x="73" y="83"/>
                    </a:cubicBezTo>
                    <a:cubicBezTo>
                      <a:pt x="75" y="86"/>
                      <a:pt x="72" y="93"/>
                      <a:pt x="75" y="95"/>
                    </a:cubicBezTo>
                    <a:cubicBezTo>
                      <a:pt x="76" y="96"/>
                      <a:pt x="86" y="81"/>
                      <a:pt x="88" y="80"/>
                    </a:cubicBezTo>
                    <a:cubicBezTo>
                      <a:pt x="95" y="75"/>
                      <a:pt x="103" y="75"/>
                      <a:pt x="111" y="74"/>
                    </a:cubicBezTo>
                    <a:cubicBezTo>
                      <a:pt x="112" y="59"/>
                      <a:pt x="91" y="57"/>
                      <a:pt x="78" y="48"/>
                    </a:cubicBezTo>
                    <a:cubicBezTo>
                      <a:pt x="78" y="43"/>
                      <a:pt x="92" y="43"/>
                      <a:pt x="109" y="39"/>
                    </a:cubicBezTo>
                    <a:cubicBezTo>
                      <a:pt x="119" y="38"/>
                      <a:pt x="130" y="44"/>
                      <a:pt x="141" y="42"/>
                    </a:cubicBezTo>
                    <a:cubicBezTo>
                      <a:pt x="152" y="40"/>
                      <a:pt x="160" y="30"/>
                      <a:pt x="178" y="24"/>
                    </a:cubicBezTo>
                    <a:cubicBezTo>
                      <a:pt x="193" y="6"/>
                      <a:pt x="229" y="7"/>
                      <a:pt x="250" y="5"/>
                    </a:cubicBezTo>
                    <a:cubicBezTo>
                      <a:pt x="266" y="1"/>
                      <a:pt x="260" y="0"/>
                      <a:pt x="271" y="5"/>
                    </a:cubicBezTo>
                    <a:cubicBezTo>
                      <a:pt x="278" y="14"/>
                      <a:pt x="274" y="22"/>
                      <a:pt x="285" y="27"/>
                    </a:cubicBezTo>
                    <a:cubicBezTo>
                      <a:pt x="289" y="27"/>
                      <a:pt x="294" y="24"/>
                      <a:pt x="298" y="24"/>
                    </a:cubicBezTo>
                    <a:cubicBezTo>
                      <a:pt x="304" y="24"/>
                      <a:pt x="308" y="30"/>
                      <a:pt x="313" y="32"/>
                    </a:cubicBezTo>
                    <a:cubicBezTo>
                      <a:pt x="325" y="37"/>
                      <a:pt x="338" y="38"/>
                      <a:pt x="351" y="39"/>
                    </a:cubicBezTo>
                    <a:cubicBezTo>
                      <a:pt x="363" y="41"/>
                      <a:pt x="371" y="44"/>
                      <a:pt x="382" y="39"/>
                    </a:cubicBezTo>
                    <a:cubicBezTo>
                      <a:pt x="420" y="41"/>
                      <a:pt x="455" y="50"/>
                      <a:pt x="493" y="51"/>
                    </a:cubicBezTo>
                    <a:cubicBezTo>
                      <a:pt x="504" y="53"/>
                      <a:pt x="507" y="53"/>
                      <a:pt x="510" y="63"/>
                    </a:cubicBezTo>
                    <a:cubicBezTo>
                      <a:pt x="511" y="74"/>
                      <a:pt x="514" y="83"/>
                      <a:pt x="523" y="90"/>
                    </a:cubicBezTo>
                    <a:cubicBezTo>
                      <a:pt x="528" y="102"/>
                      <a:pt x="541" y="102"/>
                      <a:pt x="552" y="104"/>
                    </a:cubicBezTo>
                    <a:cubicBezTo>
                      <a:pt x="562" y="111"/>
                      <a:pt x="563" y="123"/>
                      <a:pt x="567" y="134"/>
                    </a:cubicBezTo>
                    <a:cubicBezTo>
                      <a:pt x="569" y="146"/>
                      <a:pt x="569" y="160"/>
                      <a:pt x="579" y="168"/>
                    </a:cubicBezTo>
                    <a:cubicBezTo>
                      <a:pt x="583" y="175"/>
                      <a:pt x="581" y="182"/>
                      <a:pt x="585" y="189"/>
                    </a:cubicBezTo>
                    <a:cubicBezTo>
                      <a:pt x="583" y="199"/>
                      <a:pt x="584" y="208"/>
                      <a:pt x="574" y="212"/>
                    </a:cubicBezTo>
                    <a:cubicBezTo>
                      <a:pt x="566" y="209"/>
                      <a:pt x="560" y="205"/>
                      <a:pt x="552" y="201"/>
                    </a:cubicBezTo>
                    <a:cubicBezTo>
                      <a:pt x="507" y="204"/>
                      <a:pt x="525" y="195"/>
                      <a:pt x="511" y="213"/>
                    </a:cubicBezTo>
                    <a:cubicBezTo>
                      <a:pt x="501" y="212"/>
                      <a:pt x="490" y="210"/>
                      <a:pt x="480" y="209"/>
                    </a:cubicBezTo>
                    <a:cubicBezTo>
                      <a:pt x="471" y="211"/>
                      <a:pt x="463" y="213"/>
                      <a:pt x="454" y="215"/>
                    </a:cubicBezTo>
                    <a:cubicBezTo>
                      <a:pt x="443" y="223"/>
                      <a:pt x="421" y="224"/>
                      <a:pt x="408" y="225"/>
                    </a:cubicBezTo>
                    <a:cubicBezTo>
                      <a:pt x="399" y="224"/>
                      <a:pt x="398" y="223"/>
                      <a:pt x="391" y="216"/>
                    </a:cubicBezTo>
                    <a:cubicBezTo>
                      <a:pt x="373" y="220"/>
                      <a:pt x="368" y="235"/>
                      <a:pt x="354" y="242"/>
                    </a:cubicBezTo>
                    <a:cubicBezTo>
                      <a:pt x="345" y="239"/>
                      <a:pt x="340" y="239"/>
                      <a:pt x="331" y="242"/>
                    </a:cubicBezTo>
                    <a:cubicBezTo>
                      <a:pt x="325" y="246"/>
                      <a:pt x="324" y="251"/>
                      <a:pt x="316" y="254"/>
                    </a:cubicBezTo>
                    <a:cubicBezTo>
                      <a:pt x="316" y="254"/>
                      <a:pt x="307" y="240"/>
                      <a:pt x="310" y="249"/>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nvGrpSpPr>
              <p:cNvPr id="1398" name="Gruppieren 307"/>
              <p:cNvGrpSpPr/>
              <p:nvPr/>
            </p:nvGrpSpPr>
            <p:grpSpPr>
              <a:xfrm>
                <a:off x="6901839" y="4924203"/>
                <a:ext cx="465611" cy="529520"/>
                <a:chOff x="4497970" y="2744552"/>
                <a:chExt cx="241930" cy="275137"/>
              </a:xfrm>
              <a:grpFill/>
            </p:grpSpPr>
            <p:sp>
              <p:nvSpPr>
                <p:cNvPr id="1430" name="Freeform 266"/>
                <p:cNvSpPr>
                  <a:spLocks/>
                </p:cNvSpPr>
                <p:nvPr/>
              </p:nvSpPr>
              <p:spPr bwMode="auto">
                <a:xfrm>
                  <a:off x="4497970" y="2744552"/>
                  <a:ext cx="66925" cy="128273"/>
                </a:xfrm>
                <a:custGeom>
                  <a:avLst/>
                  <a:gdLst>
                    <a:gd name="T0" fmla="*/ 5 w 78"/>
                    <a:gd name="T1" fmla="*/ 16 h 140"/>
                    <a:gd name="T2" fmla="*/ 13 w 78"/>
                    <a:gd name="T3" fmla="*/ 10 h 140"/>
                    <a:gd name="T4" fmla="*/ 22 w 78"/>
                    <a:gd name="T5" fmla="*/ 3 h 140"/>
                    <a:gd name="T6" fmla="*/ 44 w 78"/>
                    <a:gd name="T7" fmla="*/ 28 h 140"/>
                    <a:gd name="T8" fmla="*/ 49 w 78"/>
                    <a:gd name="T9" fmla="*/ 49 h 140"/>
                    <a:gd name="T10" fmla="*/ 58 w 78"/>
                    <a:gd name="T11" fmla="*/ 61 h 140"/>
                    <a:gd name="T12" fmla="*/ 70 w 78"/>
                    <a:gd name="T13" fmla="*/ 73 h 140"/>
                    <a:gd name="T14" fmla="*/ 56 w 78"/>
                    <a:gd name="T15" fmla="*/ 105 h 140"/>
                    <a:gd name="T16" fmla="*/ 47 w 78"/>
                    <a:gd name="T17" fmla="*/ 133 h 140"/>
                    <a:gd name="T18" fmla="*/ 46 w 78"/>
                    <a:gd name="T19" fmla="*/ 138 h 140"/>
                    <a:gd name="T20" fmla="*/ 37 w 78"/>
                    <a:gd name="T21" fmla="*/ 123 h 140"/>
                    <a:gd name="T22" fmla="*/ 5 w 78"/>
                    <a:gd name="T23" fmla="*/ 93 h 140"/>
                    <a:gd name="T24" fmla="*/ 10 w 78"/>
                    <a:gd name="T25" fmla="*/ 67 h 140"/>
                    <a:gd name="T26" fmla="*/ 8 w 78"/>
                    <a:gd name="T27" fmla="*/ 39 h 140"/>
                    <a:gd name="T28" fmla="*/ 5 w 78"/>
                    <a:gd name="T29" fmla="*/ 1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140">
                      <a:moveTo>
                        <a:pt x="5" y="16"/>
                      </a:moveTo>
                      <a:cubicBezTo>
                        <a:pt x="10" y="11"/>
                        <a:pt x="7" y="13"/>
                        <a:pt x="13" y="10"/>
                      </a:cubicBezTo>
                      <a:cubicBezTo>
                        <a:pt x="17" y="4"/>
                        <a:pt x="14" y="0"/>
                        <a:pt x="22" y="3"/>
                      </a:cubicBezTo>
                      <a:cubicBezTo>
                        <a:pt x="24" y="14"/>
                        <a:pt x="36" y="20"/>
                        <a:pt x="44" y="28"/>
                      </a:cubicBezTo>
                      <a:cubicBezTo>
                        <a:pt x="47" y="35"/>
                        <a:pt x="46" y="42"/>
                        <a:pt x="49" y="49"/>
                      </a:cubicBezTo>
                      <a:cubicBezTo>
                        <a:pt x="50" y="56"/>
                        <a:pt x="52" y="57"/>
                        <a:pt x="58" y="61"/>
                      </a:cubicBezTo>
                      <a:cubicBezTo>
                        <a:pt x="62" y="67"/>
                        <a:pt x="63" y="72"/>
                        <a:pt x="70" y="73"/>
                      </a:cubicBezTo>
                      <a:cubicBezTo>
                        <a:pt x="78" y="86"/>
                        <a:pt x="69" y="102"/>
                        <a:pt x="56" y="105"/>
                      </a:cubicBezTo>
                      <a:cubicBezTo>
                        <a:pt x="50" y="114"/>
                        <a:pt x="54" y="124"/>
                        <a:pt x="47" y="133"/>
                      </a:cubicBezTo>
                      <a:cubicBezTo>
                        <a:pt x="47" y="135"/>
                        <a:pt x="48" y="137"/>
                        <a:pt x="46" y="138"/>
                      </a:cubicBezTo>
                      <a:cubicBezTo>
                        <a:pt x="40" y="140"/>
                        <a:pt x="40" y="128"/>
                        <a:pt x="37" y="123"/>
                      </a:cubicBezTo>
                      <a:cubicBezTo>
                        <a:pt x="31" y="112"/>
                        <a:pt x="13" y="104"/>
                        <a:pt x="5" y="93"/>
                      </a:cubicBezTo>
                      <a:cubicBezTo>
                        <a:pt x="3" y="82"/>
                        <a:pt x="6" y="76"/>
                        <a:pt x="10" y="67"/>
                      </a:cubicBezTo>
                      <a:cubicBezTo>
                        <a:pt x="9" y="58"/>
                        <a:pt x="10" y="48"/>
                        <a:pt x="8" y="39"/>
                      </a:cubicBezTo>
                      <a:cubicBezTo>
                        <a:pt x="6" y="32"/>
                        <a:pt x="0" y="24"/>
                        <a:pt x="5" y="16"/>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31" name="Freeform 270"/>
                <p:cNvSpPr>
                  <a:spLocks/>
                </p:cNvSpPr>
                <p:nvPr/>
              </p:nvSpPr>
              <p:spPr bwMode="auto">
                <a:xfrm>
                  <a:off x="4533292" y="2765000"/>
                  <a:ext cx="72503" cy="52053"/>
                </a:xfrm>
                <a:custGeom>
                  <a:avLst/>
                  <a:gdLst>
                    <a:gd name="T0" fmla="*/ 86 w 86"/>
                    <a:gd name="T1" fmla="*/ 28 h 57"/>
                    <a:gd name="T2" fmla="*/ 44 w 86"/>
                    <a:gd name="T3" fmla="*/ 6 h 57"/>
                    <a:gd name="T4" fmla="*/ 2 w 86"/>
                    <a:gd name="T5" fmla="*/ 13 h 57"/>
                    <a:gd name="T6" fmla="*/ 10 w 86"/>
                    <a:gd name="T7" fmla="*/ 36 h 57"/>
                    <a:gd name="T8" fmla="*/ 19 w 86"/>
                    <a:gd name="T9" fmla="*/ 49 h 57"/>
                    <a:gd name="T10" fmla="*/ 31 w 86"/>
                    <a:gd name="T11" fmla="*/ 52 h 57"/>
                    <a:gd name="T12" fmla="*/ 40 w 86"/>
                    <a:gd name="T13" fmla="*/ 45 h 57"/>
                    <a:gd name="T14" fmla="*/ 56 w 86"/>
                    <a:gd name="T15" fmla="*/ 46 h 57"/>
                    <a:gd name="T16" fmla="*/ 82 w 86"/>
                    <a:gd name="T17" fmla="*/ 42 h 57"/>
                    <a:gd name="T18" fmla="*/ 86 w 86"/>
                    <a:gd name="T1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57">
                      <a:moveTo>
                        <a:pt x="86" y="28"/>
                      </a:moveTo>
                      <a:cubicBezTo>
                        <a:pt x="72" y="14"/>
                        <a:pt x="65" y="7"/>
                        <a:pt x="44" y="6"/>
                      </a:cubicBezTo>
                      <a:cubicBezTo>
                        <a:pt x="31" y="0"/>
                        <a:pt x="15" y="11"/>
                        <a:pt x="2" y="13"/>
                      </a:cubicBezTo>
                      <a:cubicBezTo>
                        <a:pt x="0" y="21"/>
                        <a:pt x="7" y="28"/>
                        <a:pt x="10" y="36"/>
                      </a:cubicBezTo>
                      <a:cubicBezTo>
                        <a:pt x="11" y="44"/>
                        <a:pt x="15" y="43"/>
                        <a:pt x="19" y="49"/>
                      </a:cubicBezTo>
                      <a:cubicBezTo>
                        <a:pt x="21" y="57"/>
                        <a:pt x="24" y="51"/>
                        <a:pt x="31" y="52"/>
                      </a:cubicBezTo>
                      <a:cubicBezTo>
                        <a:pt x="27" y="44"/>
                        <a:pt x="33" y="46"/>
                        <a:pt x="40" y="45"/>
                      </a:cubicBezTo>
                      <a:cubicBezTo>
                        <a:pt x="46" y="42"/>
                        <a:pt x="50" y="45"/>
                        <a:pt x="56" y="46"/>
                      </a:cubicBezTo>
                      <a:cubicBezTo>
                        <a:pt x="65" y="46"/>
                        <a:pt x="78" y="50"/>
                        <a:pt x="82" y="42"/>
                      </a:cubicBezTo>
                      <a:cubicBezTo>
                        <a:pt x="84" y="38"/>
                        <a:pt x="86" y="28"/>
                        <a:pt x="86" y="28"/>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32" name="Freeform 273"/>
                <p:cNvSpPr>
                  <a:spLocks/>
                </p:cNvSpPr>
                <p:nvPr/>
              </p:nvSpPr>
              <p:spPr bwMode="auto">
                <a:xfrm>
                  <a:off x="4607653" y="2995072"/>
                  <a:ext cx="84501" cy="24617"/>
                </a:xfrm>
                <a:custGeom>
                  <a:avLst/>
                  <a:gdLst>
                    <a:gd name="T0" fmla="*/ 3 w 100"/>
                    <a:gd name="T1" fmla="*/ 9 h 27"/>
                    <a:gd name="T2" fmla="*/ 48 w 100"/>
                    <a:gd name="T3" fmla="*/ 22 h 27"/>
                    <a:gd name="T4" fmla="*/ 75 w 100"/>
                    <a:gd name="T5" fmla="*/ 27 h 27"/>
                    <a:gd name="T6" fmla="*/ 92 w 100"/>
                    <a:gd name="T7" fmla="*/ 25 h 27"/>
                    <a:gd name="T8" fmla="*/ 89 w 100"/>
                    <a:gd name="T9" fmla="*/ 16 h 27"/>
                    <a:gd name="T10" fmla="*/ 48 w 100"/>
                    <a:gd name="T11" fmla="*/ 15 h 27"/>
                    <a:gd name="T12" fmla="*/ 33 w 100"/>
                    <a:gd name="T13" fmla="*/ 9 h 27"/>
                    <a:gd name="T14" fmla="*/ 3 w 100"/>
                    <a:gd name="T15" fmla="*/ 9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27">
                      <a:moveTo>
                        <a:pt x="3" y="9"/>
                      </a:moveTo>
                      <a:cubicBezTo>
                        <a:pt x="0" y="25"/>
                        <a:pt x="38" y="22"/>
                        <a:pt x="48" y="22"/>
                      </a:cubicBezTo>
                      <a:cubicBezTo>
                        <a:pt x="57" y="25"/>
                        <a:pt x="66" y="25"/>
                        <a:pt x="75" y="27"/>
                      </a:cubicBezTo>
                      <a:cubicBezTo>
                        <a:pt x="81" y="26"/>
                        <a:pt x="86" y="26"/>
                        <a:pt x="92" y="25"/>
                      </a:cubicBezTo>
                      <a:cubicBezTo>
                        <a:pt x="100" y="23"/>
                        <a:pt x="93" y="16"/>
                        <a:pt x="89" y="16"/>
                      </a:cubicBezTo>
                      <a:cubicBezTo>
                        <a:pt x="75" y="15"/>
                        <a:pt x="62" y="15"/>
                        <a:pt x="48" y="15"/>
                      </a:cubicBezTo>
                      <a:cubicBezTo>
                        <a:pt x="43" y="12"/>
                        <a:pt x="39" y="10"/>
                        <a:pt x="33" y="9"/>
                      </a:cubicBezTo>
                      <a:cubicBezTo>
                        <a:pt x="24" y="2"/>
                        <a:pt x="12" y="0"/>
                        <a:pt x="3" y="9"/>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33" name="Freeform 275"/>
                <p:cNvSpPr>
                  <a:spLocks/>
                </p:cNvSpPr>
                <p:nvPr/>
              </p:nvSpPr>
              <p:spPr bwMode="auto">
                <a:xfrm>
                  <a:off x="4534137" y="2781732"/>
                  <a:ext cx="168157" cy="205134"/>
                </a:xfrm>
                <a:custGeom>
                  <a:avLst/>
                  <a:gdLst>
                    <a:gd name="T0" fmla="*/ 188 w 199"/>
                    <a:gd name="T1" fmla="*/ 0 h 225"/>
                    <a:gd name="T2" fmla="*/ 188 w 199"/>
                    <a:gd name="T3" fmla="*/ 34 h 225"/>
                    <a:gd name="T4" fmla="*/ 167 w 199"/>
                    <a:gd name="T5" fmla="*/ 30 h 225"/>
                    <a:gd name="T6" fmla="*/ 150 w 199"/>
                    <a:gd name="T7" fmla="*/ 16 h 225"/>
                    <a:gd name="T8" fmla="*/ 113 w 199"/>
                    <a:gd name="T9" fmla="*/ 39 h 225"/>
                    <a:gd name="T10" fmla="*/ 98 w 199"/>
                    <a:gd name="T11" fmla="*/ 34 h 225"/>
                    <a:gd name="T12" fmla="*/ 107 w 199"/>
                    <a:gd name="T13" fmla="*/ 54 h 225"/>
                    <a:gd name="T14" fmla="*/ 98 w 199"/>
                    <a:gd name="T15" fmla="*/ 64 h 225"/>
                    <a:gd name="T16" fmla="*/ 80 w 199"/>
                    <a:gd name="T17" fmla="*/ 45 h 225"/>
                    <a:gd name="T18" fmla="*/ 66 w 199"/>
                    <a:gd name="T19" fmla="*/ 61 h 225"/>
                    <a:gd name="T20" fmla="*/ 84 w 199"/>
                    <a:gd name="T21" fmla="*/ 82 h 225"/>
                    <a:gd name="T22" fmla="*/ 74 w 199"/>
                    <a:gd name="T23" fmla="*/ 87 h 225"/>
                    <a:gd name="T24" fmla="*/ 84 w 199"/>
                    <a:gd name="T25" fmla="*/ 108 h 225"/>
                    <a:gd name="T26" fmla="*/ 99 w 199"/>
                    <a:gd name="T27" fmla="*/ 127 h 225"/>
                    <a:gd name="T28" fmla="*/ 108 w 199"/>
                    <a:gd name="T29" fmla="*/ 141 h 225"/>
                    <a:gd name="T30" fmla="*/ 101 w 199"/>
                    <a:gd name="T31" fmla="*/ 156 h 225"/>
                    <a:gd name="T32" fmla="*/ 105 w 199"/>
                    <a:gd name="T33" fmla="*/ 174 h 225"/>
                    <a:gd name="T34" fmla="*/ 81 w 199"/>
                    <a:gd name="T35" fmla="*/ 174 h 225"/>
                    <a:gd name="T36" fmla="*/ 86 w 199"/>
                    <a:gd name="T37" fmla="*/ 201 h 225"/>
                    <a:gd name="T38" fmla="*/ 83 w 199"/>
                    <a:gd name="T39" fmla="*/ 225 h 225"/>
                    <a:gd name="T40" fmla="*/ 54 w 199"/>
                    <a:gd name="T41" fmla="*/ 202 h 225"/>
                    <a:gd name="T42" fmla="*/ 38 w 199"/>
                    <a:gd name="T43" fmla="*/ 207 h 225"/>
                    <a:gd name="T44" fmla="*/ 32 w 199"/>
                    <a:gd name="T45" fmla="*/ 181 h 225"/>
                    <a:gd name="T46" fmla="*/ 26 w 199"/>
                    <a:gd name="T47" fmla="*/ 150 h 225"/>
                    <a:gd name="T48" fmla="*/ 56 w 199"/>
                    <a:gd name="T49" fmla="*/ 138 h 225"/>
                    <a:gd name="T50" fmla="*/ 86 w 199"/>
                    <a:gd name="T51" fmla="*/ 133 h 225"/>
                    <a:gd name="T52" fmla="*/ 71 w 199"/>
                    <a:gd name="T53" fmla="*/ 118 h 225"/>
                    <a:gd name="T54" fmla="*/ 17 w 199"/>
                    <a:gd name="T55" fmla="*/ 120 h 225"/>
                    <a:gd name="T56" fmla="*/ 24 w 199"/>
                    <a:gd name="T57" fmla="*/ 106 h 225"/>
                    <a:gd name="T58" fmla="*/ 6 w 199"/>
                    <a:gd name="T59" fmla="*/ 106 h 225"/>
                    <a:gd name="T60" fmla="*/ 11 w 199"/>
                    <a:gd name="T61" fmla="*/ 85 h 225"/>
                    <a:gd name="T62" fmla="*/ 20 w 199"/>
                    <a:gd name="T63" fmla="*/ 61 h 225"/>
                    <a:gd name="T64" fmla="*/ 29 w 199"/>
                    <a:gd name="T65" fmla="*/ 46 h 225"/>
                    <a:gd name="T66" fmla="*/ 75 w 199"/>
                    <a:gd name="T67" fmla="*/ 28 h 225"/>
                    <a:gd name="T68" fmla="*/ 110 w 199"/>
                    <a:gd name="T69" fmla="*/ 10 h 225"/>
                    <a:gd name="T70" fmla="*/ 131 w 199"/>
                    <a:gd name="T71" fmla="*/ 0 h 225"/>
                    <a:gd name="T72" fmla="*/ 188 w 199"/>
                    <a:gd name="T73"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9" h="225">
                      <a:moveTo>
                        <a:pt x="188" y="0"/>
                      </a:moveTo>
                      <a:cubicBezTo>
                        <a:pt x="197" y="9"/>
                        <a:pt x="199" y="26"/>
                        <a:pt x="188" y="34"/>
                      </a:cubicBezTo>
                      <a:cubicBezTo>
                        <a:pt x="180" y="33"/>
                        <a:pt x="175" y="31"/>
                        <a:pt x="167" y="30"/>
                      </a:cubicBezTo>
                      <a:cubicBezTo>
                        <a:pt x="159" y="27"/>
                        <a:pt x="157" y="20"/>
                        <a:pt x="150" y="16"/>
                      </a:cubicBezTo>
                      <a:cubicBezTo>
                        <a:pt x="140" y="29"/>
                        <a:pt x="128" y="34"/>
                        <a:pt x="113" y="39"/>
                      </a:cubicBezTo>
                      <a:cubicBezTo>
                        <a:pt x="108" y="37"/>
                        <a:pt x="103" y="36"/>
                        <a:pt x="98" y="34"/>
                      </a:cubicBezTo>
                      <a:cubicBezTo>
                        <a:pt x="99" y="46"/>
                        <a:pt x="99" y="46"/>
                        <a:pt x="107" y="54"/>
                      </a:cubicBezTo>
                      <a:cubicBezTo>
                        <a:pt x="108" y="64"/>
                        <a:pt x="108" y="67"/>
                        <a:pt x="98" y="64"/>
                      </a:cubicBezTo>
                      <a:cubicBezTo>
                        <a:pt x="90" y="59"/>
                        <a:pt x="87" y="51"/>
                        <a:pt x="80" y="45"/>
                      </a:cubicBezTo>
                      <a:cubicBezTo>
                        <a:pt x="72" y="47"/>
                        <a:pt x="69" y="54"/>
                        <a:pt x="66" y="61"/>
                      </a:cubicBezTo>
                      <a:cubicBezTo>
                        <a:pt x="69" y="70"/>
                        <a:pt x="77" y="75"/>
                        <a:pt x="84" y="82"/>
                      </a:cubicBezTo>
                      <a:cubicBezTo>
                        <a:pt x="81" y="84"/>
                        <a:pt x="76" y="84"/>
                        <a:pt x="74" y="87"/>
                      </a:cubicBezTo>
                      <a:cubicBezTo>
                        <a:pt x="71" y="94"/>
                        <a:pt x="79" y="104"/>
                        <a:pt x="84" y="108"/>
                      </a:cubicBezTo>
                      <a:cubicBezTo>
                        <a:pt x="76" y="118"/>
                        <a:pt x="92" y="122"/>
                        <a:pt x="99" y="127"/>
                      </a:cubicBezTo>
                      <a:cubicBezTo>
                        <a:pt x="102" y="132"/>
                        <a:pt x="105" y="136"/>
                        <a:pt x="108" y="141"/>
                      </a:cubicBezTo>
                      <a:cubicBezTo>
                        <a:pt x="106" y="156"/>
                        <a:pt x="103" y="145"/>
                        <a:pt x="101" y="156"/>
                      </a:cubicBezTo>
                      <a:cubicBezTo>
                        <a:pt x="102" y="162"/>
                        <a:pt x="104" y="168"/>
                        <a:pt x="105" y="174"/>
                      </a:cubicBezTo>
                      <a:cubicBezTo>
                        <a:pt x="98" y="180"/>
                        <a:pt x="90" y="176"/>
                        <a:pt x="81" y="174"/>
                      </a:cubicBezTo>
                      <a:cubicBezTo>
                        <a:pt x="72" y="181"/>
                        <a:pt x="81" y="193"/>
                        <a:pt x="86" y="201"/>
                      </a:cubicBezTo>
                      <a:cubicBezTo>
                        <a:pt x="88" y="210"/>
                        <a:pt x="92" y="218"/>
                        <a:pt x="83" y="225"/>
                      </a:cubicBezTo>
                      <a:cubicBezTo>
                        <a:pt x="60" y="221"/>
                        <a:pt x="72" y="208"/>
                        <a:pt x="54" y="202"/>
                      </a:cubicBezTo>
                      <a:cubicBezTo>
                        <a:pt x="48" y="207"/>
                        <a:pt x="46" y="208"/>
                        <a:pt x="38" y="207"/>
                      </a:cubicBezTo>
                      <a:cubicBezTo>
                        <a:pt x="33" y="199"/>
                        <a:pt x="33" y="190"/>
                        <a:pt x="32" y="181"/>
                      </a:cubicBezTo>
                      <a:cubicBezTo>
                        <a:pt x="34" y="160"/>
                        <a:pt x="41" y="165"/>
                        <a:pt x="26" y="150"/>
                      </a:cubicBezTo>
                      <a:cubicBezTo>
                        <a:pt x="20" y="134"/>
                        <a:pt x="49" y="138"/>
                        <a:pt x="56" y="138"/>
                      </a:cubicBezTo>
                      <a:cubicBezTo>
                        <a:pt x="65" y="133"/>
                        <a:pt x="76" y="136"/>
                        <a:pt x="86" y="133"/>
                      </a:cubicBezTo>
                      <a:cubicBezTo>
                        <a:pt x="96" y="126"/>
                        <a:pt x="77" y="120"/>
                        <a:pt x="71" y="118"/>
                      </a:cubicBezTo>
                      <a:cubicBezTo>
                        <a:pt x="49" y="120"/>
                        <a:pt x="40" y="121"/>
                        <a:pt x="17" y="120"/>
                      </a:cubicBezTo>
                      <a:cubicBezTo>
                        <a:pt x="18" y="113"/>
                        <a:pt x="23" y="113"/>
                        <a:pt x="24" y="106"/>
                      </a:cubicBezTo>
                      <a:cubicBezTo>
                        <a:pt x="13" y="102"/>
                        <a:pt x="15" y="104"/>
                        <a:pt x="6" y="106"/>
                      </a:cubicBezTo>
                      <a:cubicBezTo>
                        <a:pt x="0" y="98"/>
                        <a:pt x="7" y="92"/>
                        <a:pt x="11" y="85"/>
                      </a:cubicBezTo>
                      <a:cubicBezTo>
                        <a:pt x="13" y="72"/>
                        <a:pt x="11" y="70"/>
                        <a:pt x="20" y="61"/>
                      </a:cubicBezTo>
                      <a:cubicBezTo>
                        <a:pt x="23" y="55"/>
                        <a:pt x="30" y="53"/>
                        <a:pt x="29" y="46"/>
                      </a:cubicBezTo>
                      <a:cubicBezTo>
                        <a:pt x="32" y="22"/>
                        <a:pt x="52" y="29"/>
                        <a:pt x="75" y="28"/>
                      </a:cubicBezTo>
                      <a:cubicBezTo>
                        <a:pt x="92" y="14"/>
                        <a:pt x="84" y="13"/>
                        <a:pt x="110" y="10"/>
                      </a:cubicBezTo>
                      <a:cubicBezTo>
                        <a:pt x="117" y="6"/>
                        <a:pt x="123" y="1"/>
                        <a:pt x="131" y="0"/>
                      </a:cubicBezTo>
                      <a:cubicBezTo>
                        <a:pt x="168" y="1"/>
                        <a:pt x="149" y="1"/>
                        <a:pt x="188"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34" name="Freeform 276"/>
                <p:cNvSpPr>
                  <a:spLocks/>
                </p:cNvSpPr>
                <p:nvPr/>
              </p:nvSpPr>
              <p:spPr bwMode="auto">
                <a:xfrm>
                  <a:off x="4534137" y="2916665"/>
                  <a:ext cx="19436" cy="16411"/>
                </a:xfrm>
                <a:custGeom>
                  <a:avLst/>
                  <a:gdLst>
                    <a:gd name="T0" fmla="*/ 5 w 23"/>
                    <a:gd name="T1" fmla="*/ 5 h 18"/>
                    <a:gd name="T2" fmla="*/ 8 w 23"/>
                    <a:gd name="T3" fmla="*/ 18 h 18"/>
                    <a:gd name="T4" fmla="*/ 14 w 23"/>
                    <a:gd name="T5" fmla="*/ 17 h 18"/>
                    <a:gd name="T6" fmla="*/ 5 w 23"/>
                    <a:gd name="T7" fmla="*/ 5 h 18"/>
                  </a:gdLst>
                  <a:ahLst/>
                  <a:cxnLst>
                    <a:cxn ang="0">
                      <a:pos x="T0" y="T1"/>
                    </a:cxn>
                    <a:cxn ang="0">
                      <a:pos x="T2" y="T3"/>
                    </a:cxn>
                    <a:cxn ang="0">
                      <a:pos x="T4" y="T5"/>
                    </a:cxn>
                    <a:cxn ang="0">
                      <a:pos x="T6" y="T7"/>
                    </a:cxn>
                  </a:cxnLst>
                  <a:rect l="0" t="0" r="r" b="b"/>
                  <a:pathLst>
                    <a:path w="23" h="18">
                      <a:moveTo>
                        <a:pt x="5" y="5"/>
                      </a:moveTo>
                      <a:cubicBezTo>
                        <a:pt x="0" y="11"/>
                        <a:pt x="1" y="14"/>
                        <a:pt x="8" y="18"/>
                      </a:cubicBezTo>
                      <a:cubicBezTo>
                        <a:pt x="10" y="18"/>
                        <a:pt x="12" y="18"/>
                        <a:pt x="14" y="17"/>
                      </a:cubicBezTo>
                      <a:cubicBezTo>
                        <a:pt x="23" y="11"/>
                        <a:pt x="7" y="0"/>
                        <a:pt x="5" y="5"/>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35" name="Freeform 277"/>
                <p:cNvSpPr>
                  <a:spLocks/>
                </p:cNvSpPr>
                <p:nvPr/>
              </p:nvSpPr>
              <p:spPr bwMode="auto">
                <a:xfrm>
                  <a:off x="4527377" y="2892049"/>
                  <a:ext cx="27885" cy="15499"/>
                </a:xfrm>
                <a:custGeom>
                  <a:avLst/>
                  <a:gdLst>
                    <a:gd name="T0" fmla="*/ 4 w 33"/>
                    <a:gd name="T1" fmla="*/ 2 h 17"/>
                    <a:gd name="T2" fmla="*/ 5 w 33"/>
                    <a:gd name="T3" fmla="*/ 17 h 17"/>
                    <a:gd name="T4" fmla="*/ 23 w 33"/>
                    <a:gd name="T5" fmla="*/ 15 h 17"/>
                    <a:gd name="T6" fmla="*/ 13 w 33"/>
                    <a:gd name="T7" fmla="*/ 0 h 17"/>
                    <a:gd name="T8" fmla="*/ 4 w 33"/>
                    <a:gd name="T9" fmla="*/ 2 h 17"/>
                  </a:gdLst>
                  <a:ahLst/>
                  <a:cxnLst>
                    <a:cxn ang="0">
                      <a:pos x="T0" y="T1"/>
                    </a:cxn>
                    <a:cxn ang="0">
                      <a:pos x="T2" y="T3"/>
                    </a:cxn>
                    <a:cxn ang="0">
                      <a:pos x="T4" y="T5"/>
                    </a:cxn>
                    <a:cxn ang="0">
                      <a:pos x="T6" y="T7"/>
                    </a:cxn>
                    <a:cxn ang="0">
                      <a:pos x="T8" y="T9"/>
                    </a:cxn>
                  </a:cxnLst>
                  <a:rect l="0" t="0" r="r" b="b"/>
                  <a:pathLst>
                    <a:path w="33" h="17">
                      <a:moveTo>
                        <a:pt x="4" y="2"/>
                      </a:moveTo>
                      <a:cubicBezTo>
                        <a:pt x="0" y="8"/>
                        <a:pt x="1" y="11"/>
                        <a:pt x="5" y="17"/>
                      </a:cubicBezTo>
                      <a:cubicBezTo>
                        <a:pt x="11" y="16"/>
                        <a:pt x="17" y="17"/>
                        <a:pt x="23" y="15"/>
                      </a:cubicBezTo>
                      <a:cubicBezTo>
                        <a:pt x="33" y="12"/>
                        <a:pt x="15" y="1"/>
                        <a:pt x="13" y="0"/>
                      </a:cubicBezTo>
                      <a:cubicBezTo>
                        <a:pt x="10" y="1"/>
                        <a:pt x="4" y="2"/>
                        <a:pt x="4" y="2"/>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36" name="Freeform 280"/>
                <p:cNvSpPr>
                  <a:spLocks/>
                </p:cNvSpPr>
                <p:nvPr/>
              </p:nvSpPr>
              <p:spPr bwMode="auto">
                <a:xfrm>
                  <a:off x="4665114" y="2977750"/>
                  <a:ext cx="8450" cy="8206"/>
                </a:xfrm>
                <a:custGeom>
                  <a:avLst/>
                  <a:gdLst>
                    <a:gd name="T0" fmla="*/ 0 w 10"/>
                    <a:gd name="T1" fmla="*/ 5 h 9"/>
                    <a:gd name="T2" fmla="*/ 10 w 10"/>
                    <a:gd name="T3" fmla="*/ 2 h 9"/>
                    <a:gd name="T4" fmla="*/ 0 w 10"/>
                    <a:gd name="T5" fmla="*/ 5 h 9"/>
                  </a:gdLst>
                  <a:ahLst/>
                  <a:cxnLst>
                    <a:cxn ang="0">
                      <a:pos x="T0" y="T1"/>
                    </a:cxn>
                    <a:cxn ang="0">
                      <a:pos x="T2" y="T3"/>
                    </a:cxn>
                    <a:cxn ang="0">
                      <a:pos x="T4" y="T5"/>
                    </a:cxn>
                  </a:cxnLst>
                  <a:rect l="0" t="0" r="r" b="b"/>
                  <a:pathLst>
                    <a:path w="10" h="9">
                      <a:moveTo>
                        <a:pt x="0" y="5"/>
                      </a:moveTo>
                      <a:cubicBezTo>
                        <a:pt x="6" y="9"/>
                        <a:pt x="9" y="9"/>
                        <a:pt x="10" y="2"/>
                      </a:cubicBezTo>
                      <a:cubicBezTo>
                        <a:pt x="2" y="1"/>
                        <a:pt x="5" y="0"/>
                        <a:pt x="0" y="5"/>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37" name="Freeform 281"/>
                <p:cNvSpPr>
                  <a:spLocks/>
                </p:cNvSpPr>
                <p:nvPr/>
              </p:nvSpPr>
              <p:spPr bwMode="auto">
                <a:xfrm>
                  <a:off x="4638919" y="2965898"/>
                  <a:ext cx="11830" cy="12764"/>
                </a:xfrm>
                <a:custGeom>
                  <a:avLst/>
                  <a:gdLst>
                    <a:gd name="T0" fmla="*/ 1 w 14"/>
                    <a:gd name="T1" fmla="*/ 3 h 14"/>
                    <a:gd name="T2" fmla="*/ 2 w 14"/>
                    <a:gd name="T3" fmla="*/ 9 h 14"/>
                    <a:gd name="T4" fmla="*/ 1 w 14"/>
                    <a:gd name="T5" fmla="*/ 3 h 14"/>
                  </a:gdLst>
                  <a:ahLst/>
                  <a:cxnLst>
                    <a:cxn ang="0">
                      <a:pos x="T0" y="T1"/>
                    </a:cxn>
                    <a:cxn ang="0">
                      <a:pos x="T2" y="T3"/>
                    </a:cxn>
                    <a:cxn ang="0">
                      <a:pos x="T4" y="T5"/>
                    </a:cxn>
                  </a:cxnLst>
                  <a:rect l="0" t="0" r="r" b="b"/>
                  <a:pathLst>
                    <a:path w="14" h="14">
                      <a:moveTo>
                        <a:pt x="1" y="3"/>
                      </a:moveTo>
                      <a:cubicBezTo>
                        <a:pt x="1" y="5"/>
                        <a:pt x="0" y="8"/>
                        <a:pt x="2" y="9"/>
                      </a:cubicBezTo>
                      <a:cubicBezTo>
                        <a:pt x="12" y="14"/>
                        <a:pt x="14" y="0"/>
                        <a:pt x="1" y="3"/>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38" name="Freeform 282"/>
                <p:cNvSpPr>
                  <a:spLocks/>
                </p:cNvSpPr>
                <p:nvPr/>
              </p:nvSpPr>
              <p:spPr bwMode="auto">
                <a:xfrm>
                  <a:off x="4676099" y="2962250"/>
                  <a:ext cx="11830" cy="8206"/>
                </a:xfrm>
                <a:custGeom>
                  <a:avLst/>
                  <a:gdLst>
                    <a:gd name="T0" fmla="*/ 5 w 14"/>
                    <a:gd name="T1" fmla="*/ 0 h 9"/>
                    <a:gd name="T2" fmla="*/ 14 w 14"/>
                    <a:gd name="T3" fmla="*/ 7 h 9"/>
                    <a:gd name="T4" fmla="*/ 5 w 14"/>
                    <a:gd name="T5" fmla="*/ 0 h 9"/>
                  </a:gdLst>
                  <a:ahLst/>
                  <a:cxnLst>
                    <a:cxn ang="0">
                      <a:pos x="T0" y="T1"/>
                    </a:cxn>
                    <a:cxn ang="0">
                      <a:pos x="T2" y="T3"/>
                    </a:cxn>
                    <a:cxn ang="0">
                      <a:pos x="T4" y="T5"/>
                    </a:cxn>
                  </a:cxnLst>
                  <a:rect l="0" t="0" r="r" b="b"/>
                  <a:pathLst>
                    <a:path w="14" h="9">
                      <a:moveTo>
                        <a:pt x="5" y="0"/>
                      </a:moveTo>
                      <a:cubicBezTo>
                        <a:pt x="0" y="9"/>
                        <a:pt x="5" y="9"/>
                        <a:pt x="14" y="7"/>
                      </a:cubicBezTo>
                      <a:cubicBezTo>
                        <a:pt x="12" y="2"/>
                        <a:pt x="3" y="0"/>
                        <a:pt x="5" y="0"/>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39" name="Freeform 283"/>
                <p:cNvSpPr>
                  <a:spLocks/>
                </p:cNvSpPr>
                <p:nvPr/>
              </p:nvSpPr>
              <p:spPr bwMode="auto">
                <a:xfrm>
                  <a:off x="4660889" y="2923959"/>
                  <a:ext cx="7605" cy="11852"/>
                </a:xfrm>
                <a:custGeom>
                  <a:avLst/>
                  <a:gdLst>
                    <a:gd name="T0" fmla="*/ 0 w 9"/>
                    <a:gd name="T1" fmla="*/ 0 h 13"/>
                    <a:gd name="T2" fmla="*/ 0 w 9"/>
                    <a:gd name="T3" fmla="*/ 0 h 13"/>
                  </a:gdLst>
                  <a:ahLst/>
                  <a:cxnLst>
                    <a:cxn ang="0">
                      <a:pos x="T0" y="T1"/>
                    </a:cxn>
                    <a:cxn ang="0">
                      <a:pos x="T2" y="T3"/>
                    </a:cxn>
                  </a:cxnLst>
                  <a:rect l="0" t="0" r="r" b="b"/>
                  <a:pathLst>
                    <a:path w="9" h="13">
                      <a:moveTo>
                        <a:pt x="0" y="0"/>
                      </a:moveTo>
                      <a:cubicBezTo>
                        <a:pt x="4" y="13"/>
                        <a:pt x="9" y="0"/>
                        <a:pt x="0" y="0"/>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40" name="Freeform 284"/>
                <p:cNvSpPr>
                  <a:spLocks/>
                </p:cNvSpPr>
                <p:nvPr/>
              </p:nvSpPr>
              <p:spPr bwMode="auto">
                <a:xfrm>
                  <a:off x="4690464" y="2975014"/>
                  <a:ext cx="14365" cy="11852"/>
                </a:xfrm>
                <a:custGeom>
                  <a:avLst/>
                  <a:gdLst>
                    <a:gd name="T0" fmla="*/ 0 w 17"/>
                    <a:gd name="T1" fmla="*/ 2 h 13"/>
                    <a:gd name="T2" fmla="*/ 0 w 17"/>
                    <a:gd name="T3" fmla="*/ 2 h 13"/>
                  </a:gdLst>
                  <a:ahLst/>
                  <a:cxnLst>
                    <a:cxn ang="0">
                      <a:pos x="T0" y="T1"/>
                    </a:cxn>
                    <a:cxn ang="0">
                      <a:pos x="T2" y="T3"/>
                    </a:cxn>
                  </a:cxnLst>
                  <a:rect l="0" t="0" r="r" b="b"/>
                  <a:pathLst>
                    <a:path w="17" h="13">
                      <a:moveTo>
                        <a:pt x="0" y="2"/>
                      </a:moveTo>
                      <a:cubicBezTo>
                        <a:pt x="2" y="13"/>
                        <a:pt x="17" y="0"/>
                        <a:pt x="0" y="2"/>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41" name="Freeform 285"/>
                <p:cNvSpPr>
                  <a:spLocks/>
                </p:cNvSpPr>
                <p:nvPr/>
              </p:nvSpPr>
              <p:spPr bwMode="auto">
                <a:xfrm>
                  <a:off x="4652439" y="2839170"/>
                  <a:ext cx="22815" cy="25528"/>
                </a:xfrm>
                <a:custGeom>
                  <a:avLst/>
                  <a:gdLst>
                    <a:gd name="T0" fmla="*/ 10 w 27"/>
                    <a:gd name="T1" fmla="*/ 0 h 28"/>
                    <a:gd name="T2" fmla="*/ 0 w 27"/>
                    <a:gd name="T3" fmla="*/ 12 h 28"/>
                    <a:gd name="T4" fmla="*/ 13 w 27"/>
                    <a:gd name="T5" fmla="*/ 21 h 28"/>
                    <a:gd name="T6" fmla="*/ 10 w 27"/>
                    <a:gd name="T7" fmla="*/ 0 h 28"/>
                  </a:gdLst>
                  <a:ahLst/>
                  <a:cxnLst>
                    <a:cxn ang="0">
                      <a:pos x="T0" y="T1"/>
                    </a:cxn>
                    <a:cxn ang="0">
                      <a:pos x="T2" y="T3"/>
                    </a:cxn>
                    <a:cxn ang="0">
                      <a:pos x="T4" y="T5"/>
                    </a:cxn>
                    <a:cxn ang="0">
                      <a:pos x="T6" y="T7"/>
                    </a:cxn>
                  </a:cxnLst>
                  <a:rect l="0" t="0" r="r" b="b"/>
                  <a:pathLst>
                    <a:path w="27" h="28">
                      <a:moveTo>
                        <a:pt x="10" y="0"/>
                      </a:moveTo>
                      <a:cubicBezTo>
                        <a:pt x="2" y="1"/>
                        <a:pt x="1" y="4"/>
                        <a:pt x="0" y="12"/>
                      </a:cubicBezTo>
                      <a:cubicBezTo>
                        <a:pt x="1" y="26"/>
                        <a:pt x="1" y="28"/>
                        <a:pt x="13" y="21"/>
                      </a:cubicBezTo>
                      <a:cubicBezTo>
                        <a:pt x="23" y="9"/>
                        <a:pt x="27" y="8"/>
                        <a:pt x="10"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42" name="Freeform 287"/>
                <p:cNvSpPr>
                  <a:spLocks/>
                </p:cNvSpPr>
                <p:nvPr/>
              </p:nvSpPr>
              <p:spPr bwMode="auto">
                <a:xfrm>
                  <a:off x="4672720" y="2883844"/>
                  <a:ext cx="20280" cy="23704"/>
                </a:xfrm>
                <a:custGeom>
                  <a:avLst/>
                  <a:gdLst>
                    <a:gd name="T0" fmla="*/ 0 w 24"/>
                    <a:gd name="T1" fmla="*/ 12 h 26"/>
                    <a:gd name="T2" fmla="*/ 6 w 24"/>
                    <a:gd name="T3" fmla="*/ 26 h 26"/>
                    <a:gd name="T4" fmla="*/ 13 w 24"/>
                    <a:gd name="T5" fmla="*/ 24 h 26"/>
                    <a:gd name="T6" fmla="*/ 0 w 24"/>
                    <a:gd name="T7" fmla="*/ 12 h 26"/>
                  </a:gdLst>
                  <a:ahLst/>
                  <a:cxnLst>
                    <a:cxn ang="0">
                      <a:pos x="T0" y="T1"/>
                    </a:cxn>
                    <a:cxn ang="0">
                      <a:pos x="T2" y="T3"/>
                    </a:cxn>
                    <a:cxn ang="0">
                      <a:pos x="T4" y="T5"/>
                    </a:cxn>
                    <a:cxn ang="0">
                      <a:pos x="T6" y="T7"/>
                    </a:cxn>
                  </a:cxnLst>
                  <a:rect l="0" t="0" r="r" b="b"/>
                  <a:pathLst>
                    <a:path w="24" h="26">
                      <a:moveTo>
                        <a:pt x="0" y="12"/>
                      </a:moveTo>
                      <a:cubicBezTo>
                        <a:pt x="1" y="18"/>
                        <a:pt x="3" y="21"/>
                        <a:pt x="6" y="26"/>
                      </a:cubicBezTo>
                      <a:cubicBezTo>
                        <a:pt x="8" y="25"/>
                        <a:pt x="11" y="25"/>
                        <a:pt x="13" y="24"/>
                      </a:cubicBezTo>
                      <a:cubicBezTo>
                        <a:pt x="24" y="17"/>
                        <a:pt x="3" y="0"/>
                        <a:pt x="0" y="12"/>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43" name="Freeform 288"/>
                <p:cNvSpPr>
                  <a:spLocks/>
                </p:cNvSpPr>
                <p:nvPr/>
              </p:nvSpPr>
              <p:spPr bwMode="auto">
                <a:xfrm>
                  <a:off x="4687930" y="2917577"/>
                  <a:ext cx="16055" cy="10941"/>
                </a:xfrm>
                <a:custGeom>
                  <a:avLst/>
                  <a:gdLst>
                    <a:gd name="T0" fmla="*/ 0 w 19"/>
                    <a:gd name="T1" fmla="*/ 7 h 12"/>
                    <a:gd name="T2" fmla="*/ 18 w 19"/>
                    <a:gd name="T3" fmla="*/ 10 h 12"/>
                    <a:gd name="T4" fmla="*/ 10 w 19"/>
                    <a:gd name="T5" fmla="*/ 1 h 12"/>
                    <a:gd name="T6" fmla="*/ 0 w 19"/>
                    <a:gd name="T7" fmla="*/ 7 h 12"/>
                  </a:gdLst>
                  <a:ahLst/>
                  <a:cxnLst>
                    <a:cxn ang="0">
                      <a:pos x="T0" y="T1"/>
                    </a:cxn>
                    <a:cxn ang="0">
                      <a:pos x="T2" y="T3"/>
                    </a:cxn>
                    <a:cxn ang="0">
                      <a:pos x="T4" y="T5"/>
                    </a:cxn>
                    <a:cxn ang="0">
                      <a:pos x="T6" y="T7"/>
                    </a:cxn>
                  </a:cxnLst>
                  <a:rect l="0" t="0" r="r" b="b"/>
                  <a:pathLst>
                    <a:path w="19" h="12">
                      <a:moveTo>
                        <a:pt x="0" y="7"/>
                      </a:moveTo>
                      <a:cubicBezTo>
                        <a:pt x="7" y="12"/>
                        <a:pt x="10" y="11"/>
                        <a:pt x="18" y="10"/>
                      </a:cubicBezTo>
                      <a:cubicBezTo>
                        <a:pt x="19" y="3"/>
                        <a:pt x="17" y="2"/>
                        <a:pt x="10" y="1"/>
                      </a:cubicBezTo>
                      <a:cubicBezTo>
                        <a:pt x="2" y="2"/>
                        <a:pt x="5" y="0"/>
                        <a:pt x="0" y="7"/>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44" name="Freeform 289"/>
                <p:cNvSpPr>
                  <a:spLocks/>
                </p:cNvSpPr>
                <p:nvPr/>
              </p:nvSpPr>
              <p:spPr bwMode="auto">
                <a:xfrm>
                  <a:off x="4695535" y="2946751"/>
                  <a:ext cx="14365" cy="10029"/>
                </a:xfrm>
                <a:custGeom>
                  <a:avLst/>
                  <a:gdLst>
                    <a:gd name="T0" fmla="*/ 7 w 17"/>
                    <a:gd name="T1" fmla="*/ 0 h 11"/>
                    <a:gd name="T2" fmla="*/ 9 w 17"/>
                    <a:gd name="T3" fmla="*/ 11 h 11"/>
                    <a:gd name="T4" fmla="*/ 7 w 17"/>
                    <a:gd name="T5" fmla="*/ 0 h 11"/>
                  </a:gdLst>
                  <a:ahLst/>
                  <a:cxnLst>
                    <a:cxn ang="0">
                      <a:pos x="T0" y="T1"/>
                    </a:cxn>
                    <a:cxn ang="0">
                      <a:pos x="T2" y="T3"/>
                    </a:cxn>
                    <a:cxn ang="0">
                      <a:pos x="T4" y="T5"/>
                    </a:cxn>
                  </a:cxnLst>
                  <a:rect l="0" t="0" r="r" b="b"/>
                  <a:pathLst>
                    <a:path w="17" h="11">
                      <a:moveTo>
                        <a:pt x="7" y="0"/>
                      </a:moveTo>
                      <a:cubicBezTo>
                        <a:pt x="0" y="4"/>
                        <a:pt x="3" y="8"/>
                        <a:pt x="9" y="11"/>
                      </a:cubicBezTo>
                      <a:cubicBezTo>
                        <a:pt x="15" y="6"/>
                        <a:pt x="17" y="0"/>
                        <a:pt x="7" y="0"/>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45" name="Freeform 291"/>
                <p:cNvSpPr>
                  <a:spLocks/>
                </p:cNvSpPr>
                <p:nvPr/>
              </p:nvSpPr>
              <p:spPr bwMode="auto">
                <a:xfrm>
                  <a:off x="4713280" y="3004190"/>
                  <a:ext cx="17745" cy="15499"/>
                </a:xfrm>
                <a:custGeom>
                  <a:avLst/>
                  <a:gdLst>
                    <a:gd name="T0" fmla="*/ 0 w 21"/>
                    <a:gd name="T1" fmla="*/ 2 h 17"/>
                    <a:gd name="T2" fmla="*/ 21 w 21"/>
                    <a:gd name="T3" fmla="*/ 12 h 17"/>
                    <a:gd name="T4" fmla="*/ 9 w 21"/>
                    <a:gd name="T5" fmla="*/ 0 h 17"/>
                    <a:gd name="T6" fmla="*/ 0 w 21"/>
                    <a:gd name="T7" fmla="*/ 2 h 17"/>
                  </a:gdLst>
                  <a:ahLst/>
                  <a:cxnLst>
                    <a:cxn ang="0">
                      <a:pos x="T0" y="T1"/>
                    </a:cxn>
                    <a:cxn ang="0">
                      <a:pos x="T2" y="T3"/>
                    </a:cxn>
                    <a:cxn ang="0">
                      <a:pos x="T4" y="T5"/>
                    </a:cxn>
                    <a:cxn ang="0">
                      <a:pos x="T6" y="T7"/>
                    </a:cxn>
                  </a:cxnLst>
                  <a:rect l="0" t="0" r="r" b="b"/>
                  <a:pathLst>
                    <a:path w="21" h="17">
                      <a:moveTo>
                        <a:pt x="0" y="2"/>
                      </a:moveTo>
                      <a:cubicBezTo>
                        <a:pt x="2" y="17"/>
                        <a:pt x="6" y="14"/>
                        <a:pt x="21" y="12"/>
                      </a:cubicBezTo>
                      <a:cubicBezTo>
                        <a:pt x="17" y="7"/>
                        <a:pt x="14" y="4"/>
                        <a:pt x="9" y="0"/>
                      </a:cubicBezTo>
                      <a:cubicBezTo>
                        <a:pt x="2" y="2"/>
                        <a:pt x="5" y="2"/>
                        <a:pt x="0" y="2"/>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46" name="Freeform 295"/>
                <p:cNvSpPr>
                  <a:spLocks/>
                </p:cNvSpPr>
                <p:nvPr/>
              </p:nvSpPr>
              <p:spPr bwMode="auto">
                <a:xfrm>
                  <a:off x="4676438" y="2755706"/>
                  <a:ext cx="63462" cy="82672"/>
                </a:xfrm>
                <a:custGeom>
                  <a:avLst/>
                  <a:gdLst>
                    <a:gd name="T0" fmla="*/ 46 w 75"/>
                    <a:gd name="T1" fmla="*/ 0 h 90"/>
                    <a:gd name="T2" fmla="*/ 64 w 75"/>
                    <a:gd name="T3" fmla="*/ 18 h 90"/>
                    <a:gd name="T4" fmla="*/ 75 w 75"/>
                    <a:gd name="T5" fmla="*/ 48 h 90"/>
                    <a:gd name="T6" fmla="*/ 37 w 75"/>
                    <a:gd name="T7" fmla="*/ 58 h 90"/>
                    <a:gd name="T8" fmla="*/ 16 w 75"/>
                    <a:gd name="T9" fmla="*/ 82 h 90"/>
                    <a:gd name="T10" fmla="*/ 18 w 75"/>
                    <a:gd name="T11" fmla="*/ 69 h 90"/>
                    <a:gd name="T12" fmla="*/ 24 w 75"/>
                    <a:gd name="T13" fmla="*/ 48 h 90"/>
                    <a:gd name="T14" fmla="*/ 19 w 75"/>
                    <a:gd name="T15" fmla="*/ 28 h 90"/>
                    <a:gd name="T16" fmla="*/ 30 w 75"/>
                    <a:gd name="T17" fmla="*/ 9 h 90"/>
                    <a:gd name="T18" fmla="*/ 46 w 7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90">
                      <a:moveTo>
                        <a:pt x="46" y="0"/>
                      </a:moveTo>
                      <a:cubicBezTo>
                        <a:pt x="54" y="2"/>
                        <a:pt x="60" y="11"/>
                        <a:pt x="64" y="18"/>
                      </a:cubicBezTo>
                      <a:cubicBezTo>
                        <a:pt x="66" y="30"/>
                        <a:pt x="71" y="37"/>
                        <a:pt x="75" y="48"/>
                      </a:cubicBezTo>
                      <a:cubicBezTo>
                        <a:pt x="71" y="60"/>
                        <a:pt x="50" y="56"/>
                        <a:pt x="37" y="58"/>
                      </a:cubicBezTo>
                      <a:cubicBezTo>
                        <a:pt x="35" y="69"/>
                        <a:pt x="28" y="80"/>
                        <a:pt x="16" y="82"/>
                      </a:cubicBezTo>
                      <a:cubicBezTo>
                        <a:pt x="0" y="90"/>
                        <a:pt x="15" y="74"/>
                        <a:pt x="18" y="69"/>
                      </a:cubicBezTo>
                      <a:cubicBezTo>
                        <a:pt x="19" y="62"/>
                        <a:pt x="21" y="55"/>
                        <a:pt x="24" y="48"/>
                      </a:cubicBezTo>
                      <a:cubicBezTo>
                        <a:pt x="26" y="40"/>
                        <a:pt x="23" y="35"/>
                        <a:pt x="19" y="28"/>
                      </a:cubicBezTo>
                      <a:cubicBezTo>
                        <a:pt x="21" y="18"/>
                        <a:pt x="19" y="11"/>
                        <a:pt x="30" y="9"/>
                      </a:cubicBezTo>
                      <a:cubicBezTo>
                        <a:pt x="35" y="7"/>
                        <a:pt x="47" y="0"/>
                        <a:pt x="46"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grpSp>
            <p:nvGrpSpPr>
              <p:cNvPr id="1399" name="Gruppieren 333"/>
              <p:cNvGrpSpPr/>
              <p:nvPr/>
            </p:nvGrpSpPr>
            <p:grpSpPr>
              <a:xfrm>
                <a:off x="6082513" y="4315970"/>
                <a:ext cx="200359" cy="182468"/>
                <a:chOff x="4072251" y="2428516"/>
                <a:chExt cx="104106" cy="94810"/>
              </a:xfrm>
              <a:grpFill/>
            </p:grpSpPr>
            <p:sp>
              <p:nvSpPr>
                <p:cNvPr id="1428" name="Freeform 248"/>
                <p:cNvSpPr>
                  <a:spLocks/>
                </p:cNvSpPr>
                <p:nvPr/>
              </p:nvSpPr>
              <p:spPr bwMode="auto">
                <a:xfrm>
                  <a:off x="4072251" y="2428516"/>
                  <a:ext cx="85516" cy="78079"/>
                </a:xfrm>
                <a:custGeom>
                  <a:avLst/>
                  <a:gdLst>
                    <a:gd name="T0" fmla="*/ 35 w 100"/>
                    <a:gd name="T1" fmla="*/ 9 h 84"/>
                    <a:gd name="T2" fmla="*/ 47 w 100"/>
                    <a:gd name="T3" fmla="*/ 22 h 84"/>
                    <a:gd name="T4" fmla="*/ 62 w 100"/>
                    <a:gd name="T5" fmla="*/ 18 h 84"/>
                    <a:gd name="T6" fmla="*/ 77 w 100"/>
                    <a:gd name="T7" fmla="*/ 19 h 84"/>
                    <a:gd name="T8" fmla="*/ 98 w 100"/>
                    <a:gd name="T9" fmla="*/ 34 h 84"/>
                    <a:gd name="T10" fmla="*/ 93 w 100"/>
                    <a:gd name="T11" fmla="*/ 84 h 84"/>
                    <a:gd name="T12" fmla="*/ 77 w 100"/>
                    <a:gd name="T13" fmla="*/ 75 h 84"/>
                    <a:gd name="T14" fmla="*/ 33 w 100"/>
                    <a:gd name="T15" fmla="*/ 54 h 84"/>
                    <a:gd name="T16" fmla="*/ 17 w 100"/>
                    <a:gd name="T17" fmla="*/ 39 h 84"/>
                    <a:gd name="T18" fmla="*/ 3 w 100"/>
                    <a:gd name="T19" fmla="*/ 25 h 84"/>
                    <a:gd name="T20" fmla="*/ 3 w 100"/>
                    <a:gd name="T21" fmla="*/ 9 h 84"/>
                    <a:gd name="T22" fmla="*/ 35 w 100"/>
                    <a:gd name="T23" fmla="*/ 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84">
                      <a:moveTo>
                        <a:pt x="35" y="9"/>
                      </a:moveTo>
                      <a:cubicBezTo>
                        <a:pt x="37" y="18"/>
                        <a:pt x="38" y="20"/>
                        <a:pt x="47" y="22"/>
                      </a:cubicBezTo>
                      <a:cubicBezTo>
                        <a:pt x="52" y="21"/>
                        <a:pt x="57" y="19"/>
                        <a:pt x="62" y="18"/>
                      </a:cubicBezTo>
                      <a:cubicBezTo>
                        <a:pt x="67" y="18"/>
                        <a:pt x="72" y="18"/>
                        <a:pt x="77" y="19"/>
                      </a:cubicBezTo>
                      <a:cubicBezTo>
                        <a:pt x="83" y="20"/>
                        <a:pt x="88" y="32"/>
                        <a:pt x="98" y="34"/>
                      </a:cubicBezTo>
                      <a:cubicBezTo>
                        <a:pt x="100" y="43"/>
                        <a:pt x="96" y="77"/>
                        <a:pt x="93" y="84"/>
                      </a:cubicBezTo>
                      <a:cubicBezTo>
                        <a:pt x="89" y="83"/>
                        <a:pt x="81" y="75"/>
                        <a:pt x="77" y="75"/>
                      </a:cubicBezTo>
                      <a:cubicBezTo>
                        <a:pt x="55" y="62"/>
                        <a:pt x="63" y="56"/>
                        <a:pt x="33" y="54"/>
                      </a:cubicBezTo>
                      <a:cubicBezTo>
                        <a:pt x="27" y="49"/>
                        <a:pt x="24" y="44"/>
                        <a:pt x="17" y="39"/>
                      </a:cubicBezTo>
                      <a:cubicBezTo>
                        <a:pt x="12" y="35"/>
                        <a:pt x="3" y="25"/>
                        <a:pt x="3" y="25"/>
                      </a:cubicBezTo>
                      <a:cubicBezTo>
                        <a:pt x="3" y="22"/>
                        <a:pt x="0" y="10"/>
                        <a:pt x="3" y="9"/>
                      </a:cubicBezTo>
                      <a:cubicBezTo>
                        <a:pt x="35" y="0"/>
                        <a:pt x="35" y="21"/>
                        <a:pt x="35" y="9"/>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29" name="Freeform 533"/>
                <p:cNvSpPr>
                  <a:spLocks/>
                </p:cNvSpPr>
                <p:nvPr/>
              </p:nvSpPr>
              <p:spPr bwMode="auto">
                <a:xfrm>
                  <a:off x="4154049" y="2461978"/>
                  <a:ext cx="22308" cy="61348"/>
                </a:xfrm>
                <a:custGeom>
                  <a:avLst/>
                  <a:gdLst>
                    <a:gd name="T0" fmla="*/ 11 w 27"/>
                    <a:gd name="T1" fmla="*/ 3 h 66"/>
                    <a:gd name="T2" fmla="*/ 15 w 27"/>
                    <a:gd name="T3" fmla="*/ 31 h 66"/>
                    <a:gd name="T4" fmla="*/ 27 w 27"/>
                    <a:gd name="T5" fmla="*/ 66 h 66"/>
                    <a:gd name="T6" fmla="*/ 8 w 27"/>
                    <a:gd name="T7" fmla="*/ 57 h 66"/>
                    <a:gd name="T8" fmla="*/ 0 w 27"/>
                    <a:gd name="T9" fmla="*/ 51 h 66"/>
                    <a:gd name="T10" fmla="*/ 0 w 27"/>
                    <a:gd name="T11" fmla="*/ 0 h 66"/>
                    <a:gd name="T12" fmla="*/ 11 w 27"/>
                    <a:gd name="T13" fmla="*/ 3 h 66"/>
                  </a:gdLst>
                  <a:ahLst/>
                  <a:cxnLst>
                    <a:cxn ang="0">
                      <a:pos x="T0" y="T1"/>
                    </a:cxn>
                    <a:cxn ang="0">
                      <a:pos x="T2" y="T3"/>
                    </a:cxn>
                    <a:cxn ang="0">
                      <a:pos x="T4" y="T5"/>
                    </a:cxn>
                    <a:cxn ang="0">
                      <a:pos x="T6" y="T7"/>
                    </a:cxn>
                    <a:cxn ang="0">
                      <a:pos x="T8" y="T9"/>
                    </a:cxn>
                    <a:cxn ang="0">
                      <a:pos x="T10" y="T11"/>
                    </a:cxn>
                    <a:cxn ang="0">
                      <a:pos x="T12" y="T13"/>
                    </a:cxn>
                  </a:cxnLst>
                  <a:rect l="0" t="0" r="r" b="b"/>
                  <a:pathLst>
                    <a:path w="27" h="66">
                      <a:moveTo>
                        <a:pt x="11" y="3"/>
                      </a:moveTo>
                      <a:lnTo>
                        <a:pt x="15" y="31"/>
                      </a:lnTo>
                      <a:lnTo>
                        <a:pt x="27" y="66"/>
                      </a:lnTo>
                      <a:lnTo>
                        <a:pt x="8" y="57"/>
                      </a:lnTo>
                      <a:lnTo>
                        <a:pt x="0" y="51"/>
                      </a:lnTo>
                      <a:lnTo>
                        <a:pt x="0" y="0"/>
                      </a:lnTo>
                      <a:lnTo>
                        <a:pt x="11" y="3"/>
                      </a:lnTo>
                      <a:close/>
                    </a:path>
                  </a:pathLst>
                </a:custGeom>
                <a:grp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sp>
            <p:nvSpPr>
              <p:cNvPr id="1400" name="Freeform 547"/>
              <p:cNvSpPr>
                <a:spLocks/>
              </p:cNvSpPr>
              <p:nvPr/>
            </p:nvSpPr>
            <p:spPr bwMode="auto">
              <a:xfrm>
                <a:off x="6643352" y="4034196"/>
                <a:ext cx="45568" cy="29975"/>
              </a:xfrm>
              <a:custGeom>
                <a:avLst/>
                <a:gdLst>
                  <a:gd name="T0" fmla="*/ 3 w 28"/>
                  <a:gd name="T1" fmla="*/ 0 h 17"/>
                  <a:gd name="T2" fmla="*/ 13 w 28"/>
                  <a:gd name="T3" fmla="*/ 16 h 17"/>
                  <a:gd name="T4" fmla="*/ 25 w 28"/>
                  <a:gd name="T5" fmla="*/ 14 h 17"/>
                  <a:gd name="T6" fmla="*/ 3 w 28"/>
                  <a:gd name="T7" fmla="*/ 0 h 17"/>
                </a:gdLst>
                <a:ahLst/>
                <a:cxnLst>
                  <a:cxn ang="0">
                    <a:pos x="T0" y="T1"/>
                  </a:cxn>
                  <a:cxn ang="0">
                    <a:pos x="T2" y="T3"/>
                  </a:cxn>
                  <a:cxn ang="0">
                    <a:pos x="T4" y="T5"/>
                  </a:cxn>
                  <a:cxn ang="0">
                    <a:pos x="T6" y="T7"/>
                  </a:cxn>
                </a:cxnLst>
                <a:rect l="0" t="0" r="r" b="b"/>
                <a:pathLst>
                  <a:path w="28" h="17">
                    <a:moveTo>
                      <a:pt x="3" y="0"/>
                    </a:moveTo>
                    <a:cubicBezTo>
                      <a:pt x="0" y="10"/>
                      <a:pt x="4" y="12"/>
                      <a:pt x="13" y="16"/>
                    </a:cubicBezTo>
                    <a:cubicBezTo>
                      <a:pt x="17" y="15"/>
                      <a:pt x="22" y="17"/>
                      <a:pt x="25" y="14"/>
                    </a:cubicBezTo>
                    <a:cubicBezTo>
                      <a:pt x="28" y="11"/>
                      <a:pt x="13" y="0"/>
                      <a:pt x="3"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01" name="Freeform 548"/>
              <p:cNvSpPr>
                <a:spLocks/>
              </p:cNvSpPr>
              <p:nvPr/>
            </p:nvSpPr>
            <p:spPr bwMode="auto">
              <a:xfrm>
                <a:off x="6571748" y="4055355"/>
                <a:ext cx="50451" cy="38790"/>
              </a:xfrm>
              <a:custGeom>
                <a:avLst/>
                <a:gdLst>
                  <a:gd name="T0" fmla="*/ 11 w 31"/>
                  <a:gd name="T1" fmla="*/ 6 h 22"/>
                  <a:gd name="T2" fmla="*/ 25 w 31"/>
                  <a:gd name="T3" fmla="*/ 18 h 22"/>
                  <a:gd name="T4" fmla="*/ 11 w 31"/>
                  <a:gd name="T5" fmla="*/ 6 h 22"/>
                </a:gdLst>
                <a:ahLst/>
                <a:cxnLst>
                  <a:cxn ang="0">
                    <a:pos x="T0" y="T1"/>
                  </a:cxn>
                  <a:cxn ang="0">
                    <a:pos x="T2" y="T3"/>
                  </a:cxn>
                  <a:cxn ang="0">
                    <a:pos x="T4" y="T5"/>
                  </a:cxn>
                </a:cxnLst>
                <a:rect l="0" t="0" r="r" b="b"/>
                <a:pathLst>
                  <a:path w="31" h="22">
                    <a:moveTo>
                      <a:pt x="11" y="6"/>
                    </a:moveTo>
                    <a:cubicBezTo>
                      <a:pt x="13" y="16"/>
                      <a:pt x="14" y="22"/>
                      <a:pt x="25" y="18"/>
                    </a:cubicBezTo>
                    <a:cubicBezTo>
                      <a:pt x="31" y="1"/>
                      <a:pt x="0" y="0"/>
                      <a:pt x="11" y="6"/>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02" name="Freeform 549"/>
              <p:cNvSpPr>
                <a:spLocks/>
              </p:cNvSpPr>
              <p:nvPr/>
            </p:nvSpPr>
            <p:spPr bwMode="auto">
              <a:xfrm>
                <a:off x="6711703" y="3889615"/>
                <a:ext cx="47196" cy="100501"/>
              </a:xfrm>
              <a:custGeom>
                <a:avLst/>
                <a:gdLst>
                  <a:gd name="T0" fmla="*/ 21 w 29"/>
                  <a:gd name="T1" fmla="*/ 10 h 57"/>
                  <a:gd name="T2" fmla="*/ 17 w 29"/>
                  <a:gd name="T3" fmla="*/ 38 h 57"/>
                  <a:gd name="T4" fmla="*/ 11 w 29"/>
                  <a:gd name="T5" fmla="*/ 50 h 57"/>
                  <a:gd name="T6" fmla="*/ 29 w 29"/>
                  <a:gd name="T7" fmla="*/ 22 h 57"/>
                  <a:gd name="T8" fmla="*/ 21 w 29"/>
                  <a:gd name="T9" fmla="*/ 10 h 57"/>
                </a:gdLst>
                <a:ahLst/>
                <a:cxnLst>
                  <a:cxn ang="0">
                    <a:pos x="T0" y="T1"/>
                  </a:cxn>
                  <a:cxn ang="0">
                    <a:pos x="T2" y="T3"/>
                  </a:cxn>
                  <a:cxn ang="0">
                    <a:pos x="T4" y="T5"/>
                  </a:cxn>
                  <a:cxn ang="0">
                    <a:pos x="T6" y="T7"/>
                  </a:cxn>
                  <a:cxn ang="0">
                    <a:pos x="T8" y="T9"/>
                  </a:cxn>
                </a:cxnLst>
                <a:rect l="0" t="0" r="r" b="b"/>
                <a:pathLst>
                  <a:path w="29" h="57">
                    <a:moveTo>
                      <a:pt x="21" y="10"/>
                    </a:moveTo>
                    <a:cubicBezTo>
                      <a:pt x="19" y="19"/>
                      <a:pt x="19" y="29"/>
                      <a:pt x="17" y="38"/>
                    </a:cubicBezTo>
                    <a:cubicBezTo>
                      <a:pt x="16" y="43"/>
                      <a:pt x="0" y="57"/>
                      <a:pt x="11" y="50"/>
                    </a:cubicBezTo>
                    <a:cubicBezTo>
                      <a:pt x="22" y="43"/>
                      <a:pt x="26" y="34"/>
                      <a:pt x="29" y="22"/>
                    </a:cubicBezTo>
                    <a:cubicBezTo>
                      <a:pt x="28" y="19"/>
                      <a:pt x="21" y="0"/>
                      <a:pt x="21" y="10"/>
                    </a:cubicBezTo>
                    <a:close/>
                  </a:path>
                </a:pathLst>
              </a:custGeom>
              <a:grp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03" name="Freeform 551"/>
              <p:cNvSpPr>
                <a:spLocks/>
              </p:cNvSpPr>
              <p:nvPr/>
            </p:nvSpPr>
            <p:spPr bwMode="auto">
              <a:xfrm>
                <a:off x="6476076" y="4058365"/>
                <a:ext cx="39357" cy="32200"/>
              </a:xfrm>
              <a:custGeom>
                <a:avLst/>
                <a:gdLst>
                  <a:gd name="T0" fmla="*/ 15 w 23"/>
                  <a:gd name="T1" fmla="*/ 6 h 18"/>
                  <a:gd name="T2" fmla="*/ 11 w 23"/>
                  <a:gd name="T3" fmla="*/ 18 h 18"/>
                  <a:gd name="T4" fmla="*/ 19 w 23"/>
                  <a:gd name="T5" fmla="*/ 16 h 18"/>
                  <a:gd name="T6" fmla="*/ 15 w 23"/>
                  <a:gd name="T7" fmla="*/ 6 h 18"/>
                </a:gdLst>
                <a:ahLst/>
                <a:cxnLst>
                  <a:cxn ang="0">
                    <a:pos x="T0" y="T1"/>
                  </a:cxn>
                  <a:cxn ang="0">
                    <a:pos x="T2" y="T3"/>
                  </a:cxn>
                  <a:cxn ang="0">
                    <a:pos x="T4" y="T5"/>
                  </a:cxn>
                  <a:cxn ang="0">
                    <a:pos x="T6" y="T7"/>
                  </a:cxn>
                </a:cxnLst>
                <a:rect l="0" t="0" r="r" b="b"/>
                <a:pathLst>
                  <a:path w="23" h="18">
                    <a:moveTo>
                      <a:pt x="15" y="6"/>
                    </a:moveTo>
                    <a:cubicBezTo>
                      <a:pt x="0" y="1"/>
                      <a:pt x="3" y="10"/>
                      <a:pt x="11" y="18"/>
                    </a:cubicBezTo>
                    <a:cubicBezTo>
                      <a:pt x="14" y="17"/>
                      <a:pt x="17" y="18"/>
                      <a:pt x="19" y="16"/>
                    </a:cubicBezTo>
                    <a:cubicBezTo>
                      <a:pt x="23" y="13"/>
                      <a:pt x="21" y="0"/>
                      <a:pt x="15" y="6"/>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04" name="Freeform 553"/>
              <p:cNvSpPr>
                <a:spLocks/>
              </p:cNvSpPr>
              <p:nvPr/>
            </p:nvSpPr>
            <p:spPr bwMode="auto">
              <a:xfrm>
                <a:off x="6880584" y="3042260"/>
                <a:ext cx="461329" cy="679788"/>
              </a:xfrm>
              <a:custGeom>
                <a:avLst/>
                <a:gdLst>
                  <a:gd name="T0" fmla="*/ 68 w 282"/>
                  <a:gd name="T1" fmla="*/ 364 h 385"/>
                  <a:gd name="T2" fmla="*/ 40 w 282"/>
                  <a:gd name="T3" fmla="*/ 358 h 385"/>
                  <a:gd name="T4" fmla="*/ 24 w 282"/>
                  <a:gd name="T5" fmla="*/ 346 h 385"/>
                  <a:gd name="T6" fmla="*/ 32 w 282"/>
                  <a:gd name="T7" fmla="*/ 308 h 385"/>
                  <a:gd name="T8" fmla="*/ 20 w 282"/>
                  <a:gd name="T9" fmla="*/ 278 h 385"/>
                  <a:gd name="T10" fmla="*/ 40 w 282"/>
                  <a:gd name="T11" fmla="*/ 236 h 385"/>
                  <a:gd name="T12" fmla="*/ 94 w 282"/>
                  <a:gd name="T13" fmla="*/ 196 h 385"/>
                  <a:gd name="T14" fmla="*/ 116 w 282"/>
                  <a:gd name="T15" fmla="*/ 190 h 385"/>
                  <a:gd name="T16" fmla="*/ 104 w 282"/>
                  <a:gd name="T17" fmla="*/ 176 h 385"/>
                  <a:gd name="T18" fmla="*/ 58 w 282"/>
                  <a:gd name="T19" fmla="*/ 134 h 385"/>
                  <a:gd name="T20" fmla="*/ 38 w 282"/>
                  <a:gd name="T21" fmla="*/ 102 h 385"/>
                  <a:gd name="T22" fmla="*/ 24 w 282"/>
                  <a:gd name="T23" fmla="*/ 70 h 385"/>
                  <a:gd name="T24" fmla="*/ 0 w 282"/>
                  <a:gd name="T25" fmla="*/ 44 h 385"/>
                  <a:gd name="T26" fmla="*/ 14 w 282"/>
                  <a:gd name="T27" fmla="*/ 22 h 385"/>
                  <a:gd name="T28" fmla="*/ 24 w 282"/>
                  <a:gd name="T29" fmla="*/ 32 h 385"/>
                  <a:gd name="T30" fmla="*/ 28 w 282"/>
                  <a:gd name="T31" fmla="*/ 44 h 385"/>
                  <a:gd name="T32" fmla="*/ 40 w 282"/>
                  <a:gd name="T33" fmla="*/ 62 h 385"/>
                  <a:gd name="T34" fmla="*/ 62 w 282"/>
                  <a:gd name="T35" fmla="*/ 54 h 385"/>
                  <a:gd name="T36" fmla="*/ 84 w 282"/>
                  <a:gd name="T37" fmla="*/ 44 h 385"/>
                  <a:gd name="T38" fmla="*/ 96 w 282"/>
                  <a:gd name="T39" fmla="*/ 24 h 385"/>
                  <a:gd name="T40" fmla="*/ 98 w 282"/>
                  <a:gd name="T41" fmla="*/ 10 h 385"/>
                  <a:gd name="T42" fmla="*/ 120 w 282"/>
                  <a:gd name="T43" fmla="*/ 0 h 385"/>
                  <a:gd name="T44" fmla="*/ 158 w 282"/>
                  <a:gd name="T45" fmla="*/ 30 h 385"/>
                  <a:gd name="T46" fmla="*/ 168 w 282"/>
                  <a:gd name="T47" fmla="*/ 50 h 385"/>
                  <a:gd name="T48" fmla="*/ 180 w 282"/>
                  <a:gd name="T49" fmla="*/ 84 h 385"/>
                  <a:gd name="T50" fmla="*/ 200 w 282"/>
                  <a:gd name="T51" fmla="*/ 98 h 385"/>
                  <a:gd name="T52" fmla="*/ 200 w 282"/>
                  <a:gd name="T53" fmla="*/ 142 h 385"/>
                  <a:gd name="T54" fmla="*/ 226 w 282"/>
                  <a:gd name="T55" fmla="*/ 182 h 385"/>
                  <a:gd name="T56" fmla="*/ 266 w 282"/>
                  <a:gd name="T57" fmla="*/ 258 h 385"/>
                  <a:gd name="T58" fmla="*/ 230 w 282"/>
                  <a:gd name="T59" fmla="*/ 310 h 385"/>
                  <a:gd name="T60" fmla="*/ 212 w 282"/>
                  <a:gd name="T61" fmla="*/ 332 h 385"/>
                  <a:gd name="T62" fmla="*/ 152 w 282"/>
                  <a:gd name="T63" fmla="*/ 360 h 385"/>
                  <a:gd name="T64" fmla="*/ 110 w 282"/>
                  <a:gd name="T65" fmla="*/ 380 h 385"/>
                  <a:gd name="T66" fmla="*/ 82 w 282"/>
                  <a:gd name="T67" fmla="*/ 384 h 385"/>
                  <a:gd name="T68" fmla="*/ 72 w 282"/>
                  <a:gd name="T69" fmla="*/ 382 h 385"/>
                  <a:gd name="T70" fmla="*/ 68 w 282"/>
                  <a:gd name="T71" fmla="*/ 36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2" h="385">
                    <a:moveTo>
                      <a:pt x="68" y="364"/>
                    </a:moveTo>
                    <a:cubicBezTo>
                      <a:pt x="58" y="362"/>
                      <a:pt x="50" y="359"/>
                      <a:pt x="40" y="358"/>
                    </a:cubicBezTo>
                    <a:cubicBezTo>
                      <a:pt x="32" y="355"/>
                      <a:pt x="31" y="350"/>
                      <a:pt x="24" y="346"/>
                    </a:cubicBezTo>
                    <a:cubicBezTo>
                      <a:pt x="26" y="330"/>
                      <a:pt x="30" y="323"/>
                      <a:pt x="32" y="308"/>
                    </a:cubicBezTo>
                    <a:cubicBezTo>
                      <a:pt x="29" y="282"/>
                      <a:pt x="30" y="293"/>
                      <a:pt x="20" y="278"/>
                    </a:cubicBezTo>
                    <a:cubicBezTo>
                      <a:pt x="23" y="237"/>
                      <a:pt x="18" y="251"/>
                      <a:pt x="40" y="236"/>
                    </a:cubicBezTo>
                    <a:cubicBezTo>
                      <a:pt x="48" y="224"/>
                      <a:pt x="80" y="201"/>
                      <a:pt x="94" y="196"/>
                    </a:cubicBezTo>
                    <a:cubicBezTo>
                      <a:pt x="104" y="198"/>
                      <a:pt x="112" y="201"/>
                      <a:pt x="116" y="190"/>
                    </a:cubicBezTo>
                    <a:cubicBezTo>
                      <a:pt x="113" y="182"/>
                      <a:pt x="112" y="179"/>
                      <a:pt x="104" y="176"/>
                    </a:cubicBezTo>
                    <a:cubicBezTo>
                      <a:pt x="94" y="146"/>
                      <a:pt x="90" y="140"/>
                      <a:pt x="58" y="134"/>
                    </a:cubicBezTo>
                    <a:cubicBezTo>
                      <a:pt x="50" y="124"/>
                      <a:pt x="45" y="113"/>
                      <a:pt x="38" y="102"/>
                    </a:cubicBezTo>
                    <a:cubicBezTo>
                      <a:pt x="27" y="86"/>
                      <a:pt x="42" y="82"/>
                      <a:pt x="24" y="70"/>
                    </a:cubicBezTo>
                    <a:cubicBezTo>
                      <a:pt x="20" y="64"/>
                      <a:pt x="0" y="44"/>
                      <a:pt x="0" y="44"/>
                    </a:cubicBezTo>
                    <a:cubicBezTo>
                      <a:pt x="8" y="38"/>
                      <a:pt x="9" y="30"/>
                      <a:pt x="14" y="22"/>
                    </a:cubicBezTo>
                    <a:cubicBezTo>
                      <a:pt x="17" y="26"/>
                      <a:pt x="22" y="28"/>
                      <a:pt x="24" y="32"/>
                    </a:cubicBezTo>
                    <a:cubicBezTo>
                      <a:pt x="26" y="36"/>
                      <a:pt x="26" y="40"/>
                      <a:pt x="28" y="44"/>
                    </a:cubicBezTo>
                    <a:cubicBezTo>
                      <a:pt x="32" y="50"/>
                      <a:pt x="40" y="62"/>
                      <a:pt x="40" y="62"/>
                    </a:cubicBezTo>
                    <a:cubicBezTo>
                      <a:pt x="49" y="60"/>
                      <a:pt x="54" y="57"/>
                      <a:pt x="62" y="54"/>
                    </a:cubicBezTo>
                    <a:cubicBezTo>
                      <a:pt x="74" y="58"/>
                      <a:pt x="75" y="50"/>
                      <a:pt x="84" y="44"/>
                    </a:cubicBezTo>
                    <a:cubicBezTo>
                      <a:pt x="87" y="37"/>
                      <a:pt x="96" y="24"/>
                      <a:pt x="96" y="24"/>
                    </a:cubicBezTo>
                    <a:cubicBezTo>
                      <a:pt x="97" y="19"/>
                      <a:pt x="95" y="14"/>
                      <a:pt x="98" y="10"/>
                    </a:cubicBezTo>
                    <a:cubicBezTo>
                      <a:pt x="101" y="7"/>
                      <a:pt x="120" y="0"/>
                      <a:pt x="120" y="0"/>
                    </a:cubicBezTo>
                    <a:cubicBezTo>
                      <a:pt x="145" y="3"/>
                      <a:pt x="139" y="17"/>
                      <a:pt x="158" y="30"/>
                    </a:cubicBezTo>
                    <a:cubicBezTo>
                      <a:pt x="160" y="37"/>
                      <a:pt x="168" y="50"/>
                      <a:pt x="168" y="50"/>
                    </a:cubicBezTo>
                    <a:cubicBezTo>
                      <a:pt x="170" y="58"/>
                      <a:pt x="173" y="78"/>
                      <a:pt x="180" y="84"/>
                    </a:cubicBezTo>
                    <a:cubicBezTo>
                      <a:pt x="187" y="90"/>
                      <a:pt x="194" y="92"/>
                      <a:pt x="200" y="98"/>
                    </a:cubicBezTo>
                    <a:cubicBezTo>
                      <a:pt x="198" y="113"/>
                      <a:pt x="194" y="127"/>
                      <a:pt x="200" y="142"/>
                    </a:cubicBezTo>
                    <a:cubicBezTo>
                      <a:pt x="206" y="157"/>
                      <a:pt x="221" y="166"/>
                      <a:pt x="226" y="182"/>
                    </a:cubicBezTo>
                    <a:cubicBezTo>
                      <a:pt x="215" y="214"/>
                      <a:pt x="242" y="242"/>
                      <a:pt x="266" y="258"/>
                    </a:cubicBezTo>
                    <a:cubicBezTo>
                      <a:pt x="282" y="281"/>
                      <a:pt x="246" y="300"/>
                      <a:pt x="230" y="310"/>
                    </a:cubicBezTo>
                    <a:cubicBezTo>
                      <a:pt x="222" y="315"/>
                      <a:pt x="219" y="325"/>
                      <a:pt x="212" y="332"/>
                    </a:cubicBezTo>
                    <a:cubicBezTo>
                      <a:pt x="203" y="360"/>
                      <a:pt x="177" y="358"/>
                      <a:pt x="152" y="360"/>
                    </a:cubicBezTo>
                    <a:cubicBezTo>
                      <a:pt x="137" y="363"/>
                      <a:pt x="123" y="371"/>
                      <a:pt x="110" y="380"/>
                    </a:cubicBezTo>
                    <a:cubicBezTo>
                      <a:pt x="102" y="385"/>
                      <a:pt x="82" y="384"/>
                      <a:pt x="82" y="384"/>
                    </a:cubicBezTo>
                    <a:cubicBezTo>
                      <a:pt x="79" y="383"/>
                      <a:pt x="75" y="384"/>
                      <a:pt x="72" y="382"/>
                    </a:cubicBezTo>
                    <a:cubicBezTo>
                      <a:pt x="68" y="380"/>
                      <a:pt x="57" y="364"/>
                      <a:pt x="68" y="364"/>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nvGrpSpPr>
              <p:cNvPr id="1405" name="Gruppieren 345"/>
              <p:cNvGrpSpPr/>
              <p:nvPr/>
            </p:nvGrpSpPr>
            <p:grpSpPr>
              <a:xfrm>
                <a:off x="6352271" y="3113816"/>
                <a:ext cx="624703" cy="951705"/>
                <a:chOff x="4212416" y="1803880"/>
                <a:chExt cx="324594" cy="494503"/>
              </a:xfrm>
              <a:grpFill/>
            </p:grpSpPr>
            <p:sp>
              <p:nvSpPr>
                <p:cNvPr id="1422" name="Freeform 221"/>
                <p:cNvSpPr>
                  <a:spLocks/>
                </p:cNvSpPr>
                <p:nvPr/>
              </p:nvSpPr>
              <p:spPr bwMode="auto">
                <a:xfrm>
                  <a:off x="4278505" y="2261712"/>
                  <a:ext cx="37280" cy="36671"/>
                </a:xfrm>
                <a:custGeom>
                  <a:avLst/>
                  <a:gdLst>
                    <a:gd name="T0" fmla="*/ 18 w 44"/>
                    <a:gd name="T1" fmla="*/ 4 h 40"/>
                    <a:gd name="T2" fmla="*/ 0 w 44"/>
                    <a:gd name="T3" fmla="*/ 20 h 40"/>
                    <a:gd name="T4" fmla="*/ 40 w 44"/>
                    <a:gd name="T5" fmla="*/ 28 h 40"/>
                    <a:gd name="T6" fmla="*/ 32 w 44"/>
                    <a:gd name="T7" fmla="*/ 0 h 40"/>
                    <a:gd name="T8" fmla="*/ 18 w 44"/>
                    <a:gd name="T9" fmla="*/ 4 h 40"/>
                  </a:gdLst>
                  <a:ahLst/>
                  <a:cxnLst>
                    <a:cxn ang="0">
                      <a:pos x="T0" y="T1"/>
                    </a:cxn>
                    <a:cxn ang="0">
                      <a:pos x="T2" y="T3"/>
                    </a:cxn>
                    <a:cxn ang="0">
                      <a:pos x="T4" y="T5"/>
                    </a:cxn>
                    <a:cxn ang="0">
                      <a:pos x="T6" y="T7"/>
                    </a:cxn>
                    <a:cxn ang="0">
                      <a:pos x="T8" y="T9"/>
                    </a:cxn>
                  </a:cxnLst>
                  <a:rect l="0" t="0" r="r" b="b"/>
                  <a:pathLst>
                    <a:path w="44" h="40">
                      <a:moveTo>
                        <a:pt x="18" y="4"/>
                      </a:moveTo>
                      <a:cubicBezTo>
                        <a:pt x="6" y="8"/>
                        <a:pt x="4" y="8"/>
                        <a:pt x="0" y="20"/>
                      </a:cubicBezTo>
                      <a:cubicBezTo>
                        <a:pt x="7" y="40"/>
                        <a:pt x="17" y="31"/>
                        <a:pt x="40" y="28"/>
                      </a:cubicBezTo>
                      <a:cubicBezTo>
                        <a:pt x="44" y="17"/>
                        <a:pt x="43" y="4"/>
                        <a:pt x="32" y="0"/>
                      </a:cubicBezTo>
                      <a:cubicBezTo>
                        <a:pt x="21" y="2"/>
                        <a:pt x="25" y="0"/>
                        <a:pt x="18" y="4"/>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nvGrpSpPr>
                <p:cNvPr id="1423" name="Gruppieren 347"/>
                <p:cNvGrpSpPr/>
                <p:nvPr/>
              </p:nvGrpSpPr>
              <p:grpSpPr>
                <a:xfrm>
                  <a:off x="4212416" y="1803880"/>
                  <a:ext cx="324594" cy="490837"/>
                  <a:chOff x="4212416" y="1803880"/>
                  <a:chExt cx="324594" cy="490837"/>
                </a:xfrm>
                <a:grpFill/>
              </p:grpSpPr>
              <p:sp>
                <p:nvSpPr>
                  <p:cNvPr id="1424" name="Freeform 222"/>
                  <p:cNvSpPr>
                    <a:spLocks/>
                  </p:cNvSpPr>
                  <p:nvPr/>
                </p:nvSpPr>
                <p:spPr bwMode="auto">
                  <a:xfrm>
                    <a:off x="4212416" y="2195704"/>
                    <a:ext cx="62699" cy="99013"/>
                  </a:xfrm>
                  <a:custGeom>
                    <a:avLst/>
                    <a:gdLst>
                      <a:gd name="T0" fmla="*/ 36 w 74"/>
                      <a:gd name="T1" fmla="*/ 106 h 108"/>
                      <a:gd name="T2" fmla="*/ 20 w 74"/>
                      <a:gd name="T3" fmla="*/ 96 h 108"/>
                      <a:gd name="T4" fmla="*/ 14 w 74"/>
                      <a:gd name="T5" fmla="*/ 94 h 108"/>
                      <a:gd name="T6" fmla="*/ 6 w 74"/>
                      <a:gd name="T7" fmla="*/ 72 h 108"/>
                      <a:gd name="T8" fmla="*/ 10 w 74"/>
                      <a:gd name="T9" fmla="*/ 30 h 108"/>
                      <a:gd name="T10" fmla="*/ 44 w 74"/>
                      <a:gd name="T11" fmla="*/ 10 h 108"/>
                      <a:gd name="T12" fmla="*/ 60 w 74"/>
                      <a:gd name="T13" fmla="*/ 0 h 108"/>
                      <a:gd name="T14" fmla="*/ 60 w 74"/>
                      <a:gd name="T15" fmla="*/ 28 h 108"/>
                      <a:gd name="T16" fmla="*/ 74 w 74"/>
                      <a:gd name="T17" fmla="*/ 66 h 108"/>
                      <a:gd name="T18" fmla="*/ 60 w 74"/>
                      <a:gd name="T19" fmla="*/ 72 h 108"/>
                      <a:gd name="T20" fmla="*/ 46 w 74"/>
                      <a:gd name="T21" fmla="*/ 90 h 108"/>
                      <a:gd name="T22" fmla="*/ 36 w 74"/>
                      <a:gd name="T23"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108">
                        <a:moveTo>
                          <a:pt x="36" y="106"/>
                        </a:moveTo>
                        <a:cubicBezTo>
                          <a:pt x="30" y="96"/>
                          <a:pt x="34" y="101"/>
                          <a:pt x="20" y="96"/>
                        </a:cubicBezTo>
                        <a:cubicBezTo>
                          <a:pt x="18" y="95"/>
                          <a:pt x="14" y="94"/>
                          <a:pt x="14" y="94"/>
                        </a:cubicBezTo>
                        <a:cubicBezTo>
                          <a:pt x="12" y="85"/>
                          <a:pt x="9" y="80"/>
                          <a:pt x="6" y="72"/>
                        </a:cubicBezTo>
                        <a:cubicBezTo>
                          <a:pt x="7" y="58"/>
                          <a:pt x="0" y="40"/>
                          <a:pt x="10" y="30"/>
                        </a:cubicBezTo>
                        <a:cubicBezTo>
                          <a:pt x="20" y="20"/>
                          <a:pt x="34" y="20"/>
                          <a:pt x="44" y="10"/>
                        </a:cubicBezTo>
                        <a:cubicBezTo>
                          <a:pt x="48" y="6"/>
                          <a:pt x="60" y="0"/>
                          <a:pt x="60" y="0"/>
                        </a:cubicBezTo>
                        <a:cubicBezTo>
                          <a:pt x="66" y="9"/>
                          <a:pt x="63" y="18"/>
                          <a:pt x="60" y="28"/>
                        </a:cubicBezTo>
                        <a:cubicBezTo>
                          <a:pt x="62" y="40"/>
                          <a:pt x="67" y="55"/>
                          <a:pt x="74" y="66"/>
                        </a:cubicBezTo>
                        <a:cubicBezTo>
                          <a:pt x="70" y="69"/>
                          <a:pt x="64" y="69"/>
                          <a:pt x="60" y="72"/>
                        </a:cubicBezTo>
                        <a:cubicBezTo>
                          <a:pt x="54" y="77"/>
                          <a:pt x="51" y="84"/>
                          <a:pt x="46" y="90"/>
                        </a:cubicBezTo>
                        <a:cubicBezTo>
                          <a:pt x="44" y="93"/>
                          <a:pt x="36" y="108"/>
                          <a:pt x="36" y="106"/>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25" name="Freeform 546"/>
                  <p:cNvSpPr>
                    <a:spLocks/>
                  </p:cNvSpPr>
                  <p:nvPr/>
                </p:nvSpPr>
                <p:spPr bwMode="auto">
                  <a:xfrm>
                    <a:off x="4293477" y="1803880"/>
                    <a:ext cx="243533" cy="478227"/>
                  </a:xfrm>
                  <a:custGeom>
                    <a:avLst/>
                    <a:gdLst>
                      <a:gd name="T0" fmla="*/ 0 w 288"/>
                      <a:gd name="T1" fmla="*/ 398 h 522"/>
                      <a:gd name="T2" fmla="*/ 6 w 288"/>
                      <a:gd name="T3" fmla="*/ 430 h 522"/>
                      <a:gd name="T4" fmla="*/ 22 w 288"/>
                      <a:gd name="T5" fmla="*/ 446 h 522"/>
                      <a:gd name="T6" fmla="*/ 20 w 288"/>
                      <a:gd name="T7" fmla="*/ 464 h 522"/>
                      <a:gd name="T8" fmla="*/ 32 w 288"/>
                      <a:gd name="T9" fmla="*/ 478 h 522"/>
                      <a:gd name="T10" fmla="*/ 30 w 288"/>
                      <a:gd name="T11" fmla="*/ 522 h 522"/>
                      <a:gd name="T12" fmla="*/ 76 w 288"/>
                      <a:gd name="T13" fmla="*/ 516 h 522"/>
                      <a:gd name="T14" fmla="*/ 84 w 288"/>
                      <a:gd name="T15" fmla="*/ 492 h 522"/>
                      <a:gd name="T16" fmla="*/ 122 w 288"/>
                      <a:gd name="T17" fmla="*/ 482 h 522"/>
                      <a:gd name="T18" fmla="*/ 140 w 288"/>
                      <a:gd name="T19" fmla="*/ 392 h 522"/>
                      <a:gd name="T20" fmla="*/ 152 w 288"/>
                      <a:gd name="T21" fmla="*/ 374 h 522"/>
                      <a:gd name="T22" fmla="*/ 174 w 288"/>
                      <a:gd name="T23" fmla="*/ 372 h 522"/>
                      <a:gd name="T24" fmla="*/ 192 w 288"/>
                      <a:gd name="T25" fmla="*/ 336 h 522"/>
                      <a:gd name="T26" fmla="*/ 176 w 288"/>
                      <a:gd name="T27" fmla="*/ 316 h 522"/>
                      <a:gd name="T28" fmla="*/ 152 w 288"/>
                      <a:gd name="T29" fmla="*/ 302 h 522"/>
                      <a:gd name="T30" fmla="*/ 150 w 288"/>
                      <a:gd name="T31" fmla="*/ 272 h 522"/>
                      <a:gd name="T32" fmla="*/ 158 w 288"/>
                      <a:gd name="T33" fmla="*/ 258 h 522"/>
                      <a:gd name="T34" fmla="*/ 148 w 288"/>
                      <a:gd name="T35" fmla="*/ 244 h 522"/>
                      <a:gd name="T36" fmla="*/ 168 w 288"/>
                      <a:gd name="T37" fmla="*/ 234 h 522"/>
                      <a:gd name="T38" fmla="*/ 164 w 288"/>
                      <a:gd name="T39" fmla="*/ 210 h 522"/>
                      <a:gd name="T40" fmla="*/ 182 w 288"/>
                      <a:gd name="T41" fmla="*/ 214 h 522"/>
                      <a:gd name="T42" fmla="*/ 214 w 288"/>
                      <a:gd name="T43" fmla="*/ 192 h 522"/>
                      <a:gd name="T44" fmla="*/ 252 w 288"/>
                      <a:gd name="T45" fmla="*/ 162 h 522"/>
                      <a:gd name="T46" fmla="*/ 238 w 288"/>
                      <a:gd name="T47" fmla="*/ 138 h 522"/>
                      <a:gd name="T48" fmla="*/ 254 w 288"/>
                      <a:gd name="T49" fmla="*/ 116 h 522"/>
                      <a:gd name="T50" fmla="*/ 288 w 288"/>
                      <a:gd name="T51" fmla="*/ 98 h 522"/>
                      <a:gd name="T52" fmla="*/ 264 w 288"/>
                      <a:gd name="T53" fmla="*/ 50 h 522"/>
                      <a:gd name="T54" fmla="*/ 264 w 288"/>
                      <a:gd name="T55" fmla="*/ 34 h 522"/>
                      <a:gd name="T56" fmla="*/ 226 w 288"/>
                      <a:gd name="T57" fmla="*/ 0 h 522"/>
                      <a:gd name="T58" fmla="*/ 194 w 288"/>
                      <a:gd name="T59" fmla="*/ 20 h 522"/>
                      <a:gd name="T60" fmla="*/ 172 w 288"/>
                      <a:gd name="T61" fmla="*/ 42 h 522"/>
                      <a:gd name="T62" fmla="*/ 158 w 288"/>
                      <a:gd name="T63" fmla="*/ 28 h 522"/>
                      <a:gd name="T64" fmla="*/ 144 w 288"/>
                      <a:gd name="T65" fmla="*/ 58 h 522"/>
                      <a:gd name="T66" fmla="*/ 108 w 288"/>
                      <a:gd name="T67" fmla="*/ 64 h 522"/>
                      <a:gd name="T68" fmla="*/ 94 w 288"/>
                      <a:gd name="T69" fmla="*/ 96 h 522"/>
                      <a:gd name="T70" fmla="*/ 78 w 288"/>
                      <a:gd name="T71" fmla="*/ 116 h 522"/>
                      <a:gd name="T72" fmla="*/ 62 w 288"/>
                      <a:gd name="T73" fmla="*/ 134 h 522"/>
                      <a:gd name="T74" fmla="*/ 58 w 288"/>
                      <a:gd name="T75" fmla="*/ 158 h 522"/>
                      <a:gd name="T76" fmla="*/ 58 w 288"/>
                      <a:gd name="T77" fmla="*/ 182 h 522"/>
                      <a:gd name="T78" fmla="*/ 60 w 288"/>
                      <a:gd name="T79" fmla="*/ 202 h 522"/>
                      <a:gd name="T80" fmla="*/ 52 w 288"/>
                      <a:gd name="T81" fmla="*/ 220 h 522"/>
                      <a:gd name="T82" fmla="*/ 34 w 288"/>
                      <a:gd name="T83" fmla="*/ 210 h 522"/>
                      <a:gd name="T84" fmla="*/ 18 w 288"/>
                      <a:gd name="T85" fmla="*/ 218 h 522"/>
                      <a:gd name="T86" fmla="*/ 14 w 288"/>
                      <a:gd name="T87" fmla="*/ 242 h 522"/>
                      <a:gd name="T88" fmla="*/ 18 w 288"/>
                      <a:gd name="T89" fmla="*/ 270 h 522"/>
                      <a:gd name="T90" fmla="*/ 22 w 288"/>
                      <a:gd name="T91" fmla="*/ 302 h 522"/>
                      <a:gd name="T92" fmla="*/ 20 w 288"/>
                      <a:gd name="T93" fmla="*/ 350 h 522"/>
                      <a:gd name="T94" fmla="*/ 14 w 288"/>
                      <a:gd name="T95" fmla="*/ 380 h 522"/>
                      <a:gd name="T96" fmla="*/ 0 w 288"/>
                      <a:gd name="T97" fmla="*/ 39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522">
                        <a:moveTo>
                          <a:pt x="0" y="398"/>
                        </a:moveTo>
                        <a:lnTo>
                          <a:pt x="6" y="430"/>
                        </a:lnTo>
                        <a:lnTo>
                          <a:pt x="22" y="446"/>
                        </a:lnTo>
                        <a:lnTo>
                          <a:pt x="20" y="464"/>
                        </a:lnTo>
                        <a:lnTo>
                          <a:pt x="32" y="478"/>
                        </a:lnTo>
                        <a:lnTo>
                          <a:pt x="30" y="522"/>
                        </a:lnTo>
                        <a:lnTo>
                          <a:pt x="76" y="516"/>
                        </a:lnTo>
                        <a:lnTo>
                          <a:pt x="84" y="492"/>
                        </a:lnTo>
                        <a:lnTo>
                          <a:pt x="122" y="482"/>
                        </a:lnTo>
                        <a:lnTo>
                          <a:pt x="140" y="392"/>
                        </a:lnTo>
                        <a:lnTo>
                          <a:pt x="152" y="374"/>
                        </a:lnTo>
                        <a:lnTo>
                          <a:pt x="174" y="372"/>
                        </a:lnTo>
                        <a:lnTo>
                          <a:pt x="192" y="336"/>
                        </a:lnTo>
                        <a:lnTo>
                          <a:pt x="176" y="316"/>
                        </a:lnTo>
                        <a:lnTo>
                          <a:pt x="152" y="302"/>
                        </a:lnTo>
                        <a:lnTo>
                          <a:pt x="150" y="272"/>
                        </a:lnTo>
                        <a:lnTo>
                          <a:pt x="158" y="258"/>
                        </a:lnTo>
                        <a:lnTo>
                          <a:pt x="148" y="244"/>
                        </a:lnTo>
                        <a:lnTo>
                          <a:pt x="168" y="234"/>
                        </a:lnTo>
                        <a:lnTo>
                          <a:pt x="164" y="210"/>
                        </a:lnTo>
                        <a:lnTo>
                          <a:pt x="182" y="214"/>
                        </a:lnTo>
                        <a:lnTo>
                          <a:pt x="214" y="192"/>
                        </a:lnTo>
                        <a:lnTo>
                          <a:pt x="252" y="162"/>
                        </a:lnTo>
                        <a:lnTo>
                          <a:pt x="238" y="138"/>
                        </a:lnTo>
                        <a:lnTo>
                          <a:pt x="254" y="116"/>
                        </a:lnTo>
                        <a:lnTo>
                          <a:pt x="288" y="98"/>
                        </a:lnTo>
                        <a:lnTo>
                          <a:pt x="264" y="50"/>
                        </a:lnTo>
                        <a:lnTo>
                          <a:pt x="264" y="34"/>
                        </a:lnTo>
                        <a:lnTo>
                          <a:pt x="226" y="0"/>
                        </a:lnTo>
                        <a:lnTo>
                          <a:pt x="194" y="20"/>
                        </a:lnTo>
                        <a:lnTo>
                          <a:pt x="172" y="42"/>
                        </a:lnTo>
                        <a:lnTo>
                          <a:pt x="158" y="28"/>
                        </a:lnTo>
                        <a:lnTo>
                          <a:pt x="144" y="58"/>
                        </a:lnTo>
                        <a:lnTo>
                          <a:pt x="108" y="64"/>
                        </a:lnTo>
                        <a:lnTo>
                          <a:pt x="94" y="96"/>
                        </a:lnTo>
                        <a:lnTo>
                          <a:pt x="78" y="116"/>
                        </a:lnTo>
                        <a:lnTo>
                          <a:pt x="62" y="134"/>
                        </a:lnTo>
                        <a:lnTo>
                          <a:pt x="58" y="158"/>
                        </a:lnTo>
                        <a:lnTo>
                          <a:pt x="58" y="182"/>
                        </a:lnTo>
                        <a:lnTo>
                          <a:pt x="60" y="202"/>
                        </a:lnTo>
                        <a:lnTo>
                          <a:pt x="52" y="220"/>
                        </a:lnTo>
                        <a:lnTo>
                          <a:pt x="34" y="210"/>
                        </a:lnTo>
                        <a:lnTo>
                          <a:pt x="18" y="218"/>
                        </a:lnTo>
                        <a:lnTo>
                          <a:pt x="14" y="242"/>
                        </a:lnTo>
                        <a:lnTo>
                          <a:pt x="18" y="270"/>
                        </a:lnTo>
                        <a:lnTo>
                          <a:pt x="22" y="302"/>
                        </a:lnTo>
                        <a:lnTo>
                          <a:pt x="20" y="350"/>
                        </a:lnTo>
                        <a:lnTo>
                          <a:pt x="14" y="380"/>
                        </a:lnTo>
                        <a:lnTo>
                          <a:pt x="0" y="398"/>
                        </a:ln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26" name="Freeform 550"/>
                  <p:cNvSpPr>
                    <a:spLocks/>
                  </p:cNvSpPr>
                  <p:nvPr/>
                </p:nvSpPr>
                <p:spPr bwMode="auto">
                  <a:xfrm>
                    <a:off x="4443993" y="2181332"/>
                    <a:ext cx="21985" cy="52220"/>
                  </a:xfrm>
                  <a:custGeom>
                    <a:avLst/>
                    <a:gdLst>
                      <a:gd name="T0" fmla="*/ 14 w 26"/>
                      <a:gd name="T1" fmla="*/ 10 h 57"/>
                      <a:gd name="T2" fmla="*/ 4 w 26"/>
                      <a:gd name="T3" fmla="*/ 38 h 57"/>
                      <a:gd name="T4" fmla="*/ 6 w 26"/>
                      <a:gd name="T5" fmla="*/ 56 h 57"/>
                      <a:gd name="T6" fmla="*/ 26 w 26"/>
                      <a:gd name="T7" fmla="*/ 34 h 57"/>
                      <a:gd name="T8" fmla="*/ 24 w 26"/>
                      <a:gd name="T9" fmla="*/ 12 h 57"/>
                      <a:gd name="T10" fmla="*/ 16 w 26"/>
                      <a:gd name="T11" fmla="*/ 2 h 57"/>
                      <a:gd name="T12" fmla="*/ 14 w 26"/>
                      <a:gd name="T13" fmla="*/ 10 h 57"/>
                    </a:gdLst>
                    <a:ahLst/>
                    <a:cxnLst>
                      <a:cxn ang="0">
                        <a:pos x="T0" y="T1"/>
                      </a:cxn>
                      <a:cxn ang="0">
                        <a:pos x="T2" y="T3"/>
                      </a:cxn>
                      <a:cxn ang="0">
                        <a:pos x="T4" y="T5"/>
                      </a:cxn>
                      <a:cxn ang="0">
                        <a:pos x="T6" y="T7"/>
                      </a:cxn>
                      <a:cxn ang="0">
                        <a:pos x="T8" y="T9"/>
                      </a:cxn>
                      <a:cxn ang="0">
                        <a:pos x="T10" y="T11"/>
                      </a:cxn>
                      <a:cxn ang="0">
                        <a:pos x="T12" y="T13"/>
                      </a:cxn>
                    </a:cxnLst>
                    <a:rect l="0" t="0" r="r" b="b"/>
                    <a:pathLst>
                      <a:path w="26" h="57">
                        <a:moveTo>
                          <a:pt x="14" y="10"/>
                        </a:moveTo>
                        <a:cubicBezTo>
                          <a:pt x="6" y="18"/>
                          <a:pt x="6" y="27"/>
                          <a:pt x="4" y="38"/>
                        </a:cubicBezTo>
                        <a:cubicBezTo>
                          <a:pt x="5" y="44"/>
                          <a:pt x="0" y="55"/>
                          <a:pt x="6" y="56"/>
                        </a:cubicBezTo>
                        <a:cubicBezTo>
                          <a:pt x="9" y="57"/>
                          <a:pt x="23" y="39"/>
                          <a:pt x="26" y="34"/>
                        </a:cubicBezTo>
                        <a:cubicBezTo>
                          <a:pt x="25" y="27"/>
                          <a:pt x="25" y="19"/>
                          <a:pt x="24" y="12"/>
                        </a:cubicBezTo>
                        <a:cubicBezTo>
                          <a:pt x="24" y="10"/>
                          <a:pt x="21" y="0"/>
                          <a:pt x="16" y="2"/>
                        </a:cubicBezTo>
                        <a:cubicBezTo>
                          <a:pt x="14" y="3"/>
                          <a:pt x="15" y="7"/>
                          <a:pt x="14" y="1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27" name="Freeform 554"/>
                  <p:cNvSpPr>
                    <a:spLocks/>
                  </p:cNvSpPr>
                  <p:nvPr/>
                </p:nvSpPr>
                <p:spPr bwMode="auto">
                  <a:xfrm>
                    <a:off x="4468226" y="2090558"/>
                    <a:ext cx="35700" cy="19266"/>
                  </a:xfrm>
                  <a:custGeom>
                    <a:avLst/>
                    <a:gdLst>
                      <a:gd name="T0" fmla="*/ 14 w 42"/>
                      <a:gd name="T1" fmla="*/ 5 h 21"/>
                      <a:gd name="T2" fmla="*/ 14 w 42"/>
                      <a:gd name="T3" fmla="*/ 21 h 21"/>
                      <a:gd name="T4" fmla="*/ 38 w 42"/>
                      <a:gd name="T5" fmla="*/ 19 h 21"/>
                      <a:gd name="T6" fmla="*/ 34 w 42"/>
                      <a:gd name="T7" fmla="*/ 7 h 21"/>
                      <a:gd name="T8" fmla="*/ 14 w 42"/>
                      <a:gd name="T9" fmla="*/ 5 h 21"/>
                    </a:gdLst>
                    <a:ahLst/>
                    <a:cxnLst>
                      <a:cxn ang="0">
                        <a:pos x="T0" y="T1"/>
                      </a:cxn>
                      <a:cxn ang="0">
                        <a:pos x="T2" y="T3"/>
                      </a:cxn>
                      <a:cxn ang="0">
                        <a:pos x="T4" y="T5"/>
                      </a:cxn>
                      <a:cxn ang="0">
                        <a:pos x="T6" y="T7"/>
                      </a:cxn>
                      <a:cxn ang="0">
                        <a:pos x="T8" y="T9"/>
                      </a:cxn>
                    </a:cxnLst>
                    <a:rect l="0" t="0" r="r" b="b"/>
                    <a:pathLst>
                      <a:path w="42" h="21">
                        <a:moveTo>
                          <a:pt x="14" y="5"/>
                        </a:moveTo>
                        <a:cubicBezTo>
                          <a:pt x="0" y="0"/>
                          <a:pt x="7" y="16"/>
                          <a:pt x="14" y="21"/>
                        </a:cubicBezTo>
                        <a:cubicBezTo>
                          <a:pt x="22" y="20"/>
                          <a:pt x="30" y="21"/>
                          <a:pt x="38" y="19"/>
                        </a:cubicBezTo>
                        <a:cubicBezTo>
                          <a:pt x="42" y="18"/>
                          <a:pt x="38" y="9"/>
                          <a:pt x="34" y="7"/>
                        </a:cubicBezTo>
                        <a:cubicBezTo>
                          <a:pt x="29" y="4"/>
                          <a:pt x="19" y="5"/>
                          <a:pt x="14" y="5"/>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grpSp>
          <p:grpSp>
            <p:nvGrpSpPr>
              <p:cNvPr id="1406" name="Gruppieren 352"/>
              <p:cNvGrpSpPr/>
              <p:nvPr/>
            </p:nvGrpSpPr>
            <p:grpSpPr>
              <a:xfrm>
                <a:off x="6883950" y="3725626"/>
                <a:ext cx="322005" cy="447231"/>
                <a:chOff x="4488675" y="2121775"/>
                <a:chExt cx="167313" cy="232380"/>
              </a:xfrm>
              <a:grpFill/>
            </p:grpSpPr>
            <p:sp>
              <p:nvSpPr>
                <p:cNvPr id="1415" name="Freeform 556"/>
                <p:cNvSpPr>
                  <a:spLocks/>
                </p:cNvSpPr>
                <p:nvPr/>
              </p:nvSpPr>
              <p:spPr bwMode="auto">
                <a:xfrm>
                  <a:off x="4532793" y="2140365"/>
                  <a:ext cx="21155" cy="14872"/>
                </a:xfrm>
                <a:custGeom>
                  <a:avLst/>
                  <a:gdLst>
                    <a:gd name="T0" fmla="*/ 14 w 25"/>
                    <a:gd name="T1" fmla="*/ 0 h 16"/>
                    <a:gd name="T2" fmla="*/ 12 w 25"/>
                    <a:gd name="T3" fmla="*/ 16 h 16"/>
                    <a:gd name="T4" fmla="*/ 24 w 25"/>
                    <a:gd name="T5" fmla="*/ 8 h 16"/>
                    <a:gd name="T6" fmla="*/ 14 w 25"/>
                    <a:gd name="T7" fmla="*/ 0 h 16"/>
                  </a:gdLst>
                  <a:ahLst/>
                  <a:cxnLst>
                    <a:cxn ang="0">
                      <a:pos x="T0" y="T1"/>
                    </a:cxn>
                    <a:cxn ang="0">
                      <a:pos x="T2" y="T3"/>
                    </a:cxn>
                    <a:cxn ang="0">
                      <a:pos x="T4" y="T5"/>
                    </a:cxn>
                    <a:cxn ang="0">
                      <a:pos x="T6" y="T7"/>
                    </a:cxn>
                  </a:cxnLst>
                  <a:rect l="0" t="0" r="r" b="b"/>
                  <a:pathLst>
                    <a:path w="25" h="16">
                      <a:moveTo>
                        <a:pt x="14" y="0"/>
                      </a:moveTo>
                      <a:cubicBezTo>
                        <a:pt x="4" y="3"/>
                        <a:pt x="0" y="12"/>
                        <a:pt x="12" y="16"/>
                      </a:cubicBezTo>
                      <a:cubicBezTo>
                        <a:pt x="17" y="15"/>
                        <a:pt x="23" y="15"/>
                        <a:pt x="24" y="8"/>
                      </a:cubicBezTo>
                      <a:cubicBezTo>
                        <a:pt x="25" y="4"/>
                        <a:pt x="14" y="0"/>
                        <a:pt x="14"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16" name="Freeform 557"/>
                <p:cNvSpPr>
                  <a:spLocks/>
                </p:cNvSpPr>
                <p:nvPr/>
              </p:nvSpPr>
              <p:spPr bwMode="auto">
                <a:xfrm>
                  <a:off x="4527715" y="2161745"/>
                  <a:ext cx="28770" cy="22308"/>
                </a:xfrm>
                <a:custGeom>
                  <a:avLst/>
                  <a:gdLst>
                    <a:gd name="T0" fmla="*/ 32 w 34"/>
                    <a:gd name="T1" fmla="*/ 5 h 24"/>
                    <a:gd name="T2" fmla="*/ 0 w 34"/>
                    <a:gd name="T3" fmla="*/ 17 h 24"/>
                    <a:gd name="T4" fmla="*/ 4 w 34"/>
                    <a:gd name="T5" fmla="*/ 23 h 24"/>
                    <a:gd name="T6" fmla="*/ 20 w 34"/>
                    <a:gd name="T7" fmla="*/ 19 h 24"/>
                    <a:gd name="T8" fmla="*/ 32 w 34"/>
                    <a:gd name="T9" fmla="*/ 5 h 24"/>
                  </a:gdLst>
                  <a:ahLst/>
                  <a:cxnLst>
                    <a:cxn ang="0">
                      <a:pos x="T0" y="T1"/>
                    </a:cxn>
                    <a:cxn ang="0">
                      <a:pos x="T2" y="T3"/>
                    </a:cxn>
                    <a:cxn ang="0">
                      <a:pos x="T4" y="T5"/>
                    </a:cxn>
                    <a:cxn ang="0">
                      <a:pos x="T6" y="T7"/>
                    </a:cxn>
                    <a:cxn ang="0">
                      <a:pos x="T8" y="T9"/>
                    </a:cxn>
                  </a:cxnLst>
                  <a:rect l="0" t="0" r="r" b="b"/>
                  <a:pathLst>
                    <a:path w="34" h="24">
                      <a:moveTo>
                        <a:pt x="32" y="5"/>
                      </a:moveTo>
                      <a:cubicBezTo>
                        <a:pt x="16" y="0"/>
                        <a:pt x="5" y="2"/>
                        <a:pt x="0" y="17"/>
                      </a:cubicBezTo>
                      <a:cubicBezTo>
                        <a:pt x="1" y="19"/>
                        <a:pt x="2" y="23"/>
                        <a:pt x="4" y="23"/>
                      </a:cubicBezTo>
                      <a:cubicBezTo>
                        <a:pt x="9" y="24"/>
                        <a:pt x="20" y="19"/>
                        <a:pt x="20" y="19"/>
                      </a:cubicBezTo>
                      <a:cubicBezTo>
                        <a:pt x="34" y="10"/>
                        <a:pt x="32" y="16"/>
                        <a:pt x="32" y="5"/>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nvGrpSpPr>
                <p:cNvPr id="1417" name="Gruppieren 355"/>
                <p:cNvGrpSpPr/>
                <p:nvPr/>
              </p:nvGrpSpPr>
              <p:grpSpPr>
                <a:xfrm>
                  <a:off x="4488675" y="2121775"/>
                  <a:ext cx="167313" cy="232380"/>
                  <a:chOff x="4488675" y="2121775"/>
                  <a:chExt cx="167313" cy="232380"/>
                </a:xfrm>
                <a:grpFill/>
              </p:grpSpPr>
              <p:sp>
                <p:nvSpPr>
                  <p:cNvPr id="1418" name="Freeform 558"/>
                  <p:cNvSpPr>
                    <a:spLocks/>
                  </p:cNvSpPr>
                  <p:nvPr/>
                </p:nvSpPr>
                <p:spPr bwMode="auto">
                  <a:xfrm>
                    <a:off x="4562408" y="2121775"/>
                    <a:ext cx="88003" cy="72503"/>
                  </a:xfrm>
                  <a:custGeom>
                    <a:avLst/>
                    <a:gdLst>
                      <a:gd name="T0" fmla="*/ 29 w 104"/>
                      <a:gd name="T1" fmla="*/ 78 h 78"/>
                      <a:gd name="T2" fmla="*/ 47 w 104"/>
                      <a:gd name="T3" fmla="*/ 70 h 78"/>
                      <a:gd name="T4" fmla="*/ 65 w 104"/>
                      <a:gd name="T5" fmla="*/ 76 h 78"/>
                      <a:gd name="T6" fmla="*/ 97 w 104"/>
                      <a:gd name="T7" fmla="*/ 44 h 78"/>
                      <a:gd name="T8" fmla="*/ 95 w 104"/>
                      <a:gd name="T9" fmla="*/ 0 h 78"/>
                      <a:gd name="T10" fmla="*/ 43 w 104"/>
                      <a:gd name="T11" fmla="*/ 4 h 78"/>
                      <a:gd name="T12" fmla="*/ 13 w 104"/>
                      <a:gd name="T13" fmla="*/ 20 h 78"/>
                      <a:gd name="T14" fmla="*/ 1 w 104"/>
                      <a:gd name="T15" fmla="*/ 40 h 78"/>
                      <a:gd name="T16" fmla="*/ 3 w 104"/>
                      <a:gd name="T17" fmla="*/ 56 h 78"/>
                      <a:gd name="T18" fmla="*/ 15 w 104"/>
                      <a:gd name="T19" fmla="*/ 60 h 78"/>
                      <a:gd name="T20" fmla="*/ 29 w 104"/>
                      <a:gd name="T21" fmla="*/ 74 h 78"/>
                      <a:gd name="T22" fmla="*/ 29 w 104"/>
                      <a:gd name="T2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78">
                        <a:moveTo>
                          <a:pt x="29" y="78"/>
                        </a:moveTo>
                        <a:cubicBezTo>
                          <a:pt x="36" y="76"/>
                          <a:pt x="40" y="72"/>
                          <a:pt x="47" y="70"/>
                        </a:cubicBezTo>
                        <a:cubicBezTo>
                          <a:pt x="53" y="72"/>
                          <a:pt x="65" y="76"/>
                          <a:pt x="65" y="76"/>
                        </a:cubicBezTo>
                        <a:cubicBezTo>
                          <a:pt x="89" y="73"/>
                          <a:pt x="92" y="67"/>
                          <a:pt x="97" y="44"/>
                        </a:cubicBezTo>
                        <a:cubicBezTo>
                          <a:pt x="98" y="27"/>
                          <a:pt x="104" y="14"/>
                          <a:pt x="95" y="0"/>
                        </a:cubicBezTo>
                        <a:cubicBezTo>
                          <a:pt x="78" y="2"/>
                          <a:pt x="60" y="2"/>
                          <a:pt x="43" y="4"/>
                        </a:cubicBezTo>
                        <a:cubicBezTo>
                          <a:pt x="30" y="6"/>
                          <a:pt x="25" y="16"/>
                          <a:pt x="13" y="20"/>
                        </a:cubicBezTo>
                        <a:cubicBezTo>
                          <a:pt x="9" y="28"/>
                          <a:pt x="4" y="32"/>
                          <a:pt x="1" y="40"/>
                        </a:cubicBezTo>
                        <a:cubicBezTo>
                          <a:pt x="2" y="45"/>
                          <a:pt x="0" y="52"/>
                          <a:pt x="3" y="56"/>
                        </a:cubicBezTo>
                        <a:cubicBezTo>
                          <a:pt x="5" y="59"/>
                          <a:pt x="15" y="60"/>
                          <a:pt x="15" y="60"/>
                        </a:cubicBezTo>
                        <a:cubicBezTo>
                          <a:pt x="36" y="46"/>
                          <a:pt x="33" y="57"/>
                          <a:pt x="29" y="74"/>
                        </a:cubicBezTo>
                        <a:cubicBezTo>
                          <a:pt x="29" y="75"/>
                          <a:pt x="29" y="77"/>
                          <a:pt x="29" y="78"/>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19" name="Freeform 559"/>
                  <p:cNvSpPr>
                    <a:spLocks/>
                  </p:cNvSpPr>
                  <p:nvPr/>
                </p:nvSpPr>
                <p:spPr bwMode="auto">
                  <a:xfrm>
                    <a:off x="4509125" y="2171969"/>
                    <a:ext cx="146863" cy="100388"/>
                  </a:xfrm>
                  <a:custGeom>
                    <a:avLst/>
                    <a:gdLst>
                      <a:gd name="T0" fmla="*/ 91 w 172"/>
                      <a:gd name="T1" fmla="*/ 27 h 110"/>
                      <a:gd name="T2" fmla="*/ 90 w 172"/>
                      <a:gd name="T3" fmla="*/ 48 h 110"/>
                      <a:gd name="T4" fmla="*/ 67 w 172"/>
                      <a:gd name="T5" fmla="*/ 41 h 110"/>
                      <a:gd name="T6" fmla="*/ 55 w 172"/>
                      <a:gd name="T7" fmla="*/ 35 h 110"/>
                      <a:gd name="T8" fmla="*/ 42 w 172"/>
                      <a:gd name="T9" fmla="*/ 23 h 110"/>
                      <a:gd name="T10" fmla="*/ 6 w 172"/>
                      <a:gd name="T11" fmla="*/ 38 h 110"/>
                      <a:gd name="T12" fmla="*/ 1 w 172"/>
                      <a:gd name="T13" fmla="*/ 66 h 110"/>
                      <a:gd name="T14" fmla="*/ 3 w 172"/>
                      <a:gd name="T15" fmla="*/ 89 h 110"/>
                      <a:gd name="T16" fmla="*/ 49 w 172"/>
                      <a:gd name="T17" fmla="*/ 84 h 110"/>
                      <a:gd name="T18" fmla="*/ 108 w 172"/>
                      <a:gd name="T19" fmla="*/ 90 h 110"/>
                      <a:gd name="T20" fmla="*/ 133 w 172"/>
                      <a:gd name="T21" fmla="*/ 98 h 110"/>
                      <a:gd name="T22" fmla="*/ 145 w 172"/>
                      <a:gd name="T23" fmla="*/ 110 h 110"/>
                      <a:gd name="T24" fmla="*/ 166 w 172"/>
                      <a:gd name="T25" fmla="*/ 87 h 110"/>
                      <a:gd name="T26" fmla="*/ 171 w 172"/>
                      <a:gd name="T27" fmla="*/ 45 h 110"/>
                      <a:gd name="T28" fmla="*/ 157 w 172"/>
                      <a:gd name="T29" fmla="*/ 0 h 110"/>
                      <a:gd name="T30" fmla="*/ 138 w 172"/>
                      <a:gd name="T31" fmla="*/ 24 h 110"/>
                      <a:gd name="T32" fmla="*/ 109 w 172"/>
                      <a:gd name="T33" fmla="*/ 17 h 110"/>
                      <a:gd name="T34" fmla="*/ 96 w 172"/>
                      <a:gd name="T35" fmla="*/ 26 h 110"/>
                      <a:gd name="T36" fmla="*/ 91 w 172"/>
                      <a:gd name="T37" fmla="*/ 2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2" h="110">
                        <a:moveTo>
                          <a:pt x="91" y="27"/>
                        </a:moveTo>
                        <a:cubicBezTo>
                          <a:pt x="91" y="34"/>
                          <a:pt x="95" y="43"/>
                          <a:pt x="90" y="48"/>
                        </a:cubicBezTo>
                        <a:cubicBezTo>
                          <a:pt x="75" y="62"/>
                          <a:pt x="70" y="48"/>
                          <a:pt x="67" y="41"/>
                        </a:cubicBezTo>
                        <a:cubicBezTo>
                          <a:pt x="65" y="30"/>
                          <a:pt x="69" y="41"/>
                          <a:pt x="55" y="35"/>
                        </a:cubicBezTo>
                        <a:cubicBezTo>
                          <a:pt x="53" y="34"/>
                          <a:pt x="44" y="25"/>
                          <a:pt x="42" y="23"/>
                        </a:cubicBezTo>
                        <a:cubicBezTo>
                          <a:pt x="27" y="24"/>
                          <a:pt x="14" y="24"/>
                          <a:pt x="6" y="38"/>
                        </a:cubicBezTo>
                        <a:cubicBezTo>
                          <a:pt x="5" y="48"/>
                          <a:pt x="5" y="57"/>
                          <a:pt x="1" y="66"/>
                        </a:cubicBezTo>
                        <a:cubicBezTo>
                          <a:pt x="0" y="74"/>
                          <a:pt x="0" y="81"/>
                          <a:pt x="3" y="89"/>
                        </a:cubicBezTo>
                        <a:cubicBezTo>
                          <a:pt x="18" y="87"/>
                          <a:pt x="34" y="87"/>
                          <a:pt x="49" y="84"/>
                        </a:cubicBezTo>
                        <a:cubicBezTo>
                          <a:pt x="72" y="85"/>
                          <a:pt x="87" y="88"/>
                          <a:pt x="108" y="90"/>
                        </a:cubicBezTo>
                        <a:cubicBezTo>
                          <a:pt x="117" y="94"/>
                          <a:pt x="123" y="96"/>
                          <a:pt x="133" y="98"/>
                        </a:cubicBezTo>
                        <a:cubicBezTo>
                          <a:pt x="144" y="106"/>
                          <a:pt x="140" y="102"/>
                          <a:pt x="145" y="110"/>
                        </a:cubicBezTo>
                        <a:cubicBezTo>
                          <a:pt x="163" y="107"/>
                          <a:pt x="158" y="102"/>
                          <a:pt x="166" y="87"/>
                        </a:cubicBezTo>
                        <a:cubicBezTo>
                          <a:pt x="169" y="73"/>
                          <a:pt x="170" y="59"/>
                          <a:pt x="171" y="45"/>
                        </a:cubicBezTo>
                        <a:cubicBezTo>
                          <a:pt x="169" y="16"/>
                          <a:pt x="172" y="2"/>
                          <a:pt x="157" y="0"/>
                        </a:cubicBezTo>
                        <a:cubicBezTo>
                          <a:pt x="153" y="7"/>
                          <a:pt x="146" y="23"/>
                          <a:pt x="138" y="24"/>
                        </a:cubicBezTo>
                        <a:cubicBezTo>
                          <a:pt x="127" y="23"/>
                          <a:pt x="120" y="19"/>
                          <a:pt x="109" y="17"/>
                        </a:cubicBezTo>
                        <a:cubicBezTo>
                          <a:pt x="100" y="19"/>
                          <a:pt x="103" y="21"/>
                          <a:pt x="96" y="26"/>
                        </a:cubicBezTo>
                        <a:cubicBezTo>
                          <a:pt x="95" y="27"/>
                          <a:pt x="91" y="27"/>
                          <a:pt x="91" y="27"/>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20" name="Freeform 560"/>
                  <p:cNvSpPr>
                    <a:spLocks/>
                  </p:cNvSpPr>
                  <p:nvPr/>
                </p:nvSpPr>
                <p:spPr bwMode="auto">
                  <a:xfrm>
                    <a:off x="4512843" y="2250049"/>
                    <a:ext cx="124555" cy="104106"/>
                  </a:xfrm>
                  <a:custGeom>
                    <a:avLst/>
                    <a:gdLst>
                      <a:gd name="T0" fmla="*/ 2 w 146"/>
                      <a:gd name="T1" fmla="*/ 6 h 114"/>
                      <a:gd name="T2" fmla="*/ 13 w 146"/>
                      <a:gd name="T3" fmla="*/ 16 h 114"/>
                      <a:gd name="T4" fmla="*/ 34 w 146"/>
                      <a:gd name="T5" fmla="*/ 40 h 114"/>
                      <a:gd name="T6" fmla="*/ 64 w 146"/>
                      <a:gd name="T7" fmla="*/ 58 h 114"/>
                      <a:gd name="T8" fmla="*/ 82 w 146"/>
                      <a:gd name="T9" fmla="*/ 97 h 114"/>
                      <a:gd name="T10" fmla="*/ 100 w 146"/>
                      <a:gd name="T11" fmla="*/ 114 h 114"/>
                      <a:gd name="T12" fmla="*/ 136 w 146"/>
                      <a:gd name="T13" fmla="*/ 81 h 114"/>
                      <a:gd name="T14" fmla="*/ 146 w 146"/>
                      <a:gd name="T15" fmla="*/ 46 h 114"/>
                      <a:gd name="T16" fmla="*/ 137 w 146"/>
                      <a:gd name="T17" fmla="*/ 25 h 114"/>
                      <a:gd name="T18" fmla="*/ 116 w 146"/>
                      <a:gd name="T19" fmla="*/ 9 h 114"/>
                      <a:gd name="T20" fmla="*/ 53 w 146"/>
                      <a:gd name="T21" fmla="*/ 0 h 114"/>
                      <a:gd name="T22" fmla="*/ 22 w 146"/>
                      <a:gd name="T23" fmla="*/ 1 h 114"/>
                      <a:gd name="T24" fmla="*/ 4 w 146"/>
                      <a:gd name="T25" fmla="*/ 4 h 114"/>
                      <a:gd name="T26" fmla="*/ 2 w 146"/>
                      <a:gd name="T27" fmla="*/ 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114">
                        <a:moveTo>
                          <a:pt x="2" y="6"/>
                        </a:moveTo>
                        <a:cubicBezTo>
                          <a:pt x="5" y="11"/>
                          <a:pt x="8" y="13"/>
                          <a:pt x="13" y="16"/>
                        </a:cubicBezTo>
                        <a:cubicBezTo>
                          <a:pt x="16" y="35"/>
                          <a:pt x="14" y="38"/>
                          <a:pt x="34" y="40"/>
                        </a:cubicBezTo>
                        <a:cubicBezTo>
                          <a:pt x="48" y="45"/>
                          <a:pt x="52" y="51"/>
                          <a:pt x="64" y="58"/>
                        </a:cubicBezTo>
                        <a:cubicBezTo>
                          <a:pt x="68" y="77"/>
                          <a:pt x="64" y="83"/>
                          <a:pt x="82" y="97"/>
                        </a:cubicBezTo>
                        <a:cubicBezTo>
                          <a:pt x="85" y="110"/>
                          <a:pt x="87" y="111"/>
                          <a:pt x="100" y="114"/>
                        </a:cubicBezTo>
                        <a:cubicBezTo>
                          <a:pt x="125" y="111"/>
                          <a:pt x="122" y="100"/>
                          <a:pt x="136" y="81"/>
                        </a:cubicBezTo>
                        <a:cubicBezTo>
                          <a:pt x="138" y="67"/>
                          <a:pt x="141" y="58"/>
                          <a:pt x="146" y="46"/>
                        </a:cubicBezTo>
                        <a:cubicBezTo>
                          <a:pt x="145" y="37"/>
                          <a:pt x="145" y="30"/>
                          <a:pt x="137" y="25"/>
                        </a:cubicBezTo>
                        <a:cubicBezTo>
                          <a:pt x="131" y="17"/>
                          <a:pt x="127" y="11"/>
                          <a:pt x="116" y="9"/>
                        </a:cubicBezTo>
                        <a:cubicBezTo>
                          <a:pt x="97" y="0"/>
                          <a:pt x="74" y="1"/>
                          <a:pt x="53" y="0"/>
                        </a:cubicBezTo>
                        <a:cubicBezTo>
                          <a:pt x="43" y="0"/>
                          <a:pt x="32" y="0"/>
                          <a:pt x="22" y="1"/>
                        </a:cubicBezTo>
                        <a:cubicBezTo>
                          <a:pt x="16" y="1"/>
                          <a:pt x="4" y="4"/>
                          <a:pt x="4" y="4"/>
                        </a:cubicBezTo>
                        <a:cubicBezTo>
                          <a:pt x="0" y="10"/>
                          <a:pt x="0" y="11"/>
                          <a:pt x="2" y="6"/>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21" name="Freeform 561"/>
                  <p:cNvSpPr>
                    <a:spLocks/>
                  </p:cNvSpPr>
                  <p:nvPr/>
                </p:nvSpPr>
                <p:spPr bwMode="auto">
                  <a:xfrm>
                    <a:off x="4488675" y="2283511"/>
                    <a:ext cx="79939" cy="44617"/>
                  </a:xfrm>
                  <a:custGeom>
                    <a:avLst/>
                    <a:gdLst>
                      <a:gd name="T0" fmla="*/ 45 w 93"/>
                      <a:gd name="T1" fmla="*/ 0 h 50"/>
                      <a:gd name="T2" fmla="*/ 61 w 93"/>
                      <a:gd name="T3" fmla="*/ 7 h 50"/>
                      <a:gd name="T4" fmla="*/ 81 w 93"/>
                      <a:gd name="T5" fmla="*/ 16 h 50"/>
                      <a:gd name="T6" fmla="*/ 93 w 93"/>
                      <a:gd name="T7" fmla="*/ 31 h 50"/>
                      <a:gd name="T8" fmla="*/ 73 w 93"/>
                      <a:gd name="T9" fmla="*/ 40 h 50"/>
                      <a:gd name="T10" fmla="*/ 22 w 93"/>
                      <a:gd name="T11" fmla="*/ 33 h 50"/>
                      <a:gd name="T12" fmla="*/ 6 w 93"/>
                      <a:gd name="T13" fmla="*/ 16 h 50"/>
                      <a:gd name="T14" fmla="*/ 31 w 93"/>
                      <a:gd name="T15" fmla="*/ 12 h 50"/>
                      <a:gd name="T16" fmla="*/ 45 w 93"/>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50">
                        <a:moveTo>
                          <a:pt x="45" y="0"/>
                        </a:moveTo>
                        <a:cubicBezTo>
                          <a:pt x="50" y="7"/>
                          <a:pt x="52" y="6"/>
                          <a:pt x="61" y="7"/>
                        </a:cubicBezTo>
                        <a:cubicBezTo>
                          <a:pt x="68" y="9"/>
                          <a:pt x="74" y="15"/>
                          <a:pt x="81" y="16"/>
                        </a:cubicBezTo>
                        <a:cubicBezTo>
                          <a:pt x="88" y="22"/>
                          <a:pt x="89" y="23"/>
                          <a:pt x="93" y="31"/>
                        </a:cubicBezTo>
                        <a:cubicBezTo>
                          <a:pt x="90" y="50"/>
                          <a:pt x="88" y="43"/>
                          <a:pt x="73" y="40"/>
                        </a:cubicBezTo>
                        <a:cubicBezTo>
                          <a:pt x="61" y="31"/>
                          <a:pt x="36" y="34"/>
                          <a:pt x="22" y="33"/>
                        </a:cubicBezTo>
                        <a:cubicBezTo>
                          <a:pt x="5" y="29"/>
                          <a:pt x="18" y="25"/>
                          <a:pt x="6" y="16"/>
                        </a:cubicBezTo>
                        <a:cubicBezTo>
                          <a:pt x="0" y="4"/>
                          <a:pt x="29" y="12"/>
                          <a:pt x="31" y="12"/>
                        </a:cubicBezTo>
                        <a:cubicBezTo>
                          <a:pt x="38" y="9"/>
                          <a:pt x="41" y="6"/>
                          <a:pt x="45" y="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grpSp>
          <p:sp>
            <p:nvSpPr>
              <p:cNvPr id="1407" name="Freeform 562"/>
              <p:cNvSpPr>
                <a:spLocks/>
              </p:cNvSpPr>
              <p:nvPr/>
            </p:nvSpPr>
            <p:spPr bwMode="auto">
              <a:xfrm>
                <a:off x="7062841" y="3900941"/>
                <a:ext cx="454387" cy="429340"/>
              </a:xfrm>
              <a:custGeom>
                <a:avLst/>
                <a:gdLst>
                  <a:gd name="T0" fmla="*/ 8 w 279"/>
                  <a:gd name="T1" fmla="*/ 236 h 242"/>
                  <a:gd name="T2" fmla="*/ 23 w 279"/>
                  <a:gd name="T3" fmla="*/ 227 h 242"/>
                  <a:gd name="T4" fmla="*/ 54 w 279"/>
                  <a:gd name="T5" fmla="*/ 220 h 242"/>
                  <a:gd name="T6" fmla="*/ 92 w 279"/>
                  <a:gd name="T7" fmla="*/ 221 h 242"/>
                  <a:gd name="T8" fmla="*/ 183 w 279"/>
                  <a:gd name="T9" fmla="*/ 227 h 242"/>
                  <a:gd name="T10" fmla="*/ 215 w 279"/>
                  <a:gd name="T11" fmla="*/ 242 h 242"/>
                  <a:gd name="T12" fmla="*/ 252 w 279"/>
                  <a:gd name="T13" fmla="*/ 211 h 242"/>
                  <a:gd name="T14" fmla="*/ 261 w 279"/>
                  <a:gd name="T15" fmla="*/ 196 h 242"/>
                  <a:gd name="T16" fmla="*/ 264 w 279"/>
                  <a:gd name="T17" fmla="*/ 164 h 242"/>
                  <a:gd name="T18" fmla="*/ 278 w 279"/>
                  <a:gd name="T19" fmla="*/ 137 h 242"/>
                  <a:gd name="T20" fmla="*/ 270 w 279"/>
                  <a:gd name="T21" fmla="*/ 124 h 242"/>
                  <a:gd name="T22" fmla="*/ 249 w 279"/>
                  <a:gd name="T23" fmla="*/ 115 h 242"/>
                  <a:gd name="T24" fmla="*/ 240 w 279"/>
                  <a:gd name="T25" fmla="*/ 98 h 242"/>
                  <a:gd name="T26" fmla="*/ 234 w 279"/>
                  <a:gd name="T27" fmla="*/ 86 h 242"/>
                  <a:gd name="T28" fmla="*/ 216 w 279"/>
                  <a:gd name="T29" fmla="*/ 61 h 242"/>
                  <a:gd name="T30" fmla="*/ 189 w 279"/>
                  <a:gd name="T31" fmla="*/ 40 h 242"/>
                  <a:gd name="T32" fmla="*/ 176 w 279"/>
                  <a:gd name="T33" fmla="*/ 31 h 242"/>
                  <a:gd name="T34" fmla="*/ 155 w 279"/>
                  <a:gd name="T35" fmla="*/ 14 h 242"/>
                  <a:gd name="T36" fmla="*/ 134 w 279"/>
                  <a:gd name="T37" fmla="*/ 17 h 242"/>
                  <a:gd name="T38" fmla="*/ 117 w 279"/>
                  <a:gd name="T39" fmla="*/ 26 h 242"/>
                  <a:gd name="T40" fmla="*/ 96 w 279"/>
                  <a:gd name="T41" fmla="*/ 22 h 242"/>
                  <a:gd name="T42" fmla="*/ 87 w 279"/>
                  <a:gd name="T43" fmla="*/ 8 h 242"/>
                  <a:gd name="T44" fmla="*/ 81 w 279"/>
                  <a:gd name="T45" fmla="*/ 14 h 242"/>
                  <a:gd name="T46" fmla="*/ 81 w 279"/>
                  <a:gd name="T47" fmla="*/ 37 h 242"/>
                  <a:gd name="T48" fmla="*/ 60 w 279"/>
                  <a:gd name="T49" fmla="*/ 65 h 242"/>
                  <a:gd name="T50" fmla="*/ 63 w 279"/>
                  <a:gd name="T51" fmla="*/ 83 h 242"/>
                  <a:gd name="T52" fmla="*/ 62 w 279"/>
                  <a:gd name="T53" fmla="*/ 98 h 242"/>
                  <a:gd name="T54" fmla="*/ 56 w 279"/>
                  <a:gd name="T55" fmla="*/ 122 h 242"/>
                  <a:gd name="T56" fmla="*/ 33 w 279"/>
                  <a:gd name="T57" fmla="*/ 154 h 242"/>
                  <a:gd name="T58" fmla="*/ 18 w 279"/>
                  <a:gd name="T59" fmla="*/ 155 h 242"/>
                  <a:gd name="T60" fmla="*/ 3 w 279"/>
                  <a:gd name="T61" fmla="*/ 175 h 242"/>
                  <a:gd name="T62" fmla="*/ 2 w 279"/>
                  <a:gd name="T63" fmla="*/ 209 h 242"/>
                  <a:gd name="T64" fmla="*/ 8 w 279"/>
                  <a:gd name="T65" fmla="*/ 23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42">
                    <a:moveTo>
                      <a:pt x="8" y="236"/>
                    </a:moveTo>
                    <a:cubicBezTo>
                      <a:pt x="13" y="231"/>
                      <a:pt x="17" y="229"/>
                      <a:pt x="23" y="227"/>
                    </a:cubicBezTo>
                    <a:cubicBezTo>
                      <a:pt x="30" y="221"/>
                      <a:pt x="44" y="221"/>
                      <a:pt x="54" y="220"/>
                    </a:cubicBezTo>
                    <a:cubicBezTo>
                      <a:pt x="67" y="216"/>
                      <a:pt x="79" y="218"/>
                      <a:pt x="92" y="221"/>
                    </a:cubicBezTo>
                    <a:cubicBezTo>
                      <a:pt x="119" y="234"/>
                      <a:pt x="159" y="227"/>
                      <a:pt x="183" y="227"/>
                    </a:cubicBezTo>
                    <a:cubicBezTo>
                      <a:pt x="196" y="235"/>
                      <a:pt x="200" y="239"/>
                      <a:pt x="215" y="242"/>
                    </a:cubicBezTo>
                    <a:cubicBezTo>
                      <a:pt x="230" y="235"/>
                      <a:pt x="239" y="221"/>
                      <a:pt x="252" y="211"/>
                    </a:cubicBezTo>
                    <a:cubicBezTo>
                      <a:pt x="256" y="205"/>
                      <a:pt x="260" y="204"/>
                      <a:pt x="261" y="196"/>
                    </a:cubicBezTo>
                    <a:cubicBezTo>
                      <a:pt x="263" y="188"/>
                      <a:pt x="261" y="174"/>
                      <a:pt x="264" y="164"/>
                    </a:cubicBezTo>
                    <a:cubicBezTo>
                      <a:pt x="267" y="154"/>
                      <a:pt x="277" y="144"/>
                      <a:pt x="278" y="137"/>
                    </a:cubicBezTo>
                    <a:cubicBezTo>
                      <a:pt x="279" y="129"/>
                      <a:pt x="279" y="125"/>
                      <a:pt x="270" y="124"/>
                    </a:cubicBezTo>
                    <a:cubicBezTo>
                      <a:pt x="264" y="116"/>
                      <a:pt x="257" y="120"/>
                      <a:pt x="249" y="115"/>
                    </a:cubicBezTo>
                    <a:cubicBezTo>
                      <a:pt x="244" y="106"/>
                      <a:pt x="247" y="112"/>
                      <a:pt x="240" y="98"/>
                    </a:cubicBezTo>
                    <a:cubicBezTo>
                      <a:pt x="238" y="94"/>
                      <a:pt x="234" y="86"/>
                      <a:pt x="234" y="86"/>
                    </a:cubicBezTo>
                    <a:cubicBezTo>
                      <a:pt x="233" y="77"/>
                      <a:pt x="225" y="63"/>
                      <a:pt x="216" y="61"/>
                    </a:cubicBezTo>
                    <a:cubicBezTo>
                      <a:pt x="207" y="54"/>
                      <a:pt x="198" y="48"/>
                      <a:pt x="189" y="40"/>
                    </a:cubicBezTo>
                    <a:cubicBezTo>
                      <a:pt x="185" y="37"/>
                      <a:pt x="176" y="31"/>
                      <a:pt x="176" y="31"/>
                    </a:cubicBezTo>
                    <a:cubicBezTo>
                      <a:pt x="171" y="23"/>
                      <a:pt x="163" y="18"/>
                      <a:pt x="155" y="14"/>
                    </a:cubicBezTo>
                    <a:cubicBezTo>
                      <a:pt x="148" y="15"/>
                      <a:pt x="140" y="14"/>
                      <a:pt x="134" y="17"/>
                    </a:cubicBezTo>
                    <a:cubicBezTo>
                      <a:pt x="127" y="21"/>
                      <a:pt x="126" y="25"/>
                      <a:pt x="117" y="26"/>
                    </a:cubicBezTo>
                    <a:cubicBezTo>
                      <a:pt x="111" y="26"/>
                      <a:pt x="101" y="25"/>
                      <a:pt x="96" y="22"/>
                    </a:cubicBezTo>
                    <a:cubicBezTo>
                      <a:pt x="91" y="19"/>
                      <a:pt x="89" y="9"/>
                      <a:pt x="87" y="8"/>
                    </a:cubicBezTo>
                    <a:cubicBezTo>
                      <a:pt x="81" y="0"/>
                      <a:pt x="84" y="9"/>
                      <a:pt x="81" y="14"/>
                    </a:cubicBezTo>
                    <a:cubicBezTo>
                      <a:pt x="80" y="20"/>
                      <a:pt x="84" y="32"/>
                      <a:pt x="81" y="37"/>
                    </a:cubicBezTo>
                    <a:cubicBezTo>
                      <a:pt x="80" y="48"/>
                      <a:pt x="75" y="62"/>
                      <a:pt x="60" y="65"/>
                    </a:cubicBezTo>
                    <a:cubicBezTo>
                      <a:pt x="59" y="72"/>
                      <a:pt x="62" y="76"/>
                      <a:pt x="63" y="83"/>
                    </a:cubicBezTo>
                    <a:cubicBezTo>
                      <a:pt x="62" y="93"/>
                      <a:pt x="68" y="91"/>
                      <a:pt x="62" y="98"/>
                    </a:cubicBezTo>
                    <a:cubicBezTo>
                      <a:pt x="61" y="104"/>
                      <a:pt x="58" y="117"/>
                      <a:pt x="56" y="122"/>
                    </a:cubicBezTo>
                    <a:cubicBezTo>
                      <a:pt x="55" y="128"/>
                      <a:pt x="37" y="153"/>
                      <a:pt x="33" y="154"/>
                    </a:cubicBezTo>
                    <a:cubicBezTo>
                      <a:pt x="28" y="156"/>
                      <a:pt x="23" y="155"/>
                      <a:pt x="18" y="155"/>
                    </a:cubicBezTo>
                    <a:cubicBezTo>
                      <a:pt x="12" y="162"/>
                      <a:pt x="7" y="168"/>
                      <a:pt x="3" y="175"/>
                    </a:cubicBezTo>
                    <a:cubicBezTo>
                      <a:pt x="0" y="185"/>
                      <a:pt x="1" y="199"/>
                      <a:pt x="2" y="209"/>
                    </a:cubicBezTo>
                    <a:cubicBezTo>
                      <a:pt x="3" y="219"/>
                      <a:pt x="7" y="231"/>
                      <a:pt x="8" y="236"/>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08" name="Freeform 566"/>
              <p:cNvSpPr>
                <a:spLocks/>
              </p:cNvSpPr>
              <p:nvPr>
                <p:custDataLst>
                  <p:tags r:id="rId2"/>
                </p:custDataLst>
              </p:nvPr>
            </p:nvSpPr>
            <p:spPr bwMode="auto">
              <a:xfrm>
                <a:off x="6879851" y="4673753"/>
                <a:ext cx="229505" cy="309471"/>
              </a:xfrm>
              <a:custGeom>
                <a:avLst/>
                <a:gdLst>
                  <a:gd name="T0" fmla="*/ 131 w 323"/>
                  <a:gd name="T1" fmla="*/ 312 h 400"/>
                  <a:gd name="T2" fmla="*/ 105 w 323"/>
                  <a:gd name="T3" fmla="*/ 342 h 400"/>
                  <a:gd name="T4" fmla="*/ 142 w 323"/>
                  <a:gd name="T5" fmla="*/ 358 h 400"/>
                  <a:gd name="T6" fmla="*/ 150 w 323"/>
                  <a:gd name="T7" fmla="*/ 382 h 400"/>
                  <a:gd name="T8" fmla="*/ 150 w 323"/>
                  <a:gd name="T9" fmla="*/ 400 h 400"/>
                  <a:gd name="T10" fmla="*/ 184 w 323"/>
                  <a:gd name="T11" fmla="*/ 386 h 400"/>
                  <a:gd name="T12" fmla="*/ 234 w 323"/>
                  <a:gd name="T13" fmla="*/ 378 h 400"/>
                  <a:gd name="T14" fmla="*/ 284 w 323"/>
                  <a:gd name="T15" fmla="*/ 371 h 400"/>
                  <a:gd name="T16" fmla="*/ 282 w 323"/>
                  <a:gd name="T17" fmla="*/ 320 h 400"/>
                  <a:gd name="T18" fmla="*/ 295 w 323"/>
                  <a:gd name="T19" fmla="*/ 292 h 400"/>
                  <a:gd name="T20" fmla="*/ 323 w 323"/>
                  <a:gd name="T21" fmla="*/ 261 h 400"/>
                  <a:gd name="T22" fmla="*/ 291 w 323"/>
                  <a:gd name="T23" fmla="*/ 253 h 400"/>
                  <a:gd name="T24" fmla="*/ 279 w 323"/>
                  <a:gd name="T25" fmla="*/ 212 h 400"/>
                  <a:gd name="T26" fmla="*/ 308 w 323"/>
                  <a:gd name="T27" fmla="*/ 184 h 400"/>
                  <a:gd name="T28" fmla="*/ 295 w 323"/>
                  <a:gd name="T29" fmla="*/ 160 h 400"/>
                  <a:gd name="T30" fmla="*/ 291 w 323"/>
                  <a:gd name="T31" fmla="*/ 134 h 400"/>
                  <a:gd name="T32" fmla="*/ 265 w 323"/>
                  <a:gd name="T33" fmla="*/ 149 h 400"/>
                  <a:gd name="T34" fmla="*/ 236 w 323"/>
                  <a:gd name="T35" fmla="*/ 133 h 400"/>
                  <a:gd name="T36" fmla="*/ 199 w 323"/>
                  <a:gd name="T37" fmla="*/ 123 h 400"/>
                  <a:gd name="T38" fmla="*/ 211 w 323"/>
                  <a:gd name="T39" fmla="*/ 100 h 400"/>
                  <a:gd name="T40" fmla="*/ 186 w 323"/>
                  <a:gd name="T41" fmla="*/ 82 h 400"/>
                  <a:gd name="T42" fmla="*/ 171 w 323"/>
                  <a:gd name="T43" fmla="*/ 65 h 400"/>
                  <a:gd name="T44" fmla="*/ 163 w 323"/>
                  <a:gd name="T45" fmla="*/ 24 h 400"/>
                  <a:gd name="T46" fmla="*/ 152 w 323"/>
                  <a:gd name="T47" fmla="*/ 8 h 400"/>
                  <a:gd name="T48" fmla="*/ 119 w 323"/>
                  <a:gd name="T49" fmla="*/ 2 h 400"/>
                  <a:gd name="T50" fmla="*/ 99 w 323"/>
                  <a:gd name="T51" fmla="*/ 11 h 400"/>
                  <a:gd name="T52" fmla="*/ 74 w 323"/>
                  <a:gd name="T53" fmla="*/ 11 h 400"/>
                  <a:gd name="T54" fmla="*/ 49 w 323"/>
                  <a:gd name="T55" fmla="*/ 16 h 400"/>
                  <a:gd name="T56" fmla="*/ 21 w 323"/>
                  <a:gd name="T57" fmla="*/ 23 h 400"/>
                  <a:gd name="T58" fmla="*/ 0 w 323"/>
                  <a:gd name="T59" fmla="*/ 32 h 400"/>
                  <a:gd name="T60" fmla="*/ 18 w 323"/>
                  <a:gd name="T61" fmla="*/ 68 h 400"/>
                  <a:gd name="T62" fmla="*/ 56 w 323"/>
                  <a:gd name="T63" fmla="*/ 97 h 400"/>
                  <a:gd name="T64" fmla="*/ 31 w 323"/>
                  <a:gd name="T65" fmla="*/ 128 h 400"/>
                  <a:gd name="T66" fmla="*/ 26 w 323"/>
                  <a:gd name="T67" fmla="*/ 165 h 400"/>
                  <a:gd name="T68" fmla="*/ 52 w 323"/>
                  <a:gd name="T69" fmla="*/ 189 h 400"/>
                  <a:gd name="T70" fmla="*/ 47 w 323"/>
                  <a:gd name="T71" fmla="*/ 221 h 400"/>
                  <a:gd name="T72" fmla="*/ 63 w 323"/>
                  <a:gd name="T73" fmla="*/ 240 h 400"/>
                  <a:gd name="T74" fmla="*/ 88 w 323"/>
                  <a:gd name="T75" fmla="*/ 29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400">
                    <a:moveTo>
                      <a:pt x="88" y="295"/>
                    </a:moveTo>
                    <a:lnTo>
                      <a:pt x="131" y="312"/>
                    </a:lnTo>
                    <a:lnTo>
                      <a:pt x="113" y="327"/>
                    </a:lnTo>
                    <a:lnTo>
                      <a:pt x="105" y="342"/>
                    </a:lnTo>
                    <a:lnTo>
                      <a:pt x="124" y="357"/>
                    </a:lnTo>
                    <a:lnTo>
                      <a:pt x="142" y="358"/>
                    </a:lnTo>
                    <a:lnTo>
                      <a:pt x="145" y="373"/>
                    </a:lnTo>
                    <a:lnTo>
                      <a:pt x="150" y="382"/>
                    </a:lnTo>
                    <a:lnTo>
                      <a:pt x="142" y="395"/>
                    </a:lnTo>
                    <a:lnTo>
                      <a:pt x="150" y="400"/>
                    </a:lnTo>
                    <a:lnTo>
                      <a:pt x="177" y="392"/>
                    </a:lnTo>
                    <a:lnTo>
                      <a:pt x="184" y="386"/>
                    </a:lnTo>
                    <a:lnTo>
                      <a:pt x="210" y="384"/>
                    </a:lnTo>
                    <a:lnTo>
                      <a:pt x="234" y="378"/>
                    </a:lnTo>
                    <a:lnTo>
                      <a:pt x="255" y="381"/>
                    </a:lnTo>
                    <a:lnTo>
                      <a:pt x="284" y="371"/>
                    </a:lnTo>
                    <a:lnTo>
                      <a:pt x="287" y="355"/>
                    </a:lnTo>
                    <a:lnTo>
                      <a:pt x="282" y="320"/>
                    </a:lnTo>
                    <a:lnTo>
                      <a:pt x="295" y="312"/>
                    </a:lnTo>
                    <a:lnTo>
                      <a:pt x="295" y="292"/>
                    </a:lnTo>
                    <a:lnTo>
                      <a:pt x="313" y="281"/>
                    </a:lnTo>
                    <a:lnTo>
                      <a:pt x="323" y="261"/>
                    </a:lnTo>
                    <a:lnTo>
                      <a:pt x="308" y="253"/>
                    </a:lnTo>
                    <a:lnTo>
                      <a:pt x="291" y="253"/>
                    </a:lnTo>
                    <a:lnTo>
                      <a:pt x="289" y="242"/>
                    </a:lnTo>
                    <a:lnTo>
                      <a:pt x="279" y="212"/>
                    </a:lnTo>
                    <a:lnTo>
                      <a:pt x="294" y="197"/>
                    </a:lnTo>
                    <a:lnTo>
                      <a:pt x="308" y="184"/>
                    </a:lnTo>
                    <a:lnTo>
                      <a:pt x="305" y="163"/>
                    </a:lnTo>
                    <a:lnTo>
                      <a:pt x="295" y="160"/>
                    </a:lnTo>
                    <a:lnTo>
                      <a:pt x="305" y="141"/>
                    </a:lnTo>
                    <a:lnTo>
                      <a:pt x="291" y="134"/>
                    </a:lnTo>
                    <a:lnTo>
                      <a:pt x="274" y="140"/>
                    </a:lnTo>
                    <a:lnTo>
                      <a:pt x="265" y="149"/>
                    </a:lnTo>
                    <a:lnTo>
                      <a:pt x="245" y="140"/>
                    </a:lnTo>
                    <a:lnTo>
                      <a:pt x="236" y="133"/>
                    </a:lnTo>
                    <a:lnTo>
                      <a:pt x="203" y="134"/>
                    </a:lnTo>
                    <a:lnTo>
                      <a:pt x="199" y="123"/>
                    </a:lnTo>
                    <a:lnTo>
                      <a:pt x="211" y="111"/>
                    </a:lnTo>
                    <a:lnTo>
                      <a:pt x="211" y="100"/>
                    </a:lnTo>
                    <a:lnTo>
                      <a:pt x="195" y="89"/>
                    </a:lnTo>
                    <a:lnTo>
                      <a:pt x="186" y="82"/>
                    </a:lnTo>
                    <a:lnTo>
                      <a:pt x="171" y="82"/>
                    </a:lnTo>
                    <a:lnTo>
                      <a:pt x="171" y="65"/>
                    </a:lnTo>
                    <a:lnTo>
                      <a:pt x="163" y="61"/>
                    </a:lnTo>
                    <a:lnTo>
                      <a:pt x="163" y="24"/>
                    </a:lnTo>
                    <a:lnTo>
                      <a:pt x="150" y="23"/>
                    </a:lnTo>
                    <a:lnTo>
                      <a:pt x="152" y="8"/>
                    </a:lnTo>
                    <a:lnTo>
                      <a:pt x="129" y="8"/>
                    </a:lnTo>
                    <a:lnTo>
                      <a:pt x="119" y="2"/>
                    </a:lnTo>
                    <a:lnTo>
                      <a:pt x="107" y="0"/>
                    </a:lnTo>
                    <a:lnTo>
                      <a:pt x="99" y="11"/>
                    </a:lnTo>
                    <a:lnTo>
                      <a:pt x="85" y="16"/>
                    </a:lnTo>
                    <a:lnTo>
                      <a:pt x="74" y="11"/>
                    </a:lnTo>
                    <a:lnTo>
                      <a:pt x="65" y="7"/>
                    </a:lnTo>
                    <a:lnTo>
                      <a:pt x="49" y="16"/>
                    </a:lnTo>
                    <a:lnTo>
                      <a:pt x="37" y="21"/>
                    </a:lnTo>
                    <a:lnTo>
                      <a:pt x="21" y="23"/>
                    </a:lnTo>
                    <a:lnTo>
                      <a:pt x="10" y="24"/>
                    </a:lnTo>
                    <a:lnTo>
                      <a:pt x="0" y="32"/>
                    </a:lnTo>
                    <a:lnTo>
                      <a:pt x="11" y="50"/>
                    </a:lnTo>
                    <a:lnTo>
                      <a:pt x="18" y="68"/>
                    </a:lnTo>
                    <a:lnTo>
                      <a:pt x="24" y="87"/>
                    </a:lnTo>
                    <a:lnTo>
                      <a:pt x="56" y="97"/>
                    </a:lnTo>
                    <a:lnTo>
                      <a:pt x="34" y="113"/>
                    </a:lnTo>
                    <a:lnTo>
                      <a:pt x="31" y="128"/>
                    </a:lnTo>
                    <a:lnTo>
                      <a:pt x="24" y="141"/>
                    </a:lnTo>
                    <a:lnTo>
                      <a:pt x="26" y="165"/>
                    </a:lnTo>
                    <a:lnTo>
                      <a:pt x="42" y="171"/>
                    </a:lnTo>
                    <a:lnTo>
                      <a:pt x="52" y="189"/>
                    </a:lnTo>
                    <a:lnTo>
                      <a:pt x="40" y="192"/>
                    </a:lnTo>
                    <a:lnTo>
                      <a:pt x="47" y="221"/>
                    </a:lnTo>
                    <a:cubicBezTo>
                      <a:pt x="53" y="228"/>
                      <a:pt x="66" y="241"/>
                      <a:pt x="66" y="241"/>
                    </a:cubicBezTo>
                    <a:cubicBezTo>
                      <a:pt x="65" y="240"/>
                      <a:pt x="64" y="240"/>
                      <a:pt x="63" y="240"/>
                    </a:cubicBezTo>
                    <a:lnTo>
                      <a:pt x="50" y="258"/>
                    </a:lnTo>
                    <a:lnTo>
                      <a:pt x="88" y="295"/>
                    </a:lnTo>
                    <a:close/>
                  </a:path>
                </a:pathLst>
              </a:custGeom>
              <a:solidFill>
                <a:srgbClr val="E9E6E6">
                  <a:lumMod val="90000"/>
                </a:srgbClr>
              </a:solidFill>
              <a:ln w="12700" cap="flat" cmpd="sng">
                <a:solidFill>
                  <a:srgbClr val="FFFFFF"/>
                </a:solidFill>
                <a:prstDash val="solid"/>
                <a:round/>
                <a:headEnd/>
                <a:tailEnd/>
              </a:ln>
              <a:effectLst/>
              <a:extLst/>
            </p:spPr>
            <p:txBody>
              <a:bodyPr wrap="none" lIns="90000" tIns="46800" rIns="90000" bIns="4680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nvGrpSpPr>
              <p:cNvPr id="1409" name="Gruppieren 362"/>
              <p:cNvGrpSpPr/>
              <p:nvPr/>
            </p:nvGrpSpPr>
            <p:grpSpPr>
              <a:xfrm>
                <a:off x="6586989" y="4663018"/>
                <a:ext cx="388384" cy="336318"/>
                <a:chOff x="4334375" y="2608841"/>
                <a:chExt cx="201803" cy="174750"/>
              </a:xfrm>
              <a:grpFill/>
            </p:grpSpPr>
            <p:sp>
              <p:nvSpPr>
                <p:cNvPr id="1411" name="Freeform 262"/>
                <p:cNvSpPr>
                  <a:spLocks/>
                </p:cNvSpPr>
                <p:nvPr/>
              </p:nvSpPr>
              <p:spPr bwMode="auto">
                <a:xfrm>
                  <a:off x="4347388" y="2608841"/>
                  <a:ext cx="96670" cy="35322"/>
                </a:xfrm>
                <a:custGeom>
                  <a:avLst/>
                  <a:gdLst>
                    <a:gd name="T0" fmla="*/ 106 w 115"/>
                    <a:gd name="T1" fmla="*/ 3 h 38"/>
                    <a:gd name="T2" fmla="*/ 115 w 115"/>
                    <a:gd name="T3" fmla="*/ 16 h 38"/>
                    <a:gd name="T4" fmla="*/ 78 w 115"/>
                    <a:gd name="T5" fmla="*/ 31 h 38"/>
                    <a:gd name="T6" fmla="*/ 16 w 115"/>
                    <a:gd name="T7" fmla="*/ 36 h 38"/>
                    <a:gd name="T8" fmla="*/ 6 w 115"/>
                    <a:gd name="T9" fmla="*/ 22 h 38"/>
                    <a:gd name="T10" fmla="*/ 7 w 115"/>
                    <a:gd name="T11" fmla="*/ 7 h 38"/>
                    <a:gd name="T12" fmla="*/ 6 w 115"/>
                    <a:gd name="T13" fmla="*/ 1 h 38"/>
                    <a:gd name="T14" fmla="*/ 24 w 115"/>
                    <a:gd name="T15" fmla="*/ 4 h 38"/>
                    <a:gd name="T16" fmla="*/ 106 w 115"/>
                    <a:gd name="T1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38">
                      <a:moveTo>
                        <a:pt x="106" y="3"/>
                      </a:moveTo>
                      <a:cubicBezTo>
                        <a:pt x="109" y="7"/>
                        <a:pt x="112" y="12"/>
                        <a:pt x="115" y="16"/>
                      </a:cubicBezTo>
                      <a:cubicBezTo>
                        <a:pt x="107" y="26"/>
                        <a:pt x="90" y="29"/>
                        <a:pt x="78" y="31"/>
                      </a:cubicBezTo>
                      <a:cubicBezTo>
                        <a:pt x="58" y="38"/>
                        <a:pt x="37" y="32"/>
                        <a:pt x="16" y="36"/>
                      </a:cubicBezTo>
                      <a:cubicBezTo>
                        <a:pt x="3" y="34"/>
                        <a:pt x="0" y="34"/>
                        <a:pt x="6" y="22"/>
                      </a:cubicBezTo>
                      <a:cubicBezTo>
                        <a:pt x="7" y="15"/>
                        <a:pt x="10" y="13"/>
                        <a:pt x="7" y="7"/>
                      </a:cubicBezTo>
                      <a:cubicBezTo>
                        <a:pt x="7" y="5"/>
                        <a:pt x="4" y="1"/>
                        <a:pt x="6" y="1"/>
                      </a:cubicBezTo>
                      <a:cubicBezTo>
                        <a:pt x="12" y="0"/>
                        <a:pt x="24" y="4"/>
                        <a:pt x="24" y="4"/>
                      </a:cubicBezTo>
                      <a:cubicBezTo>
                        <a:pt x="41" y="13"/>
                        <a:pt x="84" y="4"/>
                        <a:pt x="106" y="3"/>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12" name="Freeform 263"/>
                <p:cNvSpPr>
                  <a:spLocks/>
                </p:cNvSpPr>
                <p:nvPr/>
              </p:nvSpPr>
              <p:spPr bwMode="auto">
                <a:xfrm>
                  <a:off x="4334375" y="2623714"/>
                  <a:ext cx="171031" cy="113402"/>
                </a:xfrm>
                <a:custGeom>
                  <a:avLst/>
                  <a:gdLst>
                    <a:gd name="T0" fmla="*/ 188 w 201"/>
                    <a:gd name="T1" fmla="*/ 10 h 123"/>
                    <a:gd name="T2" fmla="*/ 198 w 201"/>
                    <a:gd name="T3" fmla="*/ 22 h 123"/>
                    <a:gd name="T4" fmla="*/ 191 w 201"/>
                    <a:gd name="T5" fmla="*/ 37 h 123"/>
                    <a:gd name="T6" fmla="*/ 159 w 201"/>
                    <a:gd name="T7" fmla="*/ 33 h 123"/>
                    <a:gd name="T8" fmla="*/ 144 w 201"/>
                    <a:gd name="T9" fmla="*/ 27 h 123"/>
                    <a:gd name="T10" fmla="*/ 102 w 201"/>
                    <a:gd name="T11" fmla="*/ 36 h 123"/>
                    <a:gd name="T12" fmla="*/ 141 w 201"/>
                    <a:gd name="T13" fmla="*/ 99 h 123"/>
                    <a:gd name="T14" fmla="*/ 137 w 201"/>
                    <a:gd name="T15" fmla="*/ 123 h 123"/>
                    <a:gd name="T16" fmla="*/ 72 w 201"/>
                    <a:gd name="T17" fmla="*/ 81 h 123"/>
                    <a:gd name="T18" fmla="*/ 12 w 201"/>
                    <a:gd name="T19" fmla="*/ 43 h 123"/>
                    <a:gd name="T20" fmla="*/ 6 w 201"/>
                    <a:gd name="T21" fmla="*/ 18 h 123"/>
                    <a:gd name="T22" fmla="*/ 47 w 201"/>
                    <a:gd name="T23" fmla="*/ 18 h 123"/>
                    <a:gd name="T24" fmla="*/ 107 w 201"/>
                    <a:gd name="T25" fmla="*/ 12 h 123"/>
                    <a:gd name="T26" fmla="*/ 125 w 201"/>
                    <a:gd name="T27" fmla="*/ 6 h 123"/>
                    <a:gd name="T28" fmla="*/ 146 w 201"/>
                    <a:gd name="T29" fmla="*/ 4 h 123"/>
                    <a:gd name="T30" fmla="*/ 170 w 201"/>
                    <a:gd name="T31" fmla="*/ 16 h 123"/>
                    <a:gd name="T32" fmla="*/ 188 w 201"/>
                    <a:gd name="T33"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23">
                      <a:moveTo>
                        <a:pt x="188" y="10"/>
                      </a:moveTo>
                      <a:cubicBezTo>
                        <a:pt x="193" y="13"/>
                        <a:pt x="195" y="17"/>
                        <a:pt x="198" y="22"/>
                      </a:cubicBezTo>
                      <a:cubicBezTo>
                        <a:pt x="201" y="31"/>
                        <a:pt x="201" y="36"/>
                        <a:pt x="191" y="37"/>
                      </a:cubicBezTo>
                      <a:cubicBezTo>
                        <a:pt x="171" y="36"/>
                        <a:pt x="173" y="36"/>
                        <a:pt x="159" y="33"/>
                      </a:cubicBezTo>
                      <a:cubicBezTo>
                        <a:pt x="154" y="30"/>
                        <a:pt x="150" y="28"/>
                        <a:pt x="144" y="27"/>
                      </a:cubicBezTo>
                      <a:cubicBezTo>
                        <a:pt x="111" y="28"/>
                        <a:pt x="122" y="28"/>
                        <a:pt x="102" y="36"/>
                      </a:cubicBezTo>
                      <a:cubicBezTo>
                        <a:pt x="98" y="61"/>
                        <a:pt x="123" y="85"/>
                        <a:pt x="141" y="99"/>
                      </a:cubicBezTo>
                      <a:cubicBezTo>
                        <a:pt x="140" y="108"/>
                        <a:pt x="138" y="115"/>
                        <a:pt x="137" y="123"/>
                      </a:cubicBezTo>
                      <a:cubicBezTo>
                        <a:pt x="119" y="105"/>
                        <a:pt x="99" y="86"/>
                        <a:pt x="72" y="81"/>
                      </a:cubicBezTo>
                      <a:cubicBezTo>
                        <a:pt x="53" y="67"/>
                        <a:pt x="35" y="51"/>
                        <a:pt x="12" y="43"/>
                      </a:cubicBezTo>
                      <a:cubicBezTo>
                        <a:pt x="2" y="33"/>
                        <a:pt x="0" y="22"/>
                        <a:pt x="6" y="18"/>
                      </a:cubicBezTo>
                      <a:cubicBezTo>
                        <a:pt x="12" y="14"/>
                        <a:pt x="30" y="19"/>
                        <a:pt x="47" y="18"/>
                      </a:cubicBezTo>
                      <a:cubicBezTo>
                        <a:pt x="67" y="17"/>
                        <a:pt x="87" y="15"/>
                        <a:pt x="107" y="12"/>
                      </a:cubicBezTo>
                      <a:cubicBezTo>
                        <a:pt x="113" y="9"/>
                        <a:pt x="119" y="7"/>
                        <a:pt x="125" y="6"/>
                      </a:cubicBezTo>
                      <a:cubicBezTo>
                        <a:pt x="133" y="0"/>
                        <a:pt x="137" y="2"/>
                        <a:pt x="146" y="4"/>
                      </a:cubicBezTo>
                      <a:cubicBezTo>
                        <a:pt x="155" y="9"/>
                        <a:pt x="159" y="14"/>
                        <a:pt x="170" y="16"/>
                      </a:cubicBezTo>
                      <a:cubicBezTo>
                        <a:pt x="177" y="15"/>
                        <a:pt x="182" y="13"/>
                        <a:pt x="188" y="10"/>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13" name="Freeform 264"/>
                <p:cNvSpPr>
                  <a:spLocks/>
                </p:cNvSpPr>
                <p:nvPr/>
              </p:nvSpPr>
              <p:spPr bwMode="auto">
                <a:xfrm>
                  <a:off x="4416173" y="2649740"/>
                  <a:ext cx="94810" cy="81797"/>
                </a:xfrm>
                <a:custGeom>
                  <a:avLst/>
                  <a:gdLst>
                    <a:gd name="T0" fmla="*/ 101 w 112"/>
                    <a:gd name="T1" fmla="*/ 8 h 89"/>
                    <a:gd name="T2" fmla="*/ 51 w 112"/>
                    <a:gd name="T3" fmla="*/ 0 h 89"/>
                    <a:gd name="T4" fmla="*/ 5 w 112"/>
                    <a:gd name="T5" fmla="*/ 11 h 89"/>
                    <a:gd name="T6" fmla="*/ 21 w 112"/>
                    <a:gd name="T7" fmla="*/ 47 h 89"/>
                    <a:gd name="T8" fmla="*/ 32 w 112"/>
                    <a:gd name="T9" fmla="*/ 59 h 89"/>
                    <a:gd name="T10" fmla="*/ 47 w 112"/>
                    <a:gd name="T11" fmla="*/ 72 h 89"/>
                    <a:gd name="T12" fmla="*/ 66 w 112"/>
                    <a:gd name="T13" fmla="*/ 81 h 89"/>
                    <a:gd name="T14" fmla="*/ 80 w 112"/>
                    <a:gd name="T15" fmla="*/ 89 h 89"/>
                    <a:gd name="T16" fmla="*/ 92 w 112"/>
                    <a:gd name="T17" fmla="*/ 80 h 89"/>
                    <a:gd name="T18" fmla="*/ 104 w 112"/>
                    <a:gd name="T19" fmla="*/ 62 h 89"/>
                    <a:gd name="T20" fmla="*/ 110 w 112"/>
                    <a:gd name="T21" fmla="*/ 23 h 89"/>
                    <a:gd name="T22" fmla="*/ 101 w 112"/>
                    <a:gd name="T23"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89">
                      <a:moveTo>
                        <a:pt x="101" y="8"/>
                      </a:moveTo>
                      <a:cubicBezTo>
                        <a:pt x="85" y="11"/>
                        <a:pt x="66" y="5"/>
                        <a:pt x="51" y="0"/>
                      </a:cubicBezTo>
                      <a:cubicBezTo>
                        <a:pt x="25" y="2"/>
                        <a:pt x="24" y="2"/>
                        <a:pt x="5" y="11"/>
                      </a:cubicBezTo>
                      <a:cubicBezTo>
                        <a:pt x="0" y="22"/>
                        <a:pt x="12" y="41"/>
                        <a:pt x="21" y="47"/>
                      </a:cubicBezTo>
                      <a:cubicBezTo>
                        <a:pt x="24" y="54"/>
                        <a:pt x="25" y="56"/>
                        <a:pt x="32" y="59"/>
                      </a:cubicBezTo>
                      <a:cubicBezTo>
                        <a:pt x="37" y="66"/>
                        <a:pt x="38" y="70"/>
                        <a:pt x="47" y="72"/>
                      </a:cubicBezTo>
                      <a:cubicBezTo>
                        <a:pt x="53" y="77"/>
                        <a:pt x="58" y="80"/>
                        <a:pt x="66" y="81"/>
                      </a:cubicBezTo>
                      <a:cubicBezTo>
                        <a:pt x="72" y="83"/>
                        <a:pt x="74" y="87"/>
                        <a:pt x="80" y="89"/>
                      </a:cubicBezTo>
                      <a:cubicBezTo>
                        <a:pt x="85" y="87"/>
                        <a:pt x="87" y="83"/>
                        <a:pt x="92" y="80"/>
                      </a:cubicBezTo>
                      <a:cubicBezTo>
                        <a:pt x="97" y="74"/>
                        <a:pt x="100" y="69"/>
                        <a:pt x="104" y="62"/>
                      </a:cubicBezTo>
                      <a:cubicBezTo>
                        <a:pt x="102" y="47"/>
                        <a:pt x="101" y="35"/>
                        <a:pt x="110" y="23"/>
                      </a:cubicBezTo>
                      <a:cubicBezTo>
                        <a:pt x="112" y="15"/>
                        <a:pt x="106" y="13"/>
                        <a:pt x="101" y="8"/>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sp>
              <p:nvSpPr>
                <p:cNvPr id="1414" name="Freeform 567"/>
                <p:cNvSpPr>
                  <a:spLocks/>
                </p:cNvSpPr>
                <p:nvPr/>
              </p:nvSpPr>
              <p:spPr bwMode="auto">
                <a:xfrm>
                  <a:off x="4477520" y="2715922"/>
                  <a:ext cx="58658" cy="67669"/>
                </a:xfrm>
                <a:custGeom>
                  <a:avLst/>
                  <a:gdLst>
                    <a:gd name="T0" fmla="*/ 86 w 182"/>
                    <a:gd name="T1" fmla="*/ 189 h 194"/>
                    <a:gd name="T2" fmla="*/ 53 w 182"/>
                    <a:gd name="T3" fmla="*/ 140 h 194"/>
                    <a:gd name="T4" fmla="*/ 0 w 182"/>
                    <a:gd name="T5" fmla="*/ 103 h 194"/>
                    <a:gd name="T6" fmla="*/ 25 w 182"/>
                    <a:gd name="T7" fmla="*/ 94 h 194"/>
                    <a:gd name="T8" fmla="*/ 9 w 182"/>
                    <a:gd name="T9" fmla="*/ 84 h 194"/>
                    <a:gd name="T10" fmla="*/ 13 w 182"/>
                    <a:gd name="T11" fmla="*/ 57 h 194"/>
                    <a:gd name="T12" fmla="*/ 23 w 182"/>
                    <a:gd name="T13" fmla="*/ 45 h 194"/>
                    <a:gd name="T14" fmla="*/ 47 w 182"/>
                    <a:gd name="T15" fmla="*/ 24 h 194"/>
                    <a:gd name="T16" fmla="*/ 62 w 182"/>
                    <a:gd name="T17" fmla="*/ 20 h 194"/>
                    <a:gd name="T18" fmla="*/ 57 w 182"/>
                    <a:gd name="T19" fmla="*/ 2 h 194"/>
                    <a:gd name="T20" fmla="*/ 75 w 182"/>
                    <a:gd name="T21" fmla="*/ 5 h 194"/>
                    <a:gd name="T22" fmla="*/ 89 w 182"/>
                    <a:gd name="T23" fmla="*/ 0 h 194"/>
                    <a:gd name="T24" fmla="*/ 137 w 182"/>
                    <a:gd name="T25" fmla="*/ 49 h 194"/>
                    <a:gd name="T26" fmla="*/ 182 w 182"/>
                    <a:gd name="T27" fmla="*/ 66 h 194"/>
                    <a:gd name="T28" fmla="*/ 148 w 182"/>
                    <a:gd name="T29" fmla="*/ 98 h 194"/>
                    <a:gd name="T30" fmla="*/ 129 w 182"/>
                    <a:gd name="T31" fmla="*/ 113 h 194"/>
                    <a:gd name="T32" fmla="*/ 108 w 182"/>
                    <a:gd name="T33" fmla="*/ 119 h 194"/>
                    <a:gd name="T34" fmla="*/ 109 w 182"/>
                    <a:gd name="T35" fmla="*/ 169 h 194"/>
                    <a:gd name="T36" fmla="*/ 119 w 182"/>
                    <a:gd name="T37" fmla="*/ 179 h 194"/>
                    <a:gd name="T38" fmla="*/ 117 w 182"/>
                    <a:gd name="T39" fmla="*/ 194 h 194"/>
                    <a:gd name="T40" fmla="*/ 86 w 182"/>
                    <a:gd name="T41" fmla="*/ 18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194">
                      <a:moveTo>
                        <a:pt x="86" y="189"/>
                      </a:moveTo>
                      <a:cubicBezTo>
                        <a:pt x="75" y="180"/>
                        <a:pt x="67" y="154"/>
                        <a:pt x="53" y="140"/>
                      </a:cubicBezTo>
                      <a:cubicBezTo>
                        <a:pt x="39" y="126"/>
                        <a:pt x="4" y="110"/>
                        <a:pt x="0" y="103"/>
                      </a:cubicBezTo>
                      <a:lnTo>
                        <a:pt x="25" y="94"/>
                      </a:lnTo>
                      <a:lnTo>
                        <a:pt x="9" y="84"/>
                      </a:lnTo>
                      <a:lnTo>
                        <a:pt x="13" y="57"/>
                      </a:lnTo>
                      <a:lnTo>
                        <a:pt x="23" y="45"/>
                      </a:lnTo>
                      <a:lnTo>
                        <a:pt x="47" y="24"/>
                      </a:lnTo>
                      <a:lnTo>
                        <a:pt x="62" y="20"/>
                      </a:lnTo>
                      <a:lnTo>
                        <a:pt x="57" y="2"/>
                      </a:lnTo>
                      <a:lnTo>
                        <a:pt x="75" y="5"/>
                      </a:lnTo>
                      <a:lnTo>
                        <a:pt x="89" y="0"/>
                      </a:lnTo>
                      <a:cubicBezTo>
                        <a:pt x="99" y="7"/>
                        <a:pt x="122" y="38"/>
                        <a:pt x="137" y="49"/>
                      </a:cubicBezTo>
                      <a:cubicBezTo>
                        <a:pt x="153" y="59"/>
                        <a:pt x="178" y="58"/>
                        <a:pt x="182" y="66"/>
                      </a:cubicBezTo>
                      <a:lnTo>
                        <a:pt x="148" y="98"/>
                      </a:lnTo>
                      <a:cubicBezTo>
                        <a:pt x="139" y="106"/>
                        <a:pt x="136" y="110"/>
                        <a:pt x="129" y="113"/>
                      </a:cubicBezTo>
                      <a:cubicBezTo>
                        <a:pt x="122" y="117"/>
                        <a:pt x="109" y="108"/>
                        <a:pt x="108" y="119"/>
                      </a:cubicBezTo>
                      <a:lnTo>
                        <a:pt x="109" y="169"/>
                      </a:lnTo>
                      <a:lnTo>
                        <a:pt x="119" y="179"/>
                      </a:lnTo>
                      <a:lnTo>
                        <a:pt x="117" y="194"/>
                      </a:lnTo>
                      <a:lnTo>
                        <a:pt x="86" y="189"/>
                      </a:lnTo>
                      <a:close/>
                    </a:path>
                  </a:pathLst>
                </a:custGeom>
                <a:solidFill>
                  <a:srgbClr val="E9E6E6">
                    <a:lumMod val="90000"/>
                  </a:srgbClr>
                </a:solidFill>
                <a:ln w="12700" cap="flat" cmpd="sng">
                  <a:solidFill>
                    <a:srgbClr val="FFFFFF"/>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sp>
            <p:nvSpPr>
              <p:cNvPr id="1410" name="Freeform 246"/>
              <p:cNvSpPr>
                <a:spLocks/>
              </p:cNvSpPr>
              <p:nvPr/>
            </p:nvSpPr>
            <p:spPr bwMode="auto">
              <a:xfrm>
                <a:off x="6261406" y="4036898"/>
                <a:ext cx="418609" cy="586766"/>
              </a:xfrm>
              <a:custGeom>
                <a:avLst/>
                <a:gdLst>
                  <a:gd name="T0" fmla="*/ 252 w 258"/>
                  <a:gd name="T1" fmla="*/ 171 h 331"/>
                  <a:gd name="T2" fmla="*/ 245 w 258"/>
                  <a:gd name="T3" fmla="*/ 104 h 331"/>
                  <a:gd name="T4" fmla="*/ 234 w 258"/>
                  <a:gd name="T5" fmla="*/ 69 h 331"/>
                  <a:gd name="T6" fmla="*/ 206 w 258"/>
                  <a:gd name="T7" fmla="*/ 45 h 331"/>
                  <a:gd name="T8" fmla="*/ 194 w 258"/>
                  <a:gd name="T9" fmla="*/ 32 h 331"/>
                  <a:gd name="T10" fmla="*/ 180 w 258"/>
                  <a:gd name="T11" fmla="*/ 41 h 331"/>
                  <a:gd name="T12" fmla="*/ 155 w 258"/>
                  <a:gd name="T13" fmla="*/ 44 h 331"/>
                  <a:gd name="T14" fmla="*/ 140 w 258"/>
                  <a:gd name="T15" fmla="*/ 63 h 331"/>
                  <a:gd name="T16" fmla="*/ 107 w 258"/>
                  <a:gd name="T17" fmla="*/ 47 h 331"/>
                  <a:gd name="T18" fmla="*/ 90 w 258"/>
                  <a:gd name="T19" fmla="*/ 21 h 331"/>
                  <a:gd name="T20" fmla="*/ 89 w 258"/>
                  <a:gd name="T21" fmla="*/ 6 h 331"/>
                  <a:gd name="T22" fmla="*/ 78 w 258"/>
                  <a:gd name="T23" fmla="*/ 0 h 331"/>
                  <a:gd name="T24" fmla="*/ 60 w 258"/>
                  <a:gd name="T25" fmla="*/ 27 h 331"/>
                  <a:gd name="T26" fmla="*/ 86 w 258"/>
                  <a:gd name="T27" fmla="*/ 48 h 331"/>
                  <a:gd name="T28" fmla="*/ 90 w 258"/>
                  <a:gd name="T29" fmla="*/ 59 h 331"/>
                  <a:gd name="T30" fmla="*/ 59 w 258"/>
                  <a:gd name="T31" fmla="*/ 65 h 331"/>
                  <a:gd name="T32" fmla="*/ 47 w 258"/>
                  <a:gd name="T33" fmla="*/ 80 h 331"/>
                  <a:gd name="T34" fmla="*/ 27 w 258"/>
                  <a:gd name="T35" fmla="*/ 120 h 331"/>
                  <a:gd name="T36" fmla="*/ 14 w 258"/>
                  <a:gd name="T37" fmla="*/ 156 h 331"/>
                  <a:gd name="T38" fmla="*/ 11 w 258"/>
                  <a:gd name="T39" fmla="*/ 161 h 331"/>
                  <a:gd name="T40" fmla="*/ 6 w 258"/>
                  <a:gd name="T41" fmla="*/ 164 h 331"/>
                  <a:gd name="T42" fmla="*/ 0 w 258"/>
                  <a:gd name="T43" fmla="*/ 186 h 331"/>
                  <a:gd name="T44" fmla="*/ 3 w 258"/>
                  <a:gd name="T45" fmla="*/ 224 h 331"/>
                  <a:gd name="T46" fmla="*/ 11 w 258"/>
                  <a:gd name="T47" fmla="*/ 243 h 331"/>
                  <a:gd name="T48" fmla="*/ 30 w 258"/>
                  <a:gd name="T49" fmla="*/ 258 h 331"/>
                  <a:gd name="T50" fmla="*/ 29 w 258"/>
                  <a:gd name="T51" fmla="*/ 297 h 331"/>
                  <a:gd name="T52" fmla="*/ 29 w 258"/>
                  <a:gd name="T53" fmla="*/ 320 h 331"/>
                  <a:gd name="T54" fmla="*/ 63 w 258"/>
                  <a:gd name="T55" fmla="*/ 323 h 331"/>
                  <a:gd name="T56" fmla="*/ 102 w 258"/>
                  <a:gd name="T57" fmla="*/ 330 h 331"/>
                  <a:gd name="T58" fmla="*/ 167 w 258"/>
                  <a:gd name="T59" fmla="*/ 318 h 331"/>
                  <a:gd name="T60" fmla="*/ 194 w 258"/>
                  <a:gd name="T61" fmla="*/ 324 h 331"/>
                  <a:gd name="T62" fmla="*/ 209 w 258"/>
                  <a:gd name="T63" fmla="*/ 321 h 331"/>
                  <a:gd name="T64" fmla="*/ 207 w 258"/>
                  <a:gd name="T65" fmla="*/ 297 h 331"/>
                  <a:gd name="T66" fmla="*/ 215 w 258"/>
                  <a:gd name="T67" fmla="*/ 276 h 331"/>
                  <a:gd name="T68" fmla="*/ 224 w 258"/>
                  <a:gd name="T69" fmla="*/ 261 h 331"/>
                  <a:gd name="T70" fmla="*/ 203 w 258"/>
                  <a:gd name="T71" fmla="*/ 240 h 331"/>
                  <a:gd name="T72" fmla="*/ 200 w 258"/>
                  <a:gd name="T73" fmla="*/ 221 h 331"/>
                  <a:gd name="T74" fmla="*/ 191 w 258"/>
                  <a:gd name="T75" fmla="*/ 210 h 331"/>
                  <a:gd name="T76" fmla="*/ 236 w 258"/>
                  <a:gd name="T77" fmla="*/ 195 h 331"/>
                  <a:gd name="T78" fmla="*/ 248 w 258"/>
                  <a:gd name="T79" fmla="*/ 182 h 331"/>
                  <a:gd name="T80" fmla="*/ 252 w 258"/>
                  <a:gd name="T81" fmla="*/ 17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8" h="331">
                    <a:moveTo>
                      <a:pt x="252" y="171"/>
                    </a:moveTo>
                    <a:cubicBezTo>
                      <a:pt x="248" y="149"/>
                      <a:pt x="258" y="122"/>
                      <a:pt x="245" y="104"/>
                    </a:cubicBezTo>
                    <a:cubicBezTo>
                      <a:pt x="242" y="90"/>
                      <a:pt x="239" y="82"/>
                      <a:pt x="234" y="69"/>
                    </a:cubicBezTo>
                    <a:cubicBezTo>
                      <a:pt x="230" y="44"/>
                      <a:pt x="237" y="49"/>
                      <a:pt x="206" y="45"/>
                    </a:cubicBezTo>
                    <a:cubicBezTo>
                      <a:pt x="202" y="40"/>
                      <a:pt x="194" y="32"/>
                      <a:pt x="194" y="32"/>
                    </a:cubicBezTo>
                    <a:cubicBezTo>
                      <a:pt x="185" y="33"/>
                      <a:pt x="188" y="39"/>
                      <a:pt x="180" y="41"/>
                    </a:cubicBezTo>
                    <a:cubicBezTo>
                      <a:pt x="172" y="43"/>
                      <a:pt x="163" y="43"/>
                      <a:pt x="155" y="44"/>
                    </a:cubicBezTo>
                    <a:cubicBezTo>
                      <a:pt x="150" y="55"/>
                      <a:pt x="154" y="61"/>
                      <a:pt x="140" y="63"/>
                    </a:cubicBezTo>
                    <a:cubicBezTo>
                      <a:pt x="122" y="49"/>
                      <a:pt x="141" y="49"/>
                      <a:pt x="107" y="47"/>
                    </a:cubicBezTo>
                    <a:cubicBezTo>
                      <a:pt x="103" y="37"/>
                      <a:pt x="100" y="26"/>
                      <a:pt x="90" y="21"/>
                    </a:cubicBezTo>
                    <a:cubicBezTo>
                      <a:pt x="84" y="14"/>
                      <a:pt x="94" y="14"/>
                      <a:pt x="89" y="6"/>
                    </a:cubicBezTo>
                    <a:cubicBezTo>
                      <a:pt x="88" y="5"/>
                      <a:pt x="79" y="0"/>
                      <a:pt x="78" y="0"/>
                    </a:cubicBezTo>
                    <a:cubicBezTo>
                      <a:pt x="52" y="5"/>
                      <a:pt x="78" y="16"/>
                      <a:pt x="60" y="27"/>
                    </a:cubicBezTo>
                    <a:cubicBezTo>
                      <a:pt x="55" y="51"/>
                      <a:pt x="69" y="47"/>
                      <a:pt x="86" y="48"/>
                    </a:cubicBezTo>
                    <a:cubicBezTo>
                      <a:pt x="78" y="57"/>
                      <a:pt x="97" y="58"/>
                      <a:pt x="90" y="59"/>
                    </a:cubicBezTo>
                    <a:cubicBezTo>
                      <a:pt x="81" y="66"/>
                      <a:pt x="69" y="60"/>
                      <a:pt x="59" y="65"/>
                    </a:cubicBezTo>
                    <a:cubicBezTo>
                      <a:pt x="55" y="73"/>
                      <a:pt x="56" y="76"/>
                      <a:pt x="47" y="80"/>
                    </a:cubicBezTo>
                    <a:cubicBezTo>
                      <a:pt x="40" y="93"/>
                      <a:pt x="36" y="108"/>
                      <a:pt x="27" y="120"/>
                    </a:cubicBezTo>
                    <a:cubicBezTo>
                      <a:pt x="29" y="136"/>
                      <a:pt x="34" y="154"/>
                      <a:pt x="14" y="156"/>
                    </a:cubicBezTo>
                    <a:cubicBezTo>
                      <a:pt x="13" y="158"/>
                      <a:pt x="12" y="160"/>
                      <a:pt x="11" y="161"/>
                    </a:cubicBezTo>
                    <a:cubicBezTo>
                      <a:pt x="10" y="162"/>
                      <a:pt x="7" y="162"/>
                      <a:pt x="6" y="164"/>
                    </a:cubicBezTo>
                    <a:cubicBezTo>
                      <a:pt x="2" y="170"/>
                      <a:pt x="3" y="180"/>
                      <a:pt x="0" y="186"/>
                    </a:cubicBezTo>
                    <a:cubicBezTo>
                      <a:pt x="3" y="204"/>
                      <a:pt x="5" y="203"/>
                      <a:pt x="3" y="224"/>
                    </a:cubicBezTo>
                    <a:cubicBezTo>
                      <a:pt x="5" y="232"/>
                      <a:pt x="7" y="236"/>
                      <a:pt x="11" y="243"/>
                    </a:cubicBezTo>
                    <a:cubicBezTo>
                      <a:pt x="13" y="255"/>
                      <a:pt x="19" y="256"/>
                      <a:pt x="30" y="258"/>
                    </a:cubicBezTo>
                    <a:cubicBezTo>
                      <a:pt x="39" y="261"/>
                      <a:pt x="30" y="287"/>
                      <a:pt x="29" y="297"/>
                    </a:cubicBezTo>
                    <a:cubicBezTo>
                      <a:pt x="30" y="307"/>
                      <a:pt x="21" y="316"/>
                      <a:pt x="29" y="320"/>
                    </a:cubicBezTo>
                    <a:cubicBezTo>
                      <a:pt x="35" y="324"/>
                      <a:pt x="51" y="321"/>
                      <a:pt x="63" y="323"/>
                    </a:cubicBezTo>
                    <a:cubicBezTo>
                      <a:pt x="77" y="330"/>
                      <a:pt x="86" y="329"/>
                      <a:pt x="102" y="330"/>
                    </a:cubicBezTo>
                    <a:cubicBezTo>
                      <a:pt x="171" y="329"/>
                      <a:pt x="134" y="331"/>
                      <a:pt x="167" y="318"/>
                    </a:cubicBezTo>
                    <a:cubicBezTo>
                      <a:pt x="183" y="320"/>
                      <a:pt x="183" y="322"/>
                      <a:pt x="194" y="324"/>
                    </a:cubicBezTo>
                    <a:cubicBezTo>
                      <a:pt x="200" y="327"/>
                      <a:pt x="203" y="324"/>
                      <a:pt x="209" y="321"/>
                    </a:cubicBezTo>
                    <a:cubicBezTo>
                      <a:pt x="215" y="313"/>
                      <a:pt x="212" y="305"/>
                      <a:pt x="207" y="297"/>
                    </a:cubicBezTo>
                    <a:cubicBezTo>
                      <a:pt x="209" y="287"/>
                      <a:pt x="207" y="281"/>
                      <a:pt x="215" y="276"/>
                    </a:cubicBezTo>
                    <a:cubicBezTo>
                      <a:pt x="218" y="271"/>
                      <a:pt x="221" y="266"/>
                      <a:pt x="224" y="261"/>
                    </a:cubicBezTo>
                    <a:cubicBezTo>
                      <a:pt x="222" y="250"/>
                      <a:pt x="212" y="247"/>
                      <a:pt x="203" y="240"/>
                    </a:cubicBezTo>
                    <a:cubicBezTo>
                      <a:pt x="201" y="234"/>
                      <a:pt x="202" y="227"/>
                      <a:pt x="200" y="221"/>
                    </a:cubicBezTo>
                    <a:cubicBezTo>
                      <a:pt x="198" y="217"/>
                      <a:pt x="191" y="210"/>
                      <a:pt x="191" y="210"/>
                    </a:cubicBezTo>
                    <a:cubicBezTo>
                      <a:pt x="201" y="190"/>
                      <a:pt x="214" y="196"/>
                      <a:pt x="236" y="195"/>
                    </a:cubicBezTo>
                    <a:cubicBezTo>
                      <a:pt x="246" y="185"/>
                      <a:pt x="242" y="189"/>
                      <a:pt x="248" y="182"/>
                    </a:cubicBezTo>
                    <a:cubicBezTo>
                      <a:pt x="248" y="180"/>
                      <a:pt x="249" y="171"/>
                      <a:pt x="252" y="171"/>
                    </a:cubicBezTo>
                    <a:close/>
                  </a:path>
                </a:pathLst>
              </a:custGeom>
              <a:solidFill>
                <a:srgbClr val="E9E6E6">
                  <a:lumMod val="90000"/>
                </a:srgbClr>
              </a:solidFill>
              <a:ln w="12700" cap="flat" cmpd="sng">
                <a:solidFill>
                  <a:srgbClr val="FFFFFF"/>
                </a:solidFill>
                <a:prstDash val="solid"/>
                <a:round/>
                <a:headEnd type="none" w="med" len="med"/>
                <a:tailEnd type="none" w="med" len="med"/>
              </a:ln>
              <a:effectLst/>
              <a:extLst/>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0" cap="none" spc="0" normalizeH="0" baseline="0" noProof="0" dirty="0" smtClean="0">
                  <a:ln>
                    <a:noFill/>
                  </a:ln>
                  <a:effectLst/>
                  <a:uLnTx/>
                  <a:uFillTx/>
                  <a:latin typeface="Verdana" pitchFamily="34" charset="0"/>
                  <a:ea typeface="Verdana" pitchFamily="34" charset="0"/>
                </a:endParaRPr>
              </a:p>
            </p:txBody>
          </p:sp>
        </p:grpSp>
      </p:grpSp>
      <p:sp>
        <p:nvSpPr>
          <p:cNvPr id="992" name="Title 991"/>
          <p:cNvSpPr>
            <a:spLocks noGrp="1"/>
          </p:cNvSpPr>
          <p:nvPr>
            <p:ph type="title"/>
          </p:nvPr>
        </p:nvSpPr>
        <p:spPr/>
        <p:txBody>
          <a:bodyPr/>
          <a:lstStyle/>
          <a:p>
            <a:r>
              <a:rPr lang="en-US" dirty="0" smtClean="0"/>
              <a:t>Our global R&amp;D network</a:t>
            </a:r>
            <a:endParaRPr lang="en-US" dirty="0"/>
          </a:p>
        </p:txBody>
      </p:sp>
      <p:sp>
        <p:nvSpPr>
          <p:cNvPr id="5" name="Slide Number Placeholder 4"/>
          <p:cNvSpPr>
            <a:spLocks noGrp="1"/>
          </p:cNvSpPr>
          <p:nvPr>
            <p:ph type="sldNum" sz="quarter" idx="4"/>
          </p:nvPr>
        </p:nvSpPr>
        <p:spPr/>
        <p:txBody>
          <a:bodyPr/>
          <a:lstStyle/>
          <a:p>
            <a:fld id="{3E9BFE36-B789-40AE-90F8-9664E77C4330}" type="slidenum">
              <a:rPr lang="en-US" smtClean="0"/>
              <a:pPr/>
              <a:t>12</a:t>
            </a:fld>
            <a:endParaRPr lang="en-US" dirty="0"/>
          </a:p>
        </p:txBody>
      </p:sp>
      <p:sp>
        <p:nvSpPr>
          <p:cNvPr id="6" name="Date Placeholder 5"/>
          <p:cNvSpPr>
            <a:spLocks noGrp="1"/>
          </p:cNvSpPr>
          <p:nvPr>
            <p:ph type="dt" sz="half" idx="2"/>
          </p:nvPr>
        </p:nvSpPr>
        <p:spPr/>
        <p:txBody>
          <a:bodyPr/>
          <a:lstStyle/>
          <a:p>
            <a:r>
              <a:rPr lang="en-US" dirty="0" smtClean="0"/>
              <a:t>July 2015</a:t>
            </a:r>
            <a:endParaRPr lang="en-US" dirty="0"/>
          </a:p>
        </p:txBody>
      </p:sp>
      <p:sp>
        <p:nvSpPr>
          <p:cNvPr id="7" name="Footer Placeholder 6"/>
          <p:cNvSpPr>
            <a:spLocks noGrp="1"/>
          </p:cNvSpPr>
          <p:nvPr>
            <p:ph type="ftr" sz="quarter" idx="3"/>
          </p:nvPr>
        </p:nvSpPr>
        <p:spPr/>
        <p:txBody>
          <a:bodyPr/>
          <a:lstStyle/>
          <a:p>
            <a:r>
              <a:rPr lang="en-US" dirty="0" smtClean="0"/>
              <a:t>Copyright © Infineon Technologies AG 2015. All rights reserved.</a:t>
            </a:r>
            <a:endParaRPr lang="en-US" dirty="0"/>
          </a:p>
        </p:txBody>
      </p:sp>
      <p:sp>
        <p:nvSpPr>
          <p:cNvPr id="959" name="Abgerundetes Rechteck 855"/>
          <p:cNvSpPr/>
          <p:nvPr/>
        </p:nvSpPr>
        <p:spPr bwMode="auto">
          <a:xfrm>
            <a:off x="7784148" y="5096341"/>
            <a:ext cx="109954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Malacca</a:t>
            </a:r>
          </a:p>
        </p:txBody>
      </p:sp>
      <p:sp>
        <p:nvSpPr>
          <p:cNvPr id="960" name="Ellipse 856"/>
          <p:cNvSpPr/>
          <p:nvPr/>
        </p:nvSpPr>
        <p:spPr bwMode="auto">
          <a:xfrm>
            <a:off x="6623161" y="3993617"/>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963" name="Ellipse 859"/>
          <p:cNvSpPr/>
          <p:nvPr/>
        </p:nvSpPr>
        <p:spPr bwMode="auto">
          <a:xfrm>
            <a:off x="6613363" y="4077982"/>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964" name="Abgerundetes Rechteck 860"/>
          <p:cNvSpPr/>
          <p:nvPr/>
        </p:nvSpPr>
        <p:spPr bwMode="auto">
          <a:xfrm>
            <a:off x="7784148" y="5528389"/>
            <a:ext cx="109954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Kulim</a:t>
            </a:r>
          </a:p>
        </p:txBody>
      </p:sp>
      <p:sp>
        <p:nvSpPr>
          <p:cNvPr id="967" name="Abgerundetes Rechteck 863"/>
          <p:cNvSpPr/>
          <p:nvPr/>
        </p:nvSpPr>
        <p:spPr bwMode="auto">
          <a:xfrm>
            <a:off x="7792940" y="2720077"/>
            <a:ext cx="109954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Beijing</a:t>
            </a:r>
          </a:p>
        </p:txBody>
      </p:sp>
      <p:sp>
        <p:nvSpPr>
          <p:cNvPr id="968" name="Ellipse 864"/>
          <p:cNvSpPr/>
          <p:nvPr/>
        </p:nvSpPr>
        <p:spPr bwMode="auto">
          <a:xfrm>
            <a:off x="6834421" y="2945184"/>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971" name="Abgerundetes Rechteck 867"/>
          <p:cNvSpPr/>
          <p:nvPr/>
        </p:nvSpPr>
        <p:spPr bwMode="auto">
          <a:xfrm>
            <a:off x="248429" y="4062520"/>
            <a:ext cx="1083121"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Morgan Hill</a:t>
            </a:r>
          </a:p>
        </p:txBody>
      </p:sp>
      <p:sp>
        <p:nvSpPr>
          <p:cNvPr id="972" name="Ellipse 868"/>
          <p:cNvSpPr/>
          <p:nvPr/>
        </p:nvSpPr>
        <p:spPr bwMode="auto">
          <a:xfrm>
            <a:off x="971600" y="3008069"/>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975" name="Abgerundetes Rechteck 871"/>
          <p:cNvSpPr/>
          <p:nvPr/>
        </p:nvSpPr>
        <p:spPr bwMode="auto">
          <a:xfrm>
            <a:off x="7784148" y="3152125"/>
            <a:ext cx="109954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Seoul</a:t>
            </a:r>
          </a:p>
        </p:txBody>
      </p:sp>
      <p:sp>
        <p:nvSpPr>
          <p:cNvPr id="976" name="Ellipse 872"/>
          <p:cNvSpPr/>
          <p:nvPr/>
        </p:nvSpPr>
        <p:spPr bwMode="auto">
          <a:xfrm>
            <a:off x="7109207" y="2976195"/>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979" name="Abgerundetes Rechteck 875"/>
          <p:cNvSpPr/>
          <p:nvPr/>
        </p:nvSpPr>
        <p:spPr bwMode="auto">
          <a:xfrm>
            <a:off x="7784148" y="3584173"/>
            <a:ext cx="109954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Shanghai</a:t>
            </a:r>
          </a:p>
        </p:txBody>
      </p:sp>
      <p:sp>
        <p:nvSpPr>
          <p:cNvPr id="980" name="Ellipse 876"/>
          <p:cNvSpPr/>
          <p:nvPr/>
        </p:nvSpPr>
        <p:spPr bwMode="auto">
          <a:xfrm>
            <a:off x="7008004" y="3234191"/>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983" name="Ellipse 883"/>
          <p:cNvSpPr/>
          <p:nvPr/>
        </p:nvSpPr>
        <p:spPr bwMode="auto">
          <a:xfrm>
            <a:off x="6012160" y="3909236"/>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985" name="Abgerundetes Rechteck 885"/>
          <p:cNvSpPr/>
          <p:nvPr/>
        </p:nvSpPr>
        <p:spPr bwMode="auto">
          <a:xfrm>
            <a:off x="5321379" y="4448076"/>
            <a:ext cx="109954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Bangalore</a:t>
            </a:r>
          </a:p>
        </p:txBody>
      </p:sp>
      <p:sp>
        <p:nvSpPr>
          <p:cNvPr id="987" name="Abgerundetes Rechteck 891"/>
          <p:cNvSpPr/>
          <p:nvPr/>
        </p:nvSpPr>
        <p:spPr bwMode="auto">
          <a:xfrm>
            <a:off x="248428" y="4459684"/>
            <a:ext cx="1083121"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Torrance</a:t>
            </a:r>
          </a:p>
        </p:txBody>
      </p:sp>
      <p:sp>
        <p:nvSpPr>
          <p:cNvPr id="988" name="Ellipse 892"/>
          <p:cNvSpPr/>
          <p:nvPr/>
        </p:nvSpPr>
        <p:spPr bwMode="auto">
          <a:xfrm>
            <a:off x="1043624" y="3152085"/>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28" name="Abgerundetes Rechteck 556"/>
          <p:cNvSpPr/>
          <p:nvPr/>
        </p:nvSpPr>
        <p:spPr bwMode="auto">
          <a:xfrm>
            <a:off x="5309836" y="1268700"/>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err="1" smtClean="0">
                <a:latin typeface="Verdana" pitchFamily="34" charset="0"/>
                <a:ea typeface="Verdana" pitchFamily="34" charset="0"/>
                <a:cs typeface="Verdana" pitchFamily="34" charset="0"/>
              </a:rPr>
              <a:t>Warstein</a:t>
            </a:r>
            <a:endParaRPr lang="en-US" sz="1200" dirty="0" smtClean="0">
              <a:latin typeface="Verdana" pitchFamily="34" charset="0"/>
              <a:ea typeface="Verdana" pitchFamily="34" charset="0"/>
              <a:cs typeface="Verdana" pitchFamily="34" charset="0"/>
            </a:endParaRPr>
          </a:p>
        </p:txBody>
      </p:sp>
      <p:sp>
        <p:nvSpPr>
          <p:cNvPr id="1129" name="Ellipse 557"/>
          <p:cNvSpPr/>
          <p:nvPr/>
        </p:nvSpPr>
        <p:spPr bwMode="auto">
          <a:xfrm>
            <a:off x="3719299" y="2887800"/>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32" name="Abgerundetes Rechteck 553"/>
          <p:cNvSpPr/>
          <p:nvPr/>
        </p:nvSpPr>
        <p:spPr bwMode="auto">
          <a:xfrm>
            <a:off x="1772368" y="1539860"/>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Duisburg</a:t>
            </a:r>
          </a:p>
        </p:txBody>
      </p:sp>
      <p:sp>
        <p:nvSpPr>
          <p:cNvPr id="1133" name="Ellipse 554"/>
          <p:cNvSpPr/>
          <p:nvPr/>
        </p:nvSpPr>
        <p:spPr bwMode="auto">
          <a:xfrm>
            <a:off x="3675174" y="2926784"/>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36" name="Abgerundetes Rechteck 550"/>
          <p:cNvSpPr/>
          <p:nvPr/>
        </p:nvSpPr>
        <p:spPr bwMode="auto">
          <a:xfrm>
            <a:off x="1763688" y="1949902"/>
            <a:ext cx="1098000" cy="360000"/>
          </a:xfrm>
          <a:prstGeom prst="rect">
            <a:avLst/>
          </a:prstGeom>
          <a:solidFill>
            <a:schemeClr val="tx2">
              <a:lumMod val="50000"/>
            </a:schemeClr>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Bristol</a:t>
            </a:r>
          </a:p>
        </p:txBody>
      </p:sp>
      <p:sp>
        <p:nvSpPr>
          <p:cNvPr id="1137" name="Ellipse 551"/>
          <p:cNvSpPr/>
          <p:nvPr/>
        </p:nvSpPr>
        <p:spPr bwMode="auto">
          <a:xfrm>
            <a:off x="3371437" y="2917011"/>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40" name="Abgerundetes Rechteck 547"/>
          <p:cNvSpPr/>
          <p:nvPr/>
        </p:nvSpPr>
        <p:spPr bwMode="auto">
          <a:xfrm>
            <a:off x="1763688" y="2345454"/>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Augsburg</a:t>
            </a:r>
          </a:p>
        </p:txBody>
      </p:sp>
      <p:sp>
        <p:nvSpPr>
          <p:cNvPr id="1141" name="Ellipse 548"/>
          <p:cNvSpPr/>
          <p:nvPr/>
        </p:nvSpPr>
        <p:spPr bwMode="auto">
          <a:xfrm>
            <a:off x="3734153" y="3094023"/>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44" name="Abgerundetes Rechteck 544"/>
          <p:cNvSpPr/>
          <p:nvPr/>
        </p:nvSpPr>
        <p:spPr bwMode="auto">
          <a:xfrm>
            <a:off x="3611673" y="4037788"/>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err="1" smtClean="0">
                <a:latin typeface="Verdana" pitchFamily="34" charset="0"/>
                <a:ea typeface="Verdana" pitchFamily="34" charset="0"/>
                <a:cs typeface="Verdana" pitchFamily="34" charset="0"/>
              </a:rPr>
              <a:t>Neubiberg</a:t>
            </a:r>
            <a:endParaRPr lang="en-US" sz="1200" dirty="0" smtClean="0">
              <a:latin typeface="Verdana" pitchFamily="34" charset="0"/>
              <a:ea typeface="Verdana" pitchFamily="34" charset="0"/>
              <a:cs typeface="Verdana" pitchFamily="34" charset="0"/>
            </a:endParaRPr>
          </a:p>
        </p:txBody>
      </p:sp>
      <p:sp>
        <p:nvSpPr>
          <p:cNvPr id="1145" name="Ellipse 545"/>
          <p:cNvSpPr/>
          <p:nvPr/>
        </p:nvSpPr>
        <p:spPr bwMode="auto">
          <a:xfrm>
            <a:off x="3758093" y="3102035"/>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48" name="Abgerundetes Rechteck 541"/>
          <p:cNvSpPr/>
          <p:nvPr/>
        </p:nvSpPr>
        <p:spPr bwMode="auto">
          <a:xfrm>
            <a:off x="3615276" y="4432993"/>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Padua</a:t>
            </a:r>
          </a:p>
        </p:txBody>
      </p:sp>
      <p:sp>
        <p:nvSpPr>
          <p:cNvPr id="1149" name="Ellipse 542"/>
          <p:cNvSpPr/>
          <p:nvPr/>
        </p:nvSpPr>
        <p:spPr bwMode="auto">
          <a:xfrm>
            <a:off x="3821741" y="3223137"/>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52" name="Abgerundetes Rechteck 538"/>
          <p:cNvSpPr/>
          <p:nvPr/>
        </p:nvSpPr>
        <p:spPr bwMode="auto">
          <a:xfrm>
            <a:off x="5309712" y="3326973"/>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Villach</a:t>
            </a:r>
          </a:p>
        </p:txBody>
      </p:sp>
      <p:sp>
        <p:nvSpPr>
          <p:cNvPr id="1153" name="Ellipse 539"/>
          <p:cNvSpPr/>
          <p:nvPr/>
        </p:nvSpPr>
        <p:spPr bwMode="auto">
          <a:xfrm>
            <a:off x="3903627" y="3158263"/>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56" name="Abgerundetes Rechteck 535"/>
          <p:cNvSpPr/>
          <p:nvPr/>
        </p:nvSpPr>
        <p:spPr bwMode="auto">
          <a:xfrm>
            <a:off x="5309712" y="2501993"/>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Graz</a:t>
            </a:r>
          </a:p>
        </p:txBody>
      </p:sp>
      <p:sp>
        <p:nvSpPr>
          <p:cNvPr id="1157" name="Ellipse 536"/>
          <p:cNvSpPr/>
          <p:nvPr/>
        </p:nvSpPr>
        <p:spPr bwMode="auto">
          <a:xfrm>
            <a:off x="3952150" y="3134987"/>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60" name="Abgerundetes Rechteck 532"/>
          <p:cNvSpPr/>
          <p:nvPr/>
        </p:nvSpPr>
        <p:spPr bwMode="auto">
          <a:xfrm>
            <a:off x="6498336" y="1268700"/>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Regensburg</a:t>
            </a:r>
          </a:p>
        </p:txBody>
      </p:sp>
      <p:sp>
        <p:nvSpPr>
          <p:cNvPr id="1161" name="Ellipse 533"/>
          <p:cNvSpPr/>
          <p:nvPr/>
        </p:nvSpPr>
        <p:spPr bwMode="auto">
          <a:xfrm>
            <a:off x="3790037" y="3073388"/>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64" name="Abgerundetes Rechteck 529"/>
          <p:cNvSpPr/>
          <p:nvPr/>
        </p:nvSpPr>
        <p:spPr bwMode="auto">
          <a:xfrm>
            <a:off x="5309712" y="1679730"/>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Dresden</a:t>
            </a:r>
          </a:p>
        </p:txBody>
      </p:sp>
      <p:sp>
        <p:nvSpPr>
          <p:cNvPr id="1165" name="Ellipse 530"/>
          <p:cNvSpPr/>
          <p:nvPr/>
        </p:nvSpPr>
        <p:spPr bwMode="auto">
          <a:xfrm>
            <a:off x="3855757" y="2936566"/>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68" name="Ellipse 526"/>
          <p:cNvSpPr/>
          <p:nvPr/>
        </p:nvSpPr>
        <p:spPr bwMode="auto">
          <a:xfrm>
            <a:off x="4289375" y="3221375"/>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70" name="Abgerundetes Rechteck 528"/>
          <p:cNvSpPr/>
          <p:nvPr/>
        </p:nvSpPr>
        <p:spPr bwMode="auto">
          <a:xfrm>
            <a:off x="5309712" y="2916512"/>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err="1" smtClean="0">
                <a:latin typeface="Verdana" pitchFamily="34" charset="0"/>
                <a:ea typeface="Verdana" pitchFamily="34" charset="0"/>
                <a:cs typeface="Verdana" pitchFamily="34" charset="0"/>
              </a:rPr>
              <a:t>Bukarest</a:t>
            </a:r>
            <a:endParaRPr lang="en-US" sz="1200" dirty="0" smtClean="0">
              <a:latin typeface="Verdana" pitchFamily="34" charset="0"/>
              <a:ea typeface="Verdana" pitchFamily="34" charset="0"/>
              <a:cs typeface="Verdana" pitchFamily="34" charset="0"/>
            </a:endParaRPr>
          </a:p>
        </p:txBody>
      </p:sp>
      <p:sp>
        <p:nvSpPr>
          <p:cNvPr id="1172" name="Abgerundetes Rechteck 523"/>
          <p:cNvSpPr/>
          <p:nvPr/>
        </p:nvSpPr>
        <p:spPr bwMode="auto">
          <a:xfrm>
            <a:off x="5309712" y="2089368"/>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Linz</a:t>
            </a:r>
          </a:p>
        </p:txBody>
      </p:sp>
      <p:sp>
        <p:nvSpPr>
          <p:cNvPr id="1173" name="Ellipse 524"/>
          <p:cNvSpPr/>
          <p:nvPr/>
        </p:nvSpPr>
        <p:spPr bwMode="auto">
          <a:xfrm>
            <a:off x="3899547" y="3102162"/>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76" name="Abgerundetes Rechteck 867"/>
          <p:cNvSpPr/>
          <p:nvPr/>
        </p:nvSpPr>
        <p:spPr bwMode="auto">
          <a:xfrm>
            <a:off x="248428" y="1695546"/>
            <a:ext cx="1083122"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Warwick</a:t>
            </a:r>
            <a:endParaRPr lang="en-US" sz="1200" dirty="0">
              <a:latin typeface="Verdana" pitchFamily="34" charset="0"/>
              <a:ea typeface="Verdana" pitchFamily="34" charset="0"/>
              <a:cs typeface="Verdana" pitchFamily="34" charset="0"/>
            </a:endParaRPr>
          </a:p>
        </p:txBody>
      </p:sp>
      <p:sp>
        <p:nvSpPr>
          <p:cNvPr id="1177" name="Ellipse 868"/>
          <p:cNvSpPr/>
          <p:nvPr/>
        </p:nvSpPr>
        <p:spPr bwMode="auto">
          <a:xfrm>
            <a:off x="2196500" y="2821495"/>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80" name="Abgerundetes Rechteck 867"/>
          <p:cNvSpPr/>
          <p:nvPr/>
        </p:nvSpPr>
        <p:spPr bwMode="auto">
          <a:xfrm>
            <a:off x="248428" y="2101836"/>
            <a:ext cx="1083122"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Irvine</a:t>
            </a:r>
            <a:endParaRPr lang="en-US" sz="1200" dirty="0">
              <a:latin typeface="Verdana" pitchFamily="34" charset="0"/>
              <a:ea typeface="Verdana" pitchFamily="34" charset="0"/>
              <a:cs typeface="Verdana" pitchFamily="34" charset="0"/>
            </a:endParaRPr>
          </a:p>
        </p:txBody>
      </p:sp>
      <p:sp>
        <p:nvSpPr>
          <p:cNvPr id="1181" name="Ellipse 868"/>
          <p:cNvSpPr/>
          <p:nvPr/>
        </p:nvSpPr>
        <p:spPr bwMode="auto">
          <a:xfrm>
            <a:off x="1071316" y="3069734"/>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1185" name="Ellipse 868"/>
          <p:cNvSpPr/>
          <p:nvPr/>
        </p:nvSpPr>
        <p:spPr bwMode="auto">
          <a:xfrm>
            <a:off x="1745441" y="2953214"/>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1188" name="Abgerundetes Rechteck 867"/>
          <p:cNvSpPr/>
          <p:nvPr/>
        </p:nvSpPr>
        <p:spPr bwMode="auto">
          <a:xfrm>
            <a:off x="248428" y="5263866"/>
            <a:ext cx="1083122"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Tewksbury</a:t>
            </a:r>
            <a:endParaRPr lang="en-US" sz="1200" dirty="0">
              <a:latin typeface="Verdana" pitchFamily="34" charset="0"/>
              <a:ea typeface="Verdana" pitchFamily="34" charset="0"/>
              <a:cs typeface="Verdana" pitchFamily="34" charset="0"/>
            </a:endParaRPr>
          </a:p>
        </p:txBody>
      </p:sp>
      <p:sp>
        <p:nvSpPr>
          <p:cNvPr id="1189" name="Ellipse 868"/>
          <p:cNvSpPr/>
          <p:nvPr/>
        </p:nvSpPr>
        <p:spPr bwMode="auto">
          <a:xfrm>
            <a:off x="1905216" y="3050893"/>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1192" name="Abgerundetes Rechteck 867"/>
          <p:cNvSpPr/>
          <p:nvPr/>
        </p:nvSpPr>
        <p:spPr bwMode="auto">
          <a:xfrm>
            <a:off x="2462951" y="4444797"/>
            <a:ext cx="109954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t>Le </a:t>
            </a:r>
            <a:r>
              <a:rPr lang="en-US" sz="1200" dirty="0" err="1" smtClean="0"/>
              <a:t>Puy</a:t>
            </a:r>
            <a:r>
              <a:rPr lang="en-US" sz="1200" dirty="0" smtClean="0"/>
              <a:t> Sainte </a:t>
            </a:r>
            <a:r>
              <a:rPr lang="en-US" sz="1200" dirty="0" err="1" smtClean="0"/>
              <a:t>Réparade</a:t>
            </a:r>
            <a:endParaRPr lang="en-US" sz="1200" dirty="0">
              <a:latin typeface="Verdana" pitchFamily="34" charset="0"/>
              <a:ea typeface="Verdana" pitchFamily="34" charset="0"/>
              <a:cs typeface="Verdana" pitchFamily="34" charset="0"/>
            </a:endParaRPr>
          </a:p>
        </p:txBody>
      </p:sp>
      <p:sp>
        <p:nvSpPr>
          <p:cNvPr id="1193" name="Ellipse 868"/>
          <p:cNvSpPr/>
          <p:nvPr/>
        </p:nvSpPr>
        <p:spPr bwMode="auto">
          <a:xfrm>
            <a:off x="3468024" y="3219707"/>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1197" name="Ellipse 868"/>
          <p:cNvSpPr/>
          <p:nvPr/>
        </p:nvSpPr>
        <p:spPr bwMode="auto">
          <a:xfrm>
            <a:off x="3342243" y="2738371"/>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1200" name="Abgerundetes Rechteck 465"/>
          <p:cNvSpPr/>
          <p:nvPr/>
        </p:nvSpPr>
        <p:spPr bwMode="auto">
          <a:xfrm>
            <a:off x="2474666" y="4031433"/>
            <a:ext cx="109800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Pavia</a:t>
            </a:r>
            <a:endParaRPr lang="en-US" sz="1200" dirty="0">
              <a:latin typeface="Verdana" pitchFamily="34" charset="0"/>
              <a:ea typeface="Verdana" pitchFamily="34" charset="0"/>
              <a:cs typeface="Verdana" pitchFamily="34" charset="0"/>
            </a:endParaRPr>
          </a:p>
        </p:txBody>
      </p:sp>
      <p:sp>
        <p:nvSpPr>
          <p:cNvPr id="1201" name="Ellipse 466"/>
          <p:cNvSpPr/>
          <p:nvPr/>
        </p:nvSpPr>
        <p:spPr bwMode="auto">
          <a:xfrm>
            <a:off x="3723280" y="3232548"/>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1204" name="Abgerundetes Rechteck 867"/>
          <p:cNvSpPr/>
          <p:nvPr/>
        </p:nvSpPr>
        <p:spPr bwMode="auto">
          <a:xfrm>
            <a:off x="4158209" y="1268700"/>
            <a:ext cx="109954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err="1" smtClean="0">
                <a:latin typeface="Verdana" pitchFamily="34" charset="0"/>
                <a:ea typeface="Verdana" pitchFamily="34" charset="0"/>
                <a:cs typeface="Verdana" pitchFamily="34" charset="0"/>
              </a:rPr>
              <a:t>Skovlunde</a:t>
            </a:r>
            <a:endParaRPr lang="en-US" sz="1200" dirty="0">
              <a:latin typeface="Verdana" pitchFamily="34" charset="0"/>
              <a:ea typeface="Verdana" pitchFamily="34" charset="0"/>
              <a:cs typeface="Verdana" pitchFamily="34" charset="0"/>
            </a:endParaRPr>
          </a:p>
        </p:txBody>
      </p:sp>
      <p:sp>
        <p:nvSpPr>
          <p:cNvPr id="1205" name="Ellipse 868"/>
          <p:cNvSpPr/>
          <p:nvPr/>
        </p:nvSpPr>
        <p:spPr bwMode="auto">
          <a:xfrm>
            <a:off x="3695732" y="2627925"/>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448" name="Abgerundetes Rechteck 867"/>
          <p:cNvSpPr/>
          <p:nvPr/>
        </p:nvSpPr>
        <p:spPr bwMode="auto">
          <a:xfrm>
            <a:off x="248428" y="5666976"/>
            <a:ext cx="1083121"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Chandler</a:t>
            </a:r>
            <a:endParaRPr lang="en-US" sz="1200" dirty="0">
              <a:latin typeface="Verdana" pitchFamily="34" charset="0"/>
              <a:ea typeface="Verdana" pitchFamily="34" charset="0"/>
              <a:cs typeface="Verdana" pitchFamily="34" charset="0"/>
            </a:endParaRPr>
          </a:p>
        </p:txBody>
      </p:sp>
      <p:sp>
        <p:nvSpPr>
          <p:cNvPr id="438" name="Abgerundetes Rechteck 1182"/>
          <p:cNvSpPr/>
          <p:nvPr/>
        </p:nvSpPr>
        <p:spPr bwMode="auto">
          <a:xfrm>
            <a:off x="248428" y="2492890"/>
            <a:ext cx="1083122" cy="367959"/>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El Segundo</a:t>
            </a:r>
            <a:endParaRPr lang="en-US" sz="1200" dirty="0">
              <a:latin typeface="Verdana" pitchFamily="34" charset="0"/>
              <a:ea typeface="Verdana" pitchFamily="34" charset="0"/>
              <a:cs typeface="Verdana" pitchFamily="34" charset="0"/>
            </a:endParaRPr>
          </a:p>
        </p:txBody>
      </p:sp>
      <p:sp>
        <p:nvSpPr>
          <p:cNvPr id="442" name="Ellipse 1184"/>
          <p:cNvSpPr/>
          <p:nvPr/>
        </p:nvSpPr>
        <p:spPr bwMode="auto">
          <a:xfrm>
            <a:off x="931534" y="3141734"/>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443" name="Abgerundetes Rechteck 867"/>
          <p:cNvSpPr/>
          <p:nvPr/>
        </p:nvSpPr>
        <p:spPr bwMode="auto">
          <a:xfrm>
            <a:off x="248428" y="3651402"/>
            <a:ext cx="1083121"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San José</a:t>
            </a:r>
            <a:endParaRPr lang="en-US" sz="1200" dirty="0">
              <a:latin typeface="Verdana" pitchFamily="34" charset="0"/>
              <a:ea typeface="Verdana" pitchFamily="34" charset="0"/>
              <a:cs typeface="Verdana" pitchFamily="34" charset="0"/>
            </a:endParaRPr>
          </a:p>
        </p:txBody>
      </p:sp>
      <p:sp>
        <p:nvSpPr>
          <p:cNvPr id="444" name="Ellipse 868"/>
          <p:cNvSpPr/>
          <p:nvPr/>
        </p:nvSpPr>
        <p:spPr bwMode="auto">
          <a:xfrm>
            <a:off x="961164" y="2971017"/>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445" name="Abgerundetes Rechteck 867"/>
          <p:cNvSpPr/>
          <p:nvPr/>
        </p:nvSpPr>
        <p:spPr bwMode="auto">
          <a:xfrm>
            <a:off x="248428" y="1268700"/>
            <a:ext cx="1083122" cy="3796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Leominster</a:t>
            </a:r>
            <a:endParaRPr lang="en-US" sz="1200" dirty="0">
              <a:latin typeface="Verdana" pitchFamily="34" charset="0"/>
              <a:ea typeface="Verdana" pitchFamily="34" charset="0"/>
              <a:cs typeface="Verdana" pitchFamily="34" charset="0"/>
            </a:endParaRPr>
          </a:p>
        </p:txBody>
      </p:sp>
      <p:sp>
        <p:nvSpPr>
          <p:cNvPr id="446" name="Ellipse 868"/>
          <p:cNvSpPr/>
          <p:nvPr/>
        </p:nvSpPr>
        <p:spPr bwMode="auto">
          <a:xfrm>
            <a:off x="2241303" y="2787024"/>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451" name="Abgerundetes Rechteck 867"/>
          <p:cNvSpPr/>
          <p:nvPr/>
        </p:nvSpPr>
        <p:spPr bwMode="auto">
          <a:xfrm>
            <a:off x="248428" y="4861072"/>
            <a:ext cx="108312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Newport</a:t>
            </a:r>
            <a:endParaRPr lang="en-US" sz="1200" dirty="0">
              <a:latin typeface="Verdana" pitchFamily="34" charset="0"/>
              <a:ea typeface="Verdana" pitchFamily="34" charset="0"/>
              <a:cs typeface="Verdana" pitchFamily="34" charset="0"/>
            </a:endParaRPr>
          </a:p>
        </p:txBody>
      </p:sp>
      <p:sp>
        <p:nvSpPr>
          <p:cNvPr id="452" name="Ellipse 868"/>
          <p:cNvSpPr/>
          <p:nvPr/>
        </p:nvSpPr>
        <p:spPr bwMode="auto">
          <a:xfrm>
            <a:off x="2261941" y="2893496"/>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a:latin typeface="Verdana" pitchFamily="34" charset="0"/>
              <a:ea typeface="Verdana" pitchFamily="34" charset="0"/>
              <a:cs typeface="Verdana" pitchFamily="34" charset="0"/>
            </a:endParaRPr>
          </a:p>
        </p:txBody>
      </p:sp>
      <p:sp>
        <p:nvSpPr>
          <p:cNvPr id="994" name="Abgerundetes Rechteck 897"/>
          <p:cNvSpPr/>
          <p:nvPr/>
        </p:nvSpPr>
        <p:spPr bwMode="auto">
          <a:xfrm>
            <a:off x="7784148" y="4664293"/>
            <a:ext cx="109954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smtClean="0">
                <a:latin typeface="Verdana" pitchFamily="34" charset="0"/>
                <a:ea typeface="Verdana" pitchFamily="34" charset="0"/>
                <a:cs typeface="Verdana" pitchFamily="34" charset="0"/>
              </a:rPr>
              <a:t>Singapore</a:t>
            </a:r>
            <a:endParaRPr lang="en-US" sz="1200" dirty="0">
              <a:latin typeface="Verdana" pitchFamily="34" charset="0"/>
              <a:ea typeface="Verdana" pitchFamily="34" charset="0"/>
              <a:cs typeface="Verdana" pitchFamily="34" charset="0"/>
            </a:endParaRPr>
          </a:p>
        </p:txBody>
      </p:sp>
      <p:sp>
        <p:nvSpPr>
          <p:cNvPr id="995" name="Ellipse 898"/>
          <p:cNvSpPr/>
          <p:nvPr/>
        </p:nvSpPr>
        <p:spPr bwMode="auto">
          <a:xfrm>
            <a:off x="6695285" y="4040895"/>
            <a:ext cx="144000" cy="144000"/>
          </a:xfrm>
          <a:prstGeom prst="ellipse">
            <a:avLst/>
          </a:prstGeom>
          <a:solidFill>
            <a:schemeClr val="tx2"/>
          </a:solidFill>
          <a:ln w="9525">
            <a:solidFill>
              <a:schemeClr val="bg1"/>
            </a:solidFill>
            <a:miter lim="800000"/>
            <a:headEnd/>
            <a:tailEnd/>
          </a:ln>
          <a:effectLst/>
        </p:spPr>
        <p:txBody>
          <a:bodyPr wrap="square" lIns="90000" tIns="46800" rIns="90000" bIns="46800" rtlCol="0" anchor="ctr">
            <a:noAutofit/>
          </a:bodyPr>
          <a:lstStyle/>
          <a:p>
            <a:pPr algn="ctr" eaLnBrk="0" hangingPunct="0">
              <a:buClr>
                <a:srgbClr val="000000"/>
              </a:buClr>
            </a:pPr>
            <a:endParaRPr lang="en-US" sz="1600" dirty="0" err="1" smtClean="0">
              <a:latin typeface="Verdana" pitchFamily="34" charset="0"/>
              <a:ea typeface="Verdana" pitchFamily="34" charset="0"/>
              <a:cs typeface="Verdana" pitchFamily="34" charset="0"/>
            </a:endParaRPr>
          </a:p>
        </p:txBody>
      </p:sp>
      <p:sp>
        <p:nvSpPr>
          <p:cNvPr id="1196" name="Abgerundetes Rechteck 867"/>
          <p:cNvSpPr/>
          <p:nvPr/>
        </p:nvSpPr>
        <p:spPr bwMode="auto">
          <a:xfrm>
            <a:off x="2897642" y="1268700"/>
            <a:ext cx="1099540" cy="360000"/>
          </a:xfrm>
          <a:prstGeom prst="rect">
            <a:avLst/>
          </a:prstGeom>
          <a:solidFill>
            <a:schemeClr val="tx2"/>
          </a:solidFill>
          <a:ln w="12700">
            <a:noFill/>
            <a:miter lim="800000"/>
            <a:headEnd/>
            <a:tailEnd/>
          </a:ln>
          <a:effectLst/>
        </p:spPr>
        <p:txBody>
          <a:bodyPr wrap="square" lIns="36000" tIns="36000" rIns="36000" bIns="36000" rtlCol="0" anchor="ctr" anchorCtr="0"/>
          <a:lstStyle/>
          <a:p>
            <a:pPr algn="ctr" eaLnBrk="0" hangingPunct="0">
              <a:buClr>
                <a:schemeClr val="tx1"/>
              </a:buClr>
            </a:pPr>
            <a:r>
              <a:rPr lang="en-US" sz="1200" dirty="0" err="1" smtClean="0">
                <a:latin typeface="Verdana" pitchFamily="34" charset="0"/>
                <a:ea typeface="Verdana" pitchFamily="34" charset="0"/>
                <a:cs typeface="Verdana" pitchFamily="34" charset="0"/>
              </a:rPr>
              <a:t>Reigate</a:t>
            </a:r>
            <a:endParaRPr lang="en-US" sz="1200" dirty="0">
              <a:latin typeface="Verdana" pitchFamily="34" charset="0"/>
              <a:ea typeface="Verdana" pitchFamily="34" charset="0"/>
              <a:cs typeface="Verdana" pitchFamily="34" charset="0"/>
            </a:endParaRPr>
          </a:p>
        </p:txBody>
      </p:sp>
    </p:spTree>
    <p:custDataLst>
      <p:tags r:id="rId1"/>
    </p:custDataLst>
    <p:extLst>
      <p:ext uri="{BB962C8B-B14F-4D97-AF65-F5344CB8AC3E}">
        <p14:creationId xmlns:p14="http://schemas.microsoft.com/office/powerpoint/2010/main" val="1789917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3"/>
          <p:cNvSpPr>
            <a:spLocks noGrp="1" noChangeArrowheads="1"/>
          </p:cNvSpPr>
          <p:nvPr>
            <p:ph type="title"/>
          </p:nvPr>
        </p:nvSpPr>
        <p:spPr/>
        <p:txBody>
          <a:bodyPr/>
          <a:lstStyle/>
          <a:p>
            <a:r>
              <a:rPr lang="en-US" dirty="0" smtClean="0"/>
              <a:t>Infineon creates a net ecologic benefit</a:t>
            </a:r>
            <a:endParaRPr lang="en-US" dirty="0"/>
          </a:p>
        </p:txBody>
      </p:sp>
      <p:sp>
        <p:nvSpPr>
          <p:cNvPr id="5" name="Foliennummernplatzhalter 4"/>
          <p:cNvSpPr>
            <a:spLocks noGrp="1"/>
          </p:cNvSpPr>
          <p:nvPr>
            <p:ph type="sldNum" sz="quarter" idx="4"/>
          </p:nvPr>
        </p:nvSpPr>
        <p:spPr/>
        <p:txBody>
          <a:bodyPr/>
          <a:lstStyle/>
          <a:p>
            <a:fld id="{76304FD8-2648-4F58-8032-9AC60F082B54}" type="slidenum">
              <a:rPr lang="en-US" smtClean="0"/>
              <a:pPr/>
              <a:t>13</a:t>
            </a:fld>
            <a:endParaRPr lang="en-US" dirty="0"/>
          </a:p>
        </p:txBody>
      </p:sp>
      <p:sp>
        <p:nvSpPr>
          <p:cNvPr id="6" name="Datumsplatzhalter 5"/>
          <p:cNvSpPr>
            <a:spLocks noGrp="1"/>
          </p:cNvSpPr>
          <p:nvPr>
            <p:ph type="dt" sz="half" idx="2"/>
          </p:nvPr>
        </p:nvSpPr>
        <p:spPr/>
        <p:txBody>
          <a:bodyPr/>
          <a:lstStyle/>
          <a:p>
            <a:r>
              <a:rPr lang="en-US" dirty="0" smtClean="0"/>
              <a:t>July 2015</a:t>
            </a:r>
            <a:endParaRPr lang="en-US" dirty="0"/>
          </a:p>
        </p:txBody>
      </p:sp>
      <p:sp>
        <p:nvSpPr>
          <p:cNvPr id="7" name="Fußzeilenplatzhalter 6"/>
          <p:cNvSpPr>
            <a:spLocks noGrp="1"/>
          </p:cNvSpPr>
          <p:nvPr>
            <p:ph type="ftr" sz="quarter" idx="3"/>
          </p:nvPr>
        </p:nvSpPr>
        <p:spPr/>
        <p:txBody>
          <a:bodyPr/>
          <a:lstStyle/>
          <a:p>
            <a:r>
              <a:rPr lang="en-US" dirty="0" smtClean="0"/>
              <a:t>Copyright © Infineon Technologies AG 2015. All rights reserved.</a:t>
            </a:r>
            <a:endParaRPr lang="en-US" dirty="0"/>
          </a:p>
        </p:txBody>
      </p:sp>
      <p:sp>
        <p:nvSpPr>
          <p:cNvPr id="9" name="Textfeld 8"/>
          <p:cNvSpPr txBox="1"/>
          <p:nvPr/>
        </p:nvSpPr>
        <p:spPr bwMode="auto">
          <a:xfrm>
            <a:off x="251520" y="6021641"/>
            <a:ext cx="8641655" cy="360109"/>
          </a:xfrm>
          <a:prstGeom prst="rect">
            <a:avLst/>
          </a:prstGeom>
          <a:noFill/>
          <a:ln w="9525">
            <a:noFill/>
            <a:miter lim="800000"/>
            <a:headEnd/>
            <a:tailEnd/>
          </a:ln>
          <a:effectLst/>
        </p:spPr>
        <p:txBody>
          <a:bodyPr wrap="square" lIns="0" tIns="0" rIns="0" bIns="0" rtlCol="0" anchor="b" anchorCtr="0">
            <a:noAutofit/>
          </a:bodyPr>
          <a:lstStyle/>
          <a:p>
            <a:pPr eaLnBrk="0" fontAlgn="auto" hangingPunct="0">
              <a:spcBef>
                <a:spcPts val="0"/>
              </a:spcBef>
              <a:spcAft>
                <a:spcPts val="300"/>
              </a:spcAft>
              <a:buClr>
                <a:srgbClr val="B70D28"/>
              </a:buClr>
            </a:pPr>
            <a:r>
              <a:rPr lang="en-US" sz="1000" kern="0" dirty="0" smtClean="0">
                <a:latin typeface="+mn-lt"/>
                <a:ea typeface="Verdana" pitchFamily="34" charset="0"/>
                <a:cs typeface="Arial" panose="020B0604020202020204" pitchFamily="34" charset="0"/>
              </a:rPr>
              <a:t>The information and data given in this document apply to the Infineon Technologies group, except for International Rectifier companies.</a:t>
            </a:r>
            <a:endParaRPr lang="en-US" sz="1000" kern="0" dirty="0">
              <a:latin typeface="+mn-lt"/>
              <a:ea typeface="Verdana" pitchFamily="34" charset="0"/>
              <a:cs typeface="Arial" panose="020B0604020202020204" pitchFamily="34" charset="0"/>
            </a:endParaRPr>
          </a:p>
        </p:txBody>
      </p:sp>
      <p:sp>
        <p:nvSpPr>
          <p:cNvPr id="11" name="Text Box 26"/>
          <p:cNvSpPr>
            <a:spLocks noChangeArrowheads="1"/>
          </p:cNvSpPr>
          <p:nvPr/>
        </p:nvSpPr>
        <p:spPr bwMode="auto">
          <a:xfrm>
            <a:off x="250825" y="1268661"/>
            <a:ext cx="8640763" cy="432147"/>
          </a:xfrm>
          <a:prstGeom prst="rect">
            <a:avLst/>
          </a:prstGeom>
          <a:noFill/>
          <a:ln w="9525">
            <a:noFill/>
            <a:miter lim="800000"/>
            <a:headEnd/>
            <a:tailEnd/>
          </a:ln>
          <a:effectLst/>
          <a:extLst/>
        </p:spPr>
        <p:txBody>
          <a:bodyPr lIns="0" tIns="72000" rIns="72000" bIns="72000"/>
          <a:lstStyle/>
          <a:p>
            <a:pPr>
              <a:buClr>
                <a:srgbClr val="B70D28"/>
              </a:buClr>
            </a:pPr>
            <a:r>
              <a:rPr lang="en-US" sz="1800" b="1" dirty="0" smtClean="0">
                <a:latin typeface="Verdana" pitchFamily="34" charset="0"/>
              </a:rPr>
              <a:t>Emission Reduction enabled by our products and solutions</a:t>
            </a:r>
            <a:endParaRPr lang="en-US" sz="1800" b="1" dirty="0">
              <a:latin typeface="Verdana" pitchFamily="34" charset="0"/>
            </a:endParaRPr>
          </a:p>
        </p:txBody>
      </p:sp>
      <p:sp>
        <p:nvSpPr>
          <p:cNvPr id="12" name="Rectangle 30"/>
          <p:cNvSpPr>
            <a:spLocks noChangeArrowheads="1"/>
          </p:cNvSpPr>
          <p:nvPr/>
        </p:nvSpPr>
        <p:spPr bwMode="auto">
          <a:xfrm>
            <a:off x="6462890" y="3573120"/>
            <a:ext cx="2160000" cy="720000"/>
          </a:xfrm>
          <a:prstGeom prst="rect">
            <a:avLst/>
          </a:prstGeom>
          <a:solidFill>
            <a:schemeClr val="accent4"/>
          </a:solidFill>
          <a:ln w="9525" algn="ctr">
            <a:noFill/>
            <a:miter lim="800000"/>
            <a:headEnd/>
            <a:tailEnd/>
          </a:ln>
          <a:effectLst/>
        </p:spPr>
        <p:txBody>
          <a:bodyPr lIns="0" tIns="0" rIns="0" bIns="0" anchor="ctr"/>
          <a:lstStyle/>
          <a:p>
            <a:pPr algn="ctr" defTabSz="865188">
              <a:buClr>
                <a:srgbClr val="00214A"/>
              </a:buClr>
              <a:defRPr/>
            </a:pPr>
            <a:r>
              <a:rPr lang="en-US" sz="1800" dirty="0" smtClean="0">
                <a:latin typeface="Verdana" charset="0"/>
                <a:ea typeface="MS PGothic" pitchFamily="34" charset="-128"/>
                <a:cs typeface="Arial" charset="0"/>
              </a:rPr>
              <a:t>CO</a:t>
            </a:r>
            <a:r>
              <a:rPr lang="en-US" sz="1800" baseline="-25000" dirty="0" smtClean="0">
                <a:latin typeface="Verdana" charset="0"/>
                <a:cs typeface="Arial" charset="0"/>
              </a:rPr>
              <a:t>2</a:t>
            </a:r>
            <a:r>
              <a:rPr lang="en-US" sz="1800" dirty="0" smtClean="0">
                <a:latin typeface="Verdana" charset="0"/>
                <a:ea typeface="MS PGothic" pitchFamily="34" charset="-128"/>
                <a:cs typeface="Arial" charset="0"/>
              </a:rPr>
              <a:t> savings</a:t>
            </a:r>
            <a:r>
              <a:rPr lang="en-US" sz="1800" baseline="30000" dirty="0" smtClean="0">
                <a:latin typeface="Verdana" charset="0"/>
                <a:cs typeface="Arial" charset="0"/>
              </a:rPr>
              <a:t>2)</a:t>
            </a:r>
          </a:p>
        </p:txBody>
      </p:sp>
      <p:sp>
        <p:nvSpPr>
          <p:cNvPr id="13" name="Rectangle 2"/>
          <p:cNvSpPr>
            <a:spLocks noChangeArrowheads="1"/>
          </p:cNvSpPr>
          <p:nvPr/>
        </p:nvSpPr>
        <p:spPr bwMode="auto">
          <a:xfrm>
            <a:off x="6220022" y="2300681"/>
            <a:ext cx="278904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spcBef>
                <a:spcPct val="50000"/>
              </a:spcBef>
              <a:buClr>
                <a:srgbClr val="00214A"/>
              </a:buClr>
            </a:pPr>
            <a:r>
              <a:rPr lang="en-US" b="1" dirty="0" smtClean="0">
                <a:solidFill>
                  <a:schemeClr val="accent4">
                    <a:lumMod val="75000"/>
                  </a:schemeClr>
                </a:solidFill>
                <a:latin typeface="Verdana" charset="0"/>
                <a:cs typeface="Arial" charset="0"/>
              </a:rPr>
              <a:t>more than</a:t>
            </a:r>
            <a:br>
              <a:rPr lang="en-US" b="1" dirty="0" smtClean="0">
                <a:solidFill>
                  <a:schemeClr val="accent4">
                    <a:lumMod val="75000"/>
                  </a:schemeClr>
                </a:solidFill>
                <a:latin typeface="Verdana" charset="0"/>
                <a:cs typeface="Arial" charset="0"/>
              </a:rPr>
            </a:br>
            <a:r>
              <a:rPr lang="en-US" b="1" dirty="0" smtClean="0">
                <a:solidFill>
                  <a:schemeClr val="accent4">
                    <a:lumMod val="75000"/>
                  </a:schemeClr>
                </a:solidFill>
                <a:latin typeface="Verdana" charset="0"/>
                <a:cs typeface="Arial" charset="0"/>
              </a:rPr>
              <a:t>14.4</a:t>
            </a:r>
            <a:br>
              <a:rPr lang="en-US" b="1" dirty="0" smtClean="0">
                <a:solidFill>
                  <a:schemeClr val="accent4">
                    <a:lumMod val="75000"/>
                  </a:schemeClr>
                </a:solidFill>
                <a:latin typeface="Verdana" charset="0"/>
                <a:cs typeface="Arial" charset="0"/>
              </a:rPr>
            </a:br>
            <a:r>
              <a:rPr lang="en-US" b="1" dirty="0" smtClean="0">
                <a:solidFill>
                  <a:schemeClr val="accent4">
                    <a:lumMod val="75000"/>
                  </a:schemeClr>
                </a:solidFill>
                <a:latin typeface="Verdana" charset="0"/>
                <a:cs typeface="Arial" charset="0"/>
              </a:rPr>
              <a:t>million tons</a:t>
            </a:r>
            <a:endParaRPr lang="en-US" b="1" baseline="-25000" dirty="0">
              <a:solidFill>
                <a:schemeClr val="accent4">
                  <a:lumMod val="75000"/>
                </a:schemeClr>
              </a:solidFill>
              <a:latin typeface="Verdana" charset="0"/>
              <a:cs typeface="Arial" charset="0"/>
            </a:endParaRPr>
          </a:p>
        </p:txBody>
      </p:sp>
      <p:sp>
        <p:nvSpPr>
          <p:cNvPr id="14" name="Text Box 22"/>
          <p:cNvSpPr txBox="1">
            <a:spLocks noChangeArrowheads="1"/>
          </p:cNvSpPr>
          <p:nvPr/>
        </p:nvSpPr>
        <p:spPr bwMode="auto">
          <a:xfrm>
            <a:off x="438725" y="3573120"/>
            <a:ext cx="2160000" cy="720000"/>
          </a:xfrm>
          <a:prstGeom prst="rect">
            <a:avLst/>
          </a:prstGeom>
          <a:solidFill>
            <a:schemeClr val="accent6"/>
          </a:solidFill>
          <a:ln w="9525" algn="ctr">
            <a:noFill/>
            <a:miter lim="800000"/>
            <a:headEnd/>
            <a:tailEnd/>
          </a:ln>
          <a:effectLst/>
        </p:spPr>
        <p:txBody>
          <a:bodyPr lIns="0" tIns="0" rIns="0" bIns="0" anchor="ctr"/>
          <a:lstStyle/>
          <a:p>
            <a:pPr algn="ctr" defTabSz="865188">
              <a:buClr>
                <a:srgbClr val="00214A"/>
              </a:buClr>
              <a:defRPr/>
            </a:pPr>
            <a:r>
              <a:rPr lang="en-US" sz="1800" dirty="0" smtClean="0">
                <a:solidFill>
                  <a:schemeClr val="bg1"/>
                </a:solidFill>
                <a:latin typeface="Verdana" charset="0"/>
                <a:ea typeface="MS PGothic" pitchFamily="34" charset="-128"/>
                <a:cs typeface="Arial" charset="0"/>
              </a:rPr>
              <a:t>CO</a:t>
            </a:r>
            <a:r>
              <a:rPr lang="en-US" sz="1800" baseline="-25000" dirty="0" smtClean="0">
                <a:solidFill>
                  <a:schemeClr val="bg1"/>
                </a:solidFill>
                <a:latin typeface="Verdana" charset="0"/>
                <a:cs typeface="Arial" charset="0"/>
              </a:rPr>
              <a:t>2</a:t>
            </a:r>
            <a:r>
              <a:rPr lang="en-US" sz="1800" dirty="0" smtClean="0">
                <a:solidFill>
                  <a:schemeClr val="bg1"/>
                </a:solidFill>
                <a:latin typeface="Verdana" charset="0"/>
                <a:ea typeface="MS PGothic" pitchFamily="34" charset="-128"/>
                <a:cs typeface="Arial" charset="0"/>
              </a:rPr>
              <a:t> burden</a:t>
            </a:r>
            <a:r>
              <a:rPr lang="en-US" sz="1800" baseline="30000" dirty="0" smtClean="0">
                <a:solidFill>
                  <a:schemeClr val="bg1"/>
                </a:solidFill>
                <a:latin typeface="Verdana" charset="0"/>
                <a:cs typeface="Arial" charset="0"/>
              </a:rPr>
              <a:t>1)</a:t>
            </a:r>
            <a:endParaRPr lang="en-US" sz="1800" dirty="0">
              <a:solidFill>
                <a:schemeClr val="bg1"/>
              </a:solidFill>
              <a:latin typeface="Verdana" charset="0"/>
              <a:ea typeface="MS PGothic" pitchFamily="34" charset="-128"/>
              <a:cs typeface="Arial" charset="0"/>
            </a:endParaRPr>
          </a:p>
        </p:txBody>
      </p:sp>
      <p:sp>
        <p:nvSpPr>
          <p:cNvPr id="16" name="Rectangle 4"/>
          <p:cNvSpPr>
            <a:spLocks noChangeArrowheads="1"/>
          </p:cNvSpPr>
          <p:nvPr/>
        </p:nvSpPr>
        <p:spPr bwMode="auto">
          <a:xfrm>
            <a:off x="330991" y="2300681"/>
            <a:ext cx="2134097"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spcBef>
                <a:spcPct val="50000"/>
              </a:spcBef>
              <a:buClr>
                <a:srgbClr val="00214A"/>
              </a:buClr>
            </a:pPr>
            <a:r>
              <a:rPr lang="en-US" b="1" dirty="0" smtClean="0">
                <a:solidFill>
                  <a:schemeClr val="accent6"/>
                </a:solidFill>
                <a:latin typeface="Verdana" charset="0"/>
                <a:cs typeface="Arial" charset="0"/>
              </a:rPr>
              <a:t>1.4</a:t>
            </a:r>
            <a:br>
              <a:rPr lang="en-US" b="1" dirty="0" smtClean="0">
                <a:solidFill>
                  <a:schemeClr val="accent6"/>
                </a:solidFill>
                <a:latin typeface="Verdana" charset="0"/>
                <a:cs typeface="Arial" charset="0"/>
              </a:rPr>
            </a:br>
            <a:r>
              <a:rPr lang="en-US" b="1" dirty="0" smtClean="0">
                <a:solidFill>
                  <a:schemeClr val="accent6"/>
                </a:solidFill>
                <a:latin typeface="Verdana" charset="0"/>
                <a:cs typeface="Arial" charset="0"/>
              </a:rPr>
              <a:t>million tons</a:t>
            </a:r>
            <a:endParaRPr lang="en-US" b="1" baseline="-25000" dirty="0">
              <a:solidFill>
                <a:schemeClr val="accent6"/>
              </a:solidFill>
              <a:latin typeface="Verdana" charset="0"/>
              <a:cs typeface="Arial" charset="0"/>
            </a:endParaRPr>
          </a:p>
        </p:txBody>
      </p:sp>
      <p:sp>
        <p:nvSpPr>
          <p:cNvPr id="17" name="TextBox 1"/>
          <p:cNvSpPr>
            <a:spLocks noChangeArrowheads="1"/>
          </p:cNvSpPr>
          <p:nvPr/>
        </p:nvSpPr>
        <p:spPr bwMode="auto">
          <a:xfrm>
            <a:off x="2834380" y="3573120"/>
            <a:ext cx="3276364" cy="720000"/>
          </a:xfrm>
          <a:prstGeom prst="leftRightArrow">
            <a:avLst>
              <a:gd name="adj1" fmla="val 97606"/>
              <a:gd name="adj2" fmla="val 50984"/>
            </a:avLst>
          </a:prstGeom>
          <a:solidFill>
            <a:schemeClr val="bg2">
              <a:lumMod val="90000"/>
            </a:schemeClr>
          </a:solidFill>
          <a:ln>
            <a:noFill/>
          </a:ln>
          <a:extLst/>
        </p:spPr>
        <p:txBody>
          <a:bodyPr wrap="square" lIns="0" tIns="0" rIns="0" bIns="0" anchor="ctr" anchorCtr="1">
            <a:noAutofit/>
          </a:bodyPr>
          <a:lstStyle/>
          <a:p>
            <a:pPr algn="ctr" eaLnBrk="0" hangingPunct="0">
              <a:spcAft>
                <a:spcPts val="300"/>
              </a:spcAft>
              <a:buClr>
                <a:srgbClr val="B70D28"/>
              </a:buClr>
            </a:pPr>
            <a:r>
              <a:rPr lang="en-US" sz="1800" dirty="0" smtClean="0">
                <a:latin typeface="Verdana" charset="0"/>
              </a:rPr>
              <a:t>Ratio 1:10</a:t>
            </a:r>
            <a:endParaRPr lang="en-US" sz="1800" dirty="0">
              <a:latin typeface="Verdana" charset="0"/>
            </a:endParaRPr>
          </a:p>
        </p:txBody>
      </p:sp>
      <p:sp>
        <p:nvSpPr>
          <p:cNvPr id="19" name="Text Box 27"/>
          <p:cNvSpPr>
            <a:spLocks noChangeArrowheads="1"/>
          </p:cNvSpPr>
          <p:nvPr/>
        </p:nvSpPr>
        <p:spPr bwMode="auto">
          <a:xfrm>
            <a:off x="251400" y="4376511"/>
            <a:ext cx="8640188" cy="667328"/>
          </a:xfrm>
          <a:prstGeom prst="rect">
            <a:avLst/>
          </a:prstGeom>
          <a:noFill/>
          <a:ln w="12700">
            <a:solidFill>
              <a:schemeClr val="accent2"/>
            </a:solidFill>
            <a:miter lim="800000"/>
            <a:headEnd/>
            <a:tailEnd/>
          </a:ln>
          <a:extLst/>
        </p:spPr>
        <p:txBody>
          <a:bodyPr wrap="square" lIns="36000" tIns="46800" rIns="36000" bIns="46800">
            <a:spAutoFit/>
          </a:bodyPr>
          <a:lstStyle/>
          <a:p>
            <a:pPr algn="ctr">
              <a:spcBef>
                <a:spcPct val="50000"/>
              </a:spcBef>
              <a:buClr>
                <a:srgbClr val="00214A"/>
              </a:buClr>
            </a:pPr>
            <a:r>
              <a:rPr lang="en-US" sz="1800" dirty="0" smtClean="0">
                <a:latin typeface="Verdana" charset="0"/>
                <a:cs typeface="Arial" charset="0"/>
              </a:rPr>
              <a:t>Net ecological benefit:</a:t>
            </a:r>
            <a:r>
              <a:rPr lang="en-US" sz="1800" b="1" dirty="0" smtClean="0">
                <a:latin typeface="Verdana" charset="0"/>
                <a:cs typeface="Arial" charset="0"/>
              </a:rPr>
              <a:t/>
            </a:r>
            <a:br>
              <a:rPr lang="en-US" sz="1800" b="1" dirty="0" smtClean="0">
                <a:latin typeface="Verdana" charset="0"/>
                <a:cs typeface="Arial" charset="0"/>
              </a:rPr>
            </a:br>
            <a:r>
              <a:rPr lang="en-US" sz="1800" b="1" dirty="0" smtClean="0">
                <a:latin typeface="Verdana" charset="0"/>
              </a:rPr>
              <a:t>round 13 million tons of CO</a:t>
            </a:r>
            <a:r>
              <a:rPr lang="en-US" sz="1800" b="1" baseline="-25000" dirty="0" smtClean="0">
                <a:latin typeface="Verdana" charset="0"/>
              </a:rPr>
              <a:t>2</a:t>
            </a:r>
            <a:r>
              <a:rPr lang="en-US" sz="1800" b="1" dirty="0" smtClean="0">
                <a:latin typeface="Verdana" charset="0"/>
              </a:rPr>
              <a:t> emission reduction</a:t>
            </a:r>
            <a:endParaRPr lang="en-US" sz="1800" b="1" dirty="0">
              <a:latin typeface="Verdana" charset="0"/>
            </a:endParaRPr>
          </a:p>
        </p:txBody>
      </p:sp>
      <p:sp>
        <p:nvSpPr>
          <p:cNvPr id="20" name="Text Box 24"/>
          <p:cNvSpPr txBox="1">
            <a:spLocks noChangeArrowheads="1"/>
          </p:cNvSpPr>
          <p:nvPr/>
        </p:nvSpPr>
        <p:spPr bwMode="auto">
          <a:xfrm>
            <a:off x="252413" y="5060516"/>
            <a:ext cx="8639175" cy="95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46800" rIns="90000" bIns="46800">
            <a:spAutoFit/>
          </a:bodyPr>
          <a:lstStyle>
            <a:lvl1pPr marL="228600" indent="-228600" eaLnBrk="0" hangingPunct="0">
              <a:tabLst>
                <a:tab pos="269875" algn="l"/>
              </a:tabLst>
              <a:defRPr sz="2400">
                <a:solidFill>
                  <a:schemeClr val="tx1"/>
                </a:solidFill>
                <a:latin typeface="Arial" charset="0"/>
                <a:ea typeface="ＭＳ Ｐゴシック" charset="0"/>
                <a:cs typeface="ＭＳ Ｐゴシック" charset="0"/>
              </a:defRPr>
            </a:lvl1pPr>
            <a:lvl2pPr marL="742950" indent="-285750" eaLnBrk="0" hangingPunct="0">
              <a:tabLst>
                <a:tab pos="269875" algn="l"/>
              </a:tabLst>
              <a:defRPr sz="2400">
                <a:solidFill>
                  <a:schemeClr val="tx1"/>
                </a:solidFill>
                <a:latin typeface="Arial" charset="0"/>
                <a:ea typeface="ＭＳ Ｐゴシック" charset="0"/>
              </a:defRPr>
            </a:lvl2pPr>
            <a:lvl3pPr marL="1143000" indent="-228600" eaLnBrk="0" hangingPunct="0">
              <a:tabLst>
                <a:tab pos="269875" algn="l"/>
              </a:tabLst>
              <a:defRPr sz="2400">
                <a:solidFill>
                  <a:schemeClr val="tx1"/>
                </a:solidFill>
                <a:latin typeface="Arial" charset="0"/>
                <a:ea typeface="ＭＳ Ｐゴシック" charset="0"/>
              </a:defRPr>
            </a:lvl3pPr>
            <a:lvl4pPr marL="1600200" indent="-228600" eaLnBrk="0" hangingPunct="0">
              <a:tabLst>
                <a:tab pos="269875" algn="l"/>
              </a:tabLst>
              <a:defRPr sz="2400">
                <a:solidFill>
                  <a:schemeClr val="tx1"/>
                </a:solidFill>
                <a:latin typeface="Arial" charset="0"/>
                <a:ea typeface="ＭＳ Ｐゴシック" charset="0"/>
              </a:defRPr>
            </a:lvl4pPr>
            <a:lvl5pPr marL="2057400" indent="-228600" eaLnBrk="0" hangingPunct="0">
              <a:tabLst>
                <a:tab pos="269875" algn="l"/>
              </a:tabLst>
              <a:defRPr sz="2400">
                <a:solidFill>
                  <a:schemeClr val="tx1"/>
                </a:solidFill>
                <a:latin typeface="Arial" charset="0"/>
                <a:ea typeface="ＭＳ Ｐゴシック" charset="0"/>
              </a:defRPr>
            </a:lvl5pPr>
            <a:lvl6pPr marL="2514600" indent="-228600" eaLnBrk="0" fontAlgn="base" hangingPunct="0">
              <a:spcBef>
                <a:spcPct val="0"/>
              </a:spcBef>
              <a:spcAft>
                <a:spcPct val="0"/>
              </a:spcAft>
              <a:tabLst>
                <a:tab pos="269875" algn="l"/>
              </a:tabLst>
              <a:defRPr sz="2400">
                <a:solidFill>
                  <a:schemeClr val="tx1"/>
                </a:solidFill>
                <a:latin typeface="Arial" charset="0"/>
                <a:ea typeface="ＭＳ Ｐゴシック" charset="0"/>
              </a:defRPr>
            </a:lvl6pPr>
            <a:lvl7pPr marL="2971800" indent="-228600" eaLnBrk="0" fontAlgn="base" hangingPunct="0">
              <a:spcBef>
                <a:spcPct val="0"/>
              </a:spcBef>
              <a:spcAft>
                <a:spcPct val="0"/>
              </a:spcAft>
              <a:tabLst>
                <a:tab pos="269875" algn="l"/>
              </a:tabLst>
              <a:defRPr sz="2400">
                <a:solidFill>
                  <a:schemeClr val="tx1"/>
                </a:solidFill>
                <a:latin typeface="Arial" charset="0"/>
                <a:ea typeface="ＭＳ Ｐゴシック" charset="0"/>
              </a:defRPr>
            </a:lvl7pPr>
            <a:lvl8pPr marL="3429000" indent="-228600" eaLnBrk="0" fontAlgn="base" hangingPunct="0">
              <a:spcBef>
                <a:spcPct val="0"/>
              </a:spcBef>
              <a:spcAft>
                <a:spcPct val="0"/>
              </a:spcAft>
              <a:tabLst>
                <a:tab pos="269875" algn="l"/>
              </a:tabLst>
              <a:defRPr sz="2400">
                <a:solidFill>
                  <a:schemeClr val="tx1"/>
                </a:solidFill>
                <a:latin typeface="Arial" charset="0"/>
                <a:ea typeface="ＭＳ Ｐゴシック" charset="0"/>
              </a:defRPr>
            </a:lvl8pPr>
            <a:lvl9pPr marL="3886200" indent="-228600" eaLnBrk="0" fontAlgn="base" hangingPunct="0">
              <a:spcBef>
                <a:spcPct val="0"/>
              </a:spcBef>
              <a:spcAft>
                <a:spcPct val="0"/>
              </a:spcAft>
              <a:tabLst>
                <a:tab pos="269875" algn="l"/>
              </a:tabLst>
              <a:defRPr sz="2400">
                <a:solidFill>
                  <a:schemeClr val="tx1"/>
                </a:solidFill>
                <a:latin typeface="Arial" charset="0"/>
                <a:ea typeface="ＭＳ Ｐゴシック" charset="0"/>
              </a:defRPr>
            </a:lvl9pPr>
          </a:lstStyle>
          <a:p>
            <a:pPr marL="0" indent="0" eaLnBrk="1" hangingPunct="1">
              <a:buClr>
                <a:srgbClr val="00214A"/>
              </a:buClr>
            </a:pPr>
            <a:r>
              <a:rPr lang="en-US" sz="800" dirty="0" smtClean="0">
                <a:latin typeface="+mn-lt"/>
              </a:rPr>
              <a:t>1) This figure considers manufacturing, transportation, function cars, flights, materials, chemicals, waste/waste water, direct emissions, energy consumption, waste, etc. and is based on internally collected data and externally available conversion factors. All data relates to the 2014 fiscal year.</a:t>
            </a:r>
          </a:p>
          <a:p>
            <a:pPr marL="0" indent="0" eaLnBrk="1" hangingPunct="1">
              <a:buClr>
                <a:srgbClr val="00214A"/>
              </a:buClr>
            </a:pPr>
            <a:r>
              <a:rPr lang="en-US" sz="800" dirty="0" smtClean="0">
                <a:latin typeface="+mn-lt"/>
              </a:rPr>
              <a:t>2) This figure is based on internally established criteria, which are explained in the explanatory notes. The figure relates to the calendar year 2013 and considers the following fields of application: automotive; lamp ballast control; PC power supply; renewable energy (wind, photovoltaic); and rives. CO₂ savings are calculated on the basis of potential savings of technologies in which semiconductors are used. The CO₂ savings are allocated on the basis of Infineon's market share, semiconductor content and lifetime of the technologies concerned, based on internal and external experts' estimations. Despite CO₂ footprint calculations are subject to imprecision due to the complex issues involved, the results are nevertheless clear.</a:t>
            </a:r>
            <a:endParaRPr lang="en-US" sz="800" dirty="0">
              <a:latin typeface="+mn-lt"/>
            </a:endParaRPr>
          </a:p>
        </p:txBody>
      </p:sp>
      <p:grpSp>
        <p:nvGrpSpPr>
          <p:cNvPr id="21" name="Gruppierung 21"/>
          <p:cNvGrpSpPr/>
          <p:nvPr/>
        </p:nvGrpSpPr>
        <p:grpSpPr>
          <a:xfrm>
            <a:off x="3261090" y="1628750"/>
            <a:ext cx="2621820" cy="1964205"/>
            <a:chOff x="3429365" y="1625575"/>
            <a:chExt cx="2621820" cy="1964205"/>
          </a:xfrm>
        </p:grpSpPr>
        <p:pic>
          <p:nvPicPr>
            <p:cNvPr id="22" name="Bild 3" descr="icons-0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9365" y="2773549"/>
              <a:ext cx="770896" cy="770896"/>
            </a:xfrm>
            <a:prstGeom prst="rect">
              <a:avLst/>
            </a:prstGeom>
          </p:spPr>
        </p:pic>
        <p:pic>
          <p:nvPicPr>
            <p:cNvPr id="23" name="Bild 7" descr="icons-0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86980" y="1625575"/>
              <a:ext cx="1964205" cy="1964205"/>
            </a:xfrm>
            <a:prstGeom prst="rect">
              <a:avLst/>
            </a:prstGeom>
          </p:spPr>
        </p:pic>
      </p:grpSp>
    </p:spTree>
    <p:extLst>
      <p:ext uri="{BB962C8B-B14F-4D97-AF65-F5344CB8AC3E}">
        <p14:creationId xmlns:p14="http://schemas.microsoft.com/office/powerpoint/2010/main" val="158254141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vanced Driver Assistance Systems (ADAS)</a:t>
            </a:r>
          </a:p>
        </p:txBody>
      </p:sp>
      <p:sp>
        <p:nvSpPr>
          <p:cNvPr id="3" name="Content Placeholder 2"/>
          <p:cNvSpPr>
            <a:spLocks noGrp="1"/>
          </p:cNvSpPr>
          <p:nvPr>
            <p:ph sz="quarter" idx="13"/>
          </p:nvPr>
        </p:nvSpPr>
        <p:spPr/>
        <p:txBody>
          <a:bodyPr>
            <a:normAutofit/>
          </a:bodyPr>
          <a:lstStyle/>
          <a:p>
            <a:r>
              <a:rPr lang="en-GB" dirty="0" smtClean="0"/>
              <a:t>ADAS applications include</a:t>
            </a:r>
          </a:p>
          <a:p>
            <a:pPr lvl="1"/>
            <a:r>
              <a:rPr lang="en-GB" dirty="0" smtClean="0"/>
              <a:t>Adaptive cruise control</a:t>
            </a:r>
          </a:p>
          <a:p>
            <a:pPr lvl="1"/>
            <a:r>
              <a:rPr lang="en-GB" dirty="0" smtClean="0"/>
              <a:t>Automatic parking</a:t>
            </a:r>
          </a:p>
          <a:p>
            <a:pPr lvl="1"/>
            <a:r>
              <a:rPr lang="en-GB" dirty="0" smtClean="0"/>
              <a:t>Collision Avoidance Systems</a:t>
            </a:r>
          </a:p>
          <a:p>
            <a:pPr lvl="1"/>
            <a:r>
              <a:rPr lang="en-GB" dirty="0" smtClean="0"/>
              <a:t>Driver Drowsiness Detection</a:t>
            </a:r>
          </a:p>
          <a:p>
            <a:pPr lvl="1"/>
            <a:r>
              <a:rPr lang="en-GB" dirty="0" smtClean="0"/>
              <a:t>…</a:t>
            </a:r>
          </a:p>
          <a:p>
            <a:r>
              <a:rPr lang="en-GB" dirty="0" smtClean="0"/>
              <a:t>Typically ADAS applications require a car to have increased awareness of its surroundings</a:t>
            </a:r>
          </a:p>
          <a:p>
            <a:pPr lvl="1"/>
            <a:r>
              <a:rPr lang="en-GB" dirty="0" smtClean="0"/>
              <a:t>Uses RADAR, LIDAR, camera,</a:t>
            </a:r>
          </a:p>
          <a:p>
            <a:pPr lvl="1"/>
            <a:r>
              <a:rPr lang="en-GB" dirty="0" smtClean="0"/>
              <a:t>In future will use network connectivity</a:t>
            </a:r>
          </a:p>
          <a:p>
            <a:r>
              <a:rPr lang="en-GB" dirty="0" smtClean="0"/>
              <a:t>Requires very fast processing of a lot of data at a low cost</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14</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Tree>
    <p:extLst>
      <p:ext uri="{BB962C8B-B14F-4D97-AF65-F5344CB8AC3E}">
        <p14:creationId xmlns:p14="http://schemas.microsoft.com/office/powerpoint/2010/main" val="3247536790"/>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owards Autonomous Vehicles</a:t>
            </a:r>
            <a:endParaRPr lang="en-GB" dirty="0"/>
          </a:p>
        </p:txBody>
      </p:sp>
      <p:sp>
        <p:nvSpPr>
          <p:cNvPr id="3" name="Content Placeholder 2"/>
          <p:cNvSpPr>
            <a:spLocks noGrp="1"/>
          </p:cNvSpPr>
          <p:nvPr>
            <p:ph sz="quarter" idx="13"/>
          </p:nvPr>
        </p:nvSpPr>
        <p:spPr>
          <a:xfrm>
            <a:off x="250824" y="1268413"/>
            <a:ext cx="8641655" cy="1152475"/>
          </a:xfrm>
        </p:spPr>
        <p:txBody>
          <a:bodyPr/>
          <a:lstStyle/>
          <a:p>
            <a:r>
              <a:rPr lang="en-GB" dirty="0" smtClean="0"/>
              <a:t>ADAS technology could be used for AVs</a:t>
            </a:r>
          </a:p>
          <a:p>
            <a:r>
              <a:rPr lang="en-GB" dirty="0" smtClean="0"/>
              <a:t>Main barriers are legal, economic and cultural</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15</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7" name="Rectangle 6"/>
          <p:cNvSpPr/>
          <p:nvPr/>
        </p:nvSpPr>
        <p:spPr>
          <a:xfrm>
            <a:off x="107504" y="5176433"/>
            <a:ext cx="8640959" cy="461665"/>
          </a:xfrm>
          <a:prstGeom prst="rect">
            <a:avLst/>
          </a:prstGeom>
        </p:spPr>
        <p:txBody>
          <a:bodyPr wrap="square">
            <a:spAutoFit/>
          </a:bodyPr>
          <a:lstStyle/>
          <a:p>
            <a:pPr marL="288000" lvl="1" indent="0">
              <a:buNone/>
            </a:pPr>
            <a:r>
              <a:rPr lang="en-GB" dirty="0">
                <a:hlinkClick r:id="rId3"/>
              </a:rPr>
              <a:t>https://www.youtube.com/watch?v=0tmCLZOM8kw</a:t>
            </a:r>
            <a:endParaRPr lang="en-GB"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544" y="2414833"/>
            <a:ext cx="2143125" cy="214312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7864" y="2414834"/>
            <a:ext cx="3763887" cy="2117186"/>
          </a:xfrm>
          <a:prstGeom prst="rect">
            <a:avLst/>
          </a:prstGeom>
        </p:spPr>
      </p:pic>
    </p:spTree>
    <p:extLst>
      <p:ext uri="{BB962C8B-B14F-4D97-AF65-F5344CB8AC3E}">
        <p14:creationId xmlns:p14="http://schemas.microsoft.com/office/powerpoint/2010/main" val="2887062413"/>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Infineon, Bristol</a:t>
            </a:r>
            <a:endParaRPr lang="en-GB" dirty="0"/>
          </a:p>
        </p:txBody>
      </p:sp>
    </p:spTree>
    <p:extLst>
      <p:ext uri="{BB962C8B-B14F-4D97-AF65-F5344CB8AC3E}">
        <p14:creationId xmlns:p14="http://schemas.microsoft.com/office/powerpoint/2010/main" val="4137545756"/>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fineon, Bristol</a:t>
            </a:r>
            <a:endParaRPr lang="en-GB" dirty="0"/>
          </a:p>
        </p:txBody>
      </p:sp>
      <p:sp>
        <p:nvSpPr>
          <p:cNvPr id="3" name="Content Placeholder 2"/>
          <p:cNvSpPr>
            <a:spLocks noGrp="1"/>
          </p:cNvSpPr>
          <p:nvPr>
            <p:ph sz="quarter" idx="13"/>
          </p:nvPr>
        </p:nvSpPr>
        <p:spPr/>
        <p:txBody>
          <a:bodyPr/>
          <a:lstStyle/>
          <a:p>
            <a:r>
              <a:rPr lang="en-GB" dirty="0" smtClean="0"/>
              <a:t>Part of the Automotive </a:t>
            </a:r>
            <a:r>
              <a:rPr lang="en-GB" i="1" dirty="0" smtClean="0"/>
              <a:t>Microcontroller</a:t>
            </a:r>
            <a:r>
              <a:rPr lang="en-GB" dirty="0" smtClean="0"/>
              <a:t> Group of Infineon</a:t>
            </a:r>
          </a:p>
          <a:p>
            <a:r>
              <a:rPr lang="en-GB" dirty="0" smtClean="0"/>
              <a:t>Working on developing microcontrollers used in application areas such as</a:t>
            </a:r>
          </a:p>
          <a:p>
            <a:pPr lvl="1"/>
            <a:r>
              <a:rPr lang="en-GB" dirty="0" smtClean="0"/>
              <a:t>Engine Management - increased fuel efficiency, reduced emissions</a:t>
            </a:r>
          </a:p>
          <a:p>
            <a:pPr lvl="1"/>
            <a:r>
              <a:rPr lang="en-GB" dirty="0" smtClean="0"/>
              <a:t>ADAS </a:t>
            </a:r>
          </a:p>
          <a:p>
            <a:pPr lvl="1"/>
            <a:r>
              <a:rPr lang="en-GB" dirty="0" smtClean="0"/>
              <a:t>Safety (Airbags, drive-by-wire, ABS, …)</a:t>
            </a:r>
          </a:p>
          <a:p>
            <a:r>
              <a:rPr lang="en-GB" dirty="0" smtClean="0"/>
              <a:t>Around 40 permanent engineers working in concept, design and verification</a:t>
            </a:r>
          </a:p>
          <a:p>
            <a:pPr lvl="1"/>
            <a:r>
              <a:rPr lang="en-GB" dirty="0" smtClean="0"/>
              <a:t>18 permanent verification engineers</a:t>
            </a:r>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17</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Tree>
    <p:extLst>
      <p:ext uri="{BB962C8B-B14F-4D97-AF65-F5344CB8AC3E}">
        <p14:creationId xmlns:p14="http://schemas.microsoft.com/office/powerpoint/2010/main" val="2909564940"/>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at is an Automotive Microcontroller?</a:t>
            </a:r>
            <a:endParaRPr lang="en-GB" dirty="0"/>
          </a:p>
        </p:txBody>
      </p:sp>
      <p:sp>
        <p:nvSpPr>
          <p:cNvPr id="3" name="Slide Number Placeholder 2"/>
          <p:cNvSpPr>
            <a:spLocks noGrp="1"/>
          </p:cNvSpPr>
          <p:nvPr>
            <p:ph type="sldNum" sz="quarter" idx="4"/>
          </p:nvPr>
        </p:nvSpPr>
        <p:spPr/>
        <p:txBody>
          <a:bodyPr/>
          <a:lstStyle/>
          <a:p>
            <a:r>
              <a:rPr lang="en-GB" smtClean="0"/>
              <a:t> </a:t>
            </a:r>
            <a:fld id="{DC8B3668-E1AB-4560-B66B-CD4643A23BF9}" type="slidenum">
              <a:rPr lang="en-GB" smtClean="0"/>
              <a:pPr/>
              <a:t>18</a:t>
            </a:fld>
            <a:endParaRPr lang="en-GB" dirty="0"/>
          </a:p>
        </p:txBody>
      </p:sp>
      <p:sp>
        <p:nvSpPr>
          <p:cNvPr id="4" name="Date Placeholder 3"/>
          <p:cNvSpPr>
            <a:spLocks noGrp="1"/>
          </p:cNvSpPr>
          <p:nvPr>
            <p:ph type="dt" sz="half" idx="2"/>
          </p:nvPr>
        </p:nvSpPr>
        <p:spPr/>
        <p:txBody>
          <a:bodyPr/>
          <a:lstStyle/>
          <a:p>
            <a:r>
              <a:rPr lang="en-GB" smtClean="0"/>
              <a:t>set date</a:t>
            </a:r>
            <a:endParaRPr lang="en-GB" dirty="0"/>
          </a:p>
        </p:txBody>
      </p:sp>
      <p:sp>
        <p:nvSpPr>
          <p:cNvPr id="5" name="Footer Placeholder 4"/>
          <p:cNvSpPr>
            <a:spLocks noGrp="1"/>
          </p:cNvSpPr>
          <p:nvPr>
            <p:ph type="ftr" sz="quarter" idx="3"/>
          </p:nvPr>
        </p:nvSpPr>
        <p:spPr/>
        <p:txBody>
          <a:bodyPr/>
          <a:lstStyle/>
          <a:p>
            <a:r>
              <a:rPr lang="en-GB" smtClean="0"/>
              <a:t>Copyright © Infineon Technologies AG 2015. All rights reserved.</a:t>
            </a:r>
            <a:endParaRPr lang="en-GB" dirty="0"/>
          </a:p>
        </p:txBody>
      </p:sp>
      <p:grpSp>
        <p:nvGrpSpPr>
          <p:cNvPr id="51" name="Group 50"/>
          <p:cNvGrpSpPr/>
          <p:nvPr/>
        </p:nvGrpSpPr>
        <p:grpSpPr>
          <a:xfrm>
            <a:off x="786302" y="2108999"/>
            <a:ext cx="6995324" cy="3096344"/>
            <a:chOff x="538860" y="1700808"/>
            <a:chExt cx="6995324" cy="3096344"/>
          </a:xfrm>
        </p:grpSpPr>
        <p:sp>
          <p:nvSpPr>
            <p:cNvPr id="6" name="Rectangle 5"/>
            <p:cNvSpPr/>
            <p:nvPr/>
          </p:nvSpPr>
          <p:spPr bwMode="auto">
            <a:xfrm>
              <a:off x="2843808" y="2420888"/>
              <a:ext cx="2426568" cy="1130424"/>
            </a:xfrm>
            <a:prstGeom prst="rect">
              <a:avLst/>
            </a:prstGeom>
            <a:solidFill>
              <a:schemeClr val="accent4"/>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Microcontroller</a:t>
              </a:r>
            </a:p>
          </p:txBody>
        </p:sp>
        <p:sp>
          <p:nvSpPr>
            <p:cNvPr id="7" name="Rectangle 6"/>
            <p:cNvSpPr/>
            <p:nvPr/>
          </p:nvSpPr>
          <p:spPr bwMode="auto">
            <a:xfrm>
              <a:off x="6588224" y="1700808"/>
              <a:ext cx="914400" cy="720080"/>
            </a:xfrm>
            <a:prstGeom prst="rect">
              <a:avLst/>
            </a:prstGeom>
            <a:solidFill>
              <a:schemeClr val="accent4">
                <a:lumMod val="75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Sensor</a:t>
              </a:r>
            </a:p>
          </p:txBody>
        </p:sp>
        <p:sp>
          <p:nvSpPr>
            <p:cNvPr id="8" name="Rectangle 7"/>
            <p:cNvSpPr/>
            <p:nvPr/>
          </p:nvSpPr>
          <p:spPr bwMode="auto">
            <a:xfrm>
              <a:off x="6588224" y="2780928"/>
              <a:ext cx="914400" cy="720080"/>
            </a:xfrm>
            <a:prstGeom prst="rect">
              <a:avLst/>
            </a:prstGeom>
            <a:solidFill>
              <a:schemeClr val="accent4">
                <a:lumMod val="75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Sensor</a:t>
              </a:r>
            </a:p>
          </p:txBody>
        </p:sp>
        <p:sp>
          <p:nvSpPr>
            <p:cNvPr id="9" name="Rectangle 8"/>
            <p:cNvSpPr/>
            <p:nvPr/>
          </p:nvSpPr>
          <p:spPr bwMode="auto">
            <a:xfrm>
              <a:off x="6619784" y="4077072"/>
              <a:ext cx="914400" cy="720080"/>
            </a:xfrm>
            <a:prstGeom prst="rect">
              <a:avLst/>
            </a:prstGeom>
            <a:solidFill>
              <a:schemeClr val="accent4">
                <a:lumMod val="75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Sensor</a:t>
              </a:r>
            </a:p>
          </p:txBody>
        </p:sp>
        <p:sp>
          <p:nvSpPr>
            <p:cNvPr id="10" name="Rectangle 9"/>
            <p:cNvSpPr/>
            <p:nvPr/>
          </p:nvSpPr>
          <p:spPr bwMode="auto">
            <a:xfrm>
              <a:off x="538860" y="2095647"/>
              <a:ext cx="1275132" cy="720080"/>
            </a:xfrm>
            <a:prstGeom prst="rect">
              <a:avLst/>
            </a:prstGeom>
            <a:solidFill>
              <a:schemeClr val="accent4">
                <a:lumMod val="60000"/>
                <a:lumOff val="40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Actuator</a:t>
              </a:r>
            </a:p>
          </p:txBody>
        </p:sp>
        <p:sp>
          <p:nvSpPr>
            <p:cNvPr id="11" name="Rectangle 10"/>
            <p:cNvSpPr/>
            <p:nvPr/>
          </p:nvSpPr>
          <p:spPr bwMode="auto">
            <a:xfrm>
              <a:off x="564159" y="3356992"/>
              <a:ext cx="1275132" cy="720080"/>
            </a:xfrm>
            <a:prstGeom prst="rect">
              <a:avLst/>
            </a:prstGeom>
            <a:solidFill>
              <a:schemeClr val="accent4">
                <a:lumMod val="60000"/>
                <a:lumOff val="40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Actuator</a:t>
              </a:r>
            </a:p>
          </p:txBody>
        </p:sp>
        <p:cxnSp>
          <p:nvCxnSpPr>
            <p:cNvPr id="16" name="Elbow Connector 15"/>
            <p:cNvCxnSpPr/>
            <p:nvPr/>
          </p:nvCxnSpPr>
          <p:spPr>
            <a:xfrm rot="10800000" flipV="1">
              <a:off x="5270376" y="2037686"/>
              <a:ext cx="1317848" cy="576064"/>
            </a:xfrm>
            <a:prstGeom prst="bentConnector3">
              <a:avLst>
                <a:gd name="adj1" fmla="val 50000"/>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5270376" y="3140968"/>
              <a:ext cx="1317848"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3" name="Elbow Connector 32"/>
            <p:cNvCxnSpPr/>
            <p:nvPr/>
          </p:nvCxnSpPr>
          <p:spPr>
            <a:xfrm rot="10800000">
              <a:off x="5270376" y="3501008"/>
              <a:ext cx="1349408" cy="1080120"/>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Elbow Connector 36"/>
            <p:cNvCxnSpPr>
              <a:endCxn id="10" idx="3"/>
            </p:cNvCxnSpPr>
            <p:nvPr/>
          </p:nvCxnSpPr>
          <p:spPr>
            <a:xfrm rot="10800000">
              <a:off x="1813992" y="2455687"/>
              <a:ext cx="1029816" cy="360040"/>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Elbow Connector 40"/>
            <p:cNvCxnSpPr>
              <a:endCxn id="11" idx="3"/>
            </p:cNvCxnSpPr>
            <p:nvPr/>
          </p:nvCxnSpPr>
          <p:spPr>
            <a:xfrm rot="10800000" flipV="1">
              <a:off x="1839292" y="3140968"/>
              <a:ext cx="1004517" cy="576064"/>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bwMode="auto">
            <a:xfrm>
              <a:off x="5737483" y="1772412"/>
              <a:ext cx="869532" cy="215444"/>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Bus*</a:t>
              </a:r>
            </a:p>
          </p:txBody>
        </p:sp>
        <p:sp>
          <p:nvSpPr>
            <p:cNvPr id="46" name="TextBox 45"/>
            <p:cNvSpPr txBox="1"/>
            <p:nvPr/>
          </p:nvSpPr>
          <p:spPr bwMode="auto">
            <a:xfrm>
              <a:off x="5510313" y="2878378"/>
              <a:ext cx="869532" cy="215444"/>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Bus</a:t>
              </a:r>
            </a:p>
          </p:txBody>
        </p:sp>
        <p:sp>
          <p:nvSpPr>
            <p:cNvPr id="47" name="TextBox 46"/>
            <p:cNvSpPr txBox="1"/>
            <p:nvPr/>
          </p:nvSpPr>
          <p:spPr bwMode="auto">
            <a:xfrm>
              <a:off x="5981304" y="3640064"/>
              <a:ext cx="869532" cy="215444"/>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Bus</a:t>
              </a:r>
            </a:p>
          </p:txBody>
        </p:sp>
        <p:sp>
          <p:nvSpPr>
            <p:cNvPr id="48" name="TextBox 47"/>
            <p:cNvSpPr txBox="1"/>
            <p:nvPr/>
          </p:nvSpPr>
          <p:spPr bwMode="auto">
            <a:xfrm>
              <a:off x="1906784" y="2154408"/>
              <a:ext cx="869532" cy="215444"/>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Bus</a:t>
              </a:r>
            </a:p>
          </p:txBody>
        </p:sp>
        <p:sp>
          <p:nvSpPr>
            <p:cNvPr id="50" name="TextBox 49"/>
            <p:cNvSpPr txBox="1"/>
            <p:nvPr/>
          </p:nvSpPr>
          <p:spPr bwMode="auto">
            <a:xfrm>
              <a:off x="1974276" y="3825623"/>
              <a:ext cx="869532" cy="215444"/>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Bus</a:t>
              </a:r>
            </a:p>
          </p:txBody>
        </p:sp>
      </p:grpSp>
      <p:sp>
        <p:nvSpPr>
          <p:cNvPr id="12" name="TextBox 11"/>
          <p:cNvSpPr txBox="1"/>
          <p:nvPr/>
        </p:nvSpPr>
        <p:spPr bwMode="auto">
          <a:xfrm>
            <a:off x="538860" y="5949280"/>
            <a:ext cx="3039294" cy="21544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E.g. Ethernet, CAN, </a:t>
            </a:r>
            <a:r>
              <a:rPr lang="en-GB" sz="1400" kern="0" dirty="0" err="1" smtClean="0">
                <a:latin typeface="Verdana" pitchFamily="34" charset="0"/>
                <a:ea typeface="Verdana" pitchFamily="34" charset="0"/>
                <a:cs typeface="Verdana" pitchFamily="34" charset="0"/>
              </a:rPr>
              <a:t>Flexray</a:t>
            </a:r>
            <a:r>
              <a:rPr lang="en-GB" sz="1400" kern="0" dirty="0" smtClean="0">
                <a:latin typeface="Verdana" pitchFamily="34" charset="0"/>
                <a:ea typeface="Verdana" pitchFamily="34" charset="0"/>
                <a:cs typeface="Verdana" pitchFamily="34" charset="0"/>
              </a:rPr>
              <a:t>, SPI</a:t>
            </a:r>
          </a:p>
        </p:txBody>
      </p:sp>
      <p:sp>
        <p:nvSpPr>
          <p:cNvPr id="25" name="Rectangle 24"/>
          <p:cNvSpPr/>
          <p:nvPr/>
        </p:nvSpPr>
        <p:spPr>
          <a:xfrm>
            <a:off x="251520" y="1052736"/>
            <a:ext cx="8353036" cy="461665"/>
          </a:xfrm>
          <a:prstGeom prst="rect">
            <a:avLst/>
          </a:prstGeom>
          <a:solidFill>
            <a:schemeClr val="accent3"/>
          </a:solidFill>
        </p:spPr>
        <p:txBody>
          <a:bodyPr wrap="square">
            <a:spAutoFit/>
          </a:bodyPr>
          <a:lstStyle/>
          <a:p>
            <a:pPr algn="ctr"/>
            <a:r>
              <a:rPr lang="en-GB" dirty="0" smtClean="0"/>
              <a:t>Typical Automotive System</a:t>
            </a:r>
            <a:endParaRPr lang="en-GB" dirty="0"/>
          </a:p>
        </p:txBody>
      </p:sp>
    </p:spTree>
    <p:extLst>
      <p:ext uri="{BB962C8B-B14F-4D97-AF65-F5344CB8AC3E}">
        <p14:creationId xmlns:p14="http://schemas.microsoft.com/office/powerpoint/2010/main" val="3564099185"/>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ample Automotive System</a:t>
            </a:r>
            <a:endParaRPr lang="en-GB" dirty="0"/>
          </a:p>
        </p:txBody>
      </p:sp>
      <p:sp>
        <p:nvSpPr>
          <p:cNvPr id="3" name="Slide Number Placeholder 2"/>
          <p:cNvSpPr>
            <a:spLocks noGrp="1"/>
          </p:cNvSpPr>
          <p:nvPr>
            <p:ph type="sldNum" sz="quarter" idx="4"/>
          </p:nvPr>
        </p:nvSpPr>
        <p:spPr/>
        <p:txBody>
          <a:bodyPr/>
          <a:lstStyle/>
          <a:p>
            <a:r>
              <a:rPr lang="en-GB" smtClean="0"/>
              <a:t> </a:t>
            </a:r>
            <a:fld id="{DC8B3668-E1AB-4560-B66B-CD4643A23BF9}" type="slidenum">
              <a:rPr lang="en-GB" smtClean="0"/>
              <a:pPr/>
              <a:t>19</a:t>
            </a:fld>
            <a:endParaRPr lang="en-GB" dirty="0"/>
          </a:p>
        </p:txBody>
      </p:sp>
      <p:sp>
        <p:nvSpPr>
          <p:cNvPr id="4" name="Date Placeholder 3"/>
          <p:cNvSpPr>
            <a:spLocks noGrp="1"/>
          </p:cNvSpPr>
          <p:nvPr>
            <p:ph type="dt" sz="half" idx="2"/>
          </p:nvPr>
        </p:nvSpPr>
        <p:spPr/>
        <p:txBody>
          <a:bodyPr/>
          <a:lstStyle/>
          <a:p>
            <a:r>
              <a:rPr lang="en-GB" smtClean="0"/>
              <a:t>set date</a:t>
            </a:r>
            <a:endParaRPr lang="en-GB" dirty="0"/>
          </a:p>
        </p:txBody>
      </p:sp>
      <p:sp>
        <p:nvSpPr>
          <p:cNvPr id="5" name="Footer Placeholder 4"/>
          <p:cNvSpPr>
            <a:spLocks noGrp="1"/>
          </p:cNvSpPr>
          <p:nvPr>
            <p:ph type="ftr" sz="quarter" idx="3"/>
          </p:nvPr>
        </p:nvSpPr>
        <p:spPr/>
        <p:txBody>
          <a:bodyPr/>
          <a:lstStyle/>
          <a:p>
            <a:r>
              <a:rPr lang="en-GB" smtClean="0"/>
              <a:t>Copyright © Infineon Technologies AG 2015. All rights reserved.</a:t>
            </a:r>
            <a:endParaRPr lang="en-GB" dirty="0"/>
          </a:p>
        </p:txBody>
      </p:sp>
      <p:grpSp>
        <p:nvGrpSpPr>
          <p:cNvPr id="12" name="Group 11"/>
          <p:cNvGrpSpPr/>
          <p:nvPr/>
        </p:nvGrpSpPr>
        <p:grpSpPr>
          <a:xfrm>
            <a:off x="542899" y="1831971"/>
            <a:ext cx="7777660" cy="4209097"/>
            <a:chOff x="518142" y="1340768"/>
            <a:chExt cx="7777660" cy="4209097"/>
          </a:xfrm>
        </p:grpSpPr>
        <p:grpSp>
          <p:nvGrpSpPr>
            <p:cNvPr id="6" name="Group 5"/>
            <p:cNvGrpSpPr/>
            <p:nvPr/>
          </p:nvGrpSpPr>
          <p:grpSpPr>
            <a:xfrm>
              <a:off x="518142" y="2171119"/>
              <a:ext cx="7777660" cy="3061545"/>
              <a:chOff x="538860" y="1735607"/>
              <a:chExt cx="7777660" cy="3061545"/>
            </a:xfrm>
          </p:grpSpPr>
          <p:sp>
            <p:nvSpPr>
              <p:cNvPr id="7" name="Rectangle 6"/>
              <p:cNvSpPr/>
              <p:nvPr/>
            </p:nvSpPr>
            <p:spPr bwMode="auto">
              <a:xfrm>
                <a:off x="2843808" y="2420888"/>
                <a:ext cx="2426568" cy="1130424"/>
              </a:xfrm>
              <a:prstGeom prst="rect">
                <a:avLst/>
              </a:prstGeom>
              <a:solidFill>
                <a:schemeClr val="accent4"/>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Microcontroller</a:t>
                </a:r>
              </a:p>
            </p:txBody>
          </p:sp>
          <p:sp>
            <p:nvSpPr>
              <p:cNvPr id="8" name="Rectangle 7"/>
              <p:cNvSpPr/>
              <p:nvPr/>
            </p:nvSpPr>
            <p:spPr bwMode="auto">
              <a:xfrm>
                <a:off x="6560880" y="1735607"/>
                <a:ext cx="1755640" cy="720080"/>
              </a:xfrm>
              <a:prstGeom prst="rect">
                <a:avLst/>
              </a:prstGeom>
              <a:solidFill>
                <a:schemeClr val="accent4">
                  <a:lumMod val="75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Gyroscopic Sensor</a:t>
                </a:r>
              </a:p>
            </p:txBody>
          </p:sp>
          <p:sp>
            <p:nvSpPr>
              <p:cNvPr id="9" name="Rectangle 8"/>
              <p:cNvSpPr/>
              <p:nvPr/>
            </p:nvSpPr>
            <p:spPr bwMode="auto">
              <a:xfrm>
                <a:off x="6588224" y="2780928"/>
                <a:ext cx="1296144" cy="720080"/>
              </a:xfrm>
              <a:prstGeom prst="rect">
                <a:avLst/>
              </a:prstGeom>
              <a:solidFill>
                <a:schemeClr val="accent4">
                  <a:lumMod val="75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Steering Wheel  sensor</a:t>
                </a:r>
              </a:p>
            </p:txBody>
          </p:sp>
          <p:sp>
            <p:nvSpPr>
              <p:cNvPr id="10" name="Rectangle 9"/>
              <p:cNvSpPr/>
              <p:nvPr/>
            </p:nvSpPr>
            <p:spPr bwMode="auto">
              <a:xfrm>
                <a:off x="6619784" y="4077072"/>
                <a:ext cx="1408600" cy="720080"/>
              </a:xfrm>
              <a:prstGeom prst="rect">
                <a:avLst/>
              </a:prstGeom>
              <a:solidFill>
                <a:schemeClr val="accent4">
                  <a:lumMod val="75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Wheel Speed Sensors</a:t>
                </a:r>
              </a:p>
            </p:txBody>
          </p:sp>
          <p:sp>
            <p:nvSpPr>
              <p:cNvPr id="11" name="Rectangle 10"/>
              <p:cNvSpPr/>
              <p:nvPr/>
            </p:nvSpPr>
            <p:spPr bwMode="auto">
              <a:xfrm>
                <a:off x="538860" y="2095647"/>
                <a:ext cx="1275132" cy="720080"/>
              </a:xfrm>
              <a:prstGeom prst="rect">
                <a:avLst/>
              </a:prstGeom>
              <a:solidFill>
                <a:schemeClr val="accent4">
                  <a:lumMod val="60000"/>
                  <a:lumOff val="40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Brake valve</a:t>
                </a:r>
              </a:p>
            </p:txBody>
          </p:sp>
          <p:cxnSp>
            <p:nvCxnSpPr>
              <p:cNvPr id="13" name="Elbow Connector 12"/>
              <p:cNvCxnSpPr/>
              <p:nvPr/>
            </p:nvCxnSpPr>
            <p:spPr>
              <a:xfrm rot="10800000" flipV="1">
                <a:off x="5270376" y="2037686"/>
                <a:ext cx="1317848" cy="576064"/>
              </a:xfrm>
              <a:prstGeom prst="bentConnector3">
                <a:avLst>
                  <a:gd name="adj1" fmla="val 50000"/>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5270376" y="3140968"/>
                <a:ext cx="1317848"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Elbow Connector 14"/>
              <p:cNvCxnSpPr/>
              <p:nvPr/>
            </p:nvCxnSpPr>
            <p:spPr>
              <a:xfrm rot="10800000">
                <a:off x="5270376" y="3501008"/>
                <a:ext cx="1349408" cy="1080120"/>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15"/>
              <p:cNvCxnSpPr>
                <a:endCxn id="11" idx="3"/>
              </p:cNvCxnSpPr>
              <p:nvPr/>
            </p:nvCxnSpPr>
            <p:spPr>
              <a:xfrm rot="10800000">
                <a:off x="1813992" y="2455687"/>
                <a:ext cx="1029816" cy="360040"/>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Elbow Connector 16"/>
              <p:cNvCxnSpPr/>
              <p:nvPr/>
            </p:nvCxnSpPr>
            <p:spPr>
              <a:xfrm rot="10800000" flipV="1">
                <a:off x="1839292" y="3140968"/>
                <a:ext cx="1004517" cy="576064"/>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3" name="Rectangle 22"/>
            <p:cNvSpPr/>
            <p:nvPr/>
          </p:nvSpPr>
          <p:spPr bwMode="auto">
            <a:xfrm>
              <a:off x="560564" y="3548224"/>
              <a:ext cx="1275132" cy="720080"/>
            </a:xfrm>
            <a:prstGeom prst="rect">
              <a:avLst/>
            </a:prstGeom>
            <a:solidFill>
              <a:schemeClr val="accent4">
                <a:lumMod val="60000"/>
                <a:lumOff val="40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Brake valve</a:t>
              </a:r>
            </a:p>
          </p:txBody>
        </p:sp>
        <p:sp>
          <p:nvSpPr>
            <p:cNvPr id="24" name="Rectangle 23"/>
            <p:cNvSpPr/>
            <p:nvPr/>
          </p:nvSpPr>
          <p:spPr bwMode="auto">
            <a:xfrm>
              <a:off x="3646398" y="4829785"/>
              <a:ext cx="1275132" cy="720080"/>
            </a:xfrm>
            <a:prstGeom prst="rect">
              <a:avLst/>
            </a:prstGeom>
            <a:solidFill>
              <a:schemeClr val="accent4">
                <a:lumMod val="60000"/>
                <a:lumOff val="40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Brake valve</a:t>
              </a:r>
            </a:p>
          </p:txBody>
        </p:sp>
        <p:sp>
          <p:nvSpPr>
            <p:cNvPr id="25" name="Rectangle 24"/>
            <p:cNvSpPr/>
            <p:nvPr/>
          </p:nvSpPr>
          <p:spPr bwMode="auto">
            <a:xfrm>
              <a:off x="3563888" y="1340768"/>
              <a:ext cx="1275132" cy="720080"/>
            </a:xfrm>
            <a:prstGeom prst="rect">
              <a:avLst/>
            </a:prstGeom>
            <a:solidFill>
              <a:schemeClr val="accent4">
                <a:lumMod val="60000"/>
                <a:lumOff val="40000"/>
              </a:schemeClr>
            </a:solidFill>
            <a:ln w="9525">
              <a:noFill/>
              <a:miter lim="800000"/>
              <a:headEnd/>
              <a:tailEnd/>
            </a:ln>
          </p:spPr>
          <p:txBody>
            <a:bodyPr wrap="square" lIns="72000" tIns="72000" rIns="72000" bIns="72000" rtlCol="0" anchor="ctr"/>
            <a:lstStyle/>
            <a:p>
              <a:pPr algn="ctr" eaLnBrk="0" hangingPunct="0"/>
              <a:r>
                <a:rPr lang="en-GB" sz="1600" dirty="0" smtClean="0">
                  <a:latin typeface="+mn-lt"/>
                  <a:ea typeface="Verdana" pitchFamily="34" charset="0"/>
                  <a:cs typeface="Verdana" pitchFamily="34" charset="0"/>
                </a:rPr>
                <a:t>Brake valve</a:t>
              </a:r>
            </a:p>
          </p:txBody>
        </p:sp>
        <p:cxnSp>
          <p:nvCxnSpPr>
            <p:cNvPr id="27" name="Straight Arrow Connector 26"/>
            <p:cNvCxnSpPr>
              <a:endCxn id="25" idx="2"/>
            </p:cNvCxnSpPr>
            <p:nvPr/>
          </p:nvCxnSpPr>
          <p:spPr>
            <a:xfrm flipV="1">
              <a:off x="4201454" y="2060848"/>
              <a:ext cx="0" cy="79555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4201454" y="3986824"/>
              <a:ext cx="0" cy="84296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a:xfrm>
            <a:off x="251520" y="1052736"/>
            <a:ext cx="8353036" cy="461665"/>
          </a:xfrm>
          <a:prstGeom prst="rect">
            <a:avLst/>
          </a:prstGeom>
          <a:solidFill>
            <a:schemeClr val="accent3"/>
          </a:solidFill>
        </p:spPr>
        <p:txBody>
          <a:bodyPr wrap="square">
            <a:spAutoFit/>
          </a:bodyPr>
          <a:lstStyle/>
          <a:p>
            <a:pPr algn="ctr"/>
            <a:r>
              <a:rPr lang="en-GB" dirty="0" smtClean="0"/>
              <a:t>Electronic Stability Control System (including ABS)</a:t>
            </a:r>
            <a:endParaRPr lang="en-GB" dirty="0"/>
          </a:p>
        </p:txBody>
      </p:sp>
    </p:spTree>
    <p:extLst>
      <p:ext uri="{BB962C8B-B14F-4D97-AF65-F5344CB8AC3E}">
        <p14:creationId xmlns:p14="http://schemas.microsoft.com/office/powerpoint/2010/main" val="1230415473"/>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verview</a:t>
            </a:r>
            <a:endParaRPr lang="en-GB" dirty="0"/>
          </a:p>
        </p:txBody>
      </p:sp>
      <p:sp>
        <p:nvSpPr>
          <p:cNvPr id="3" name="Text Placeholder 2"/>
          <p:cNvSpPr>
            <a:spLocks noGrp="1"/>
          </p:cNvSpPr>
          <p:nvPr>
            <p:ph type="body" idx="17"/>
          </p:nvPr>
        </p:nvSpPr>
        <p:spPr/>
        <p:txBody>
          <a:bodyPr/>
          <a:lstStyle/>
          <a:p>
            <a:r>
              <a:rPr lang="en-GB" dirty="0" smtClean="0"/>
              <a:t>Semiconductor Industry</a:t>
            </a:r>
            <a:endParaRPr lang="en-GB" dirty="0"/>
          </a:p>
        </p:txBody>
      </p:sp>
      <p:sp>
        <p:nvSpPr>
          <p:cNvPr id="4" name="Text Placeholder 3"/>
          <p:cNvSpPr>
            <a:spLocks noGrp="1"/>
          </p:cNvSpPr>
          <p:nvPr>
            <p:ph type="body" sz="quarter" idx="18"/>
          </p:nvPr>
        </p:nvSpPr>
        <p:spPr/>
        <p:txBody>
          <a:bodyPr/>
          <a:lstStyle/>
          <a:p>
            <a:r>
              <a:rPr lang="en-GB" dirty="0" smtClean="0"/>
              <a:t>Infineon</a:t>
            </a:r>
            <a:endParaRPr lang="en-GB" dirty="0"/>
          </a:p>
        </p:txBody>
      </p:sp>
      <p:sp>
        <p:nvSpPr>
          <p:cNvPr id="5" name="Text Placeholder 4"/>
          <p:cNvSpPr>
            <a:spLocks noGrp="1"/>
          </p:cNvSpPr>
          <p:nvPr>
            <p:ph type="body" sz="quarter" idx="19"/>
          </p:nvPr>
        </p:nvSpPr>
        <p:spPr/>
        <p:txBody>
          <a:bodyPr/>
          <a:lstStyle/>
          <a:p>
            <a:r>
              <a:rPr lang="en-GB" dirty="0" smtClean="0"/>
              <a:t>Infineon, Bristol</a:t>
            </a:r>
            <a:endParaRPr lang="en-GB" dirty="0"/>
          </a:p>
        </p:txBody>
      </p:sp>
      <p:sp>
        <p:nvSpPr>
          <p:cNvPr id="6" name="Text Placeholder 5"/>
          <p:cNvSpPr>
            <a:spLocks noGrp="1"/>
          </p:cNvSpPr>
          <p:nvPr>
            <p:ph type="body" sz="quarter" idx="20"/>
          </p:nvPr>
        </p:nvSpPr>
        <p:spPr>
          <a:solidFill>
            <a:schemeClr val="bg2"/>
          </a:solidFill>
        </p:spPr>
        <p:txBody>
          <a:bodyPr/>
          <a:lstStyle/>
          <a:p>
            <a:r>
              <a:rPr lang="en-GB" dirty="0" smtClean="0"/>
              <a:t>Verification</a:t>
            </a:r>
            <a:endParaRPr lang="en-GB" dirty="0"/>
          </a:p>
        </p:txBody>
      </p:sp>
      <p:sp>
        <p:nvSpPr>
          <p:cNvPr id="7" name="Text Placeholder 6"/>
          <p:cNvSpPr>
            <a:spLocks noGrp="1"/>
          </p:cNvSpPr>
          <p:nvPr>
            <p:ph type="body" sz="quarter" idx="21"/>
          </p:nvPr>
        </p:nvSpPr>
        <p:spPr>
          <a:solidFill>
            <a:schemeClr val="bg2"/>
          </a:solidFill>
        </p:spPr>
        <p:txBody>
          <a:bodyPr/>
          <a:lstStyle/>
          <a:p>
            <a:r>
              <a:rPr lang="en-GB" dirty="0" smtClean="0"/>
              <a:t>Module and System level Verification</a:t>
            </a:r>
            <a:endParaRPr lang="en-GB" dirty="0"/>
          </a:p>
        </p:txBody>
      </p:sp>
      <p:sp>
        <p:nvSpPr>
          <p:cNvPr id="8" name="Text Placeholder 7"/>
          <p:cNvSpPr>
            <a:spLocks noGrp="1"/>
          </p:cNvSpPr>
          <p:nvPr>
            <p:ph type="body" sz="quarter" idx="22"/>
          </p:nvPr>
        </p:nvSpPr>
        <p:spPr>
          <a:solidFill>
            <a:schemeClr val="bg2"/>
          </a:solidFill>
        </p:spPr>
        <p:txBody>
          <a:bodyPr/>
          <a:lstStyle/>
          <a:p>
            <a:r>
              <a:rPr lang="en-GB" dirty="0" smtClean="0"/>
              <a:t>Verification Technologies</a:t>
            </a:r>
            <a:endParaRPr lang="en-GB" dirty="0"/>
          </a:p>
        </p:txBody>
      </p:sp>
      <p:sp>
        <p:nvSpPr>
          <p:cNvPr id="9" name="Text Placeholder 8"/>
          <p:cNvSpPr>
            <a:spLocks noGrp="1"/>
          </p:cNvSpPr>
          <p:nvPr>
            <p:ph type="body" sz="quarter" idx="23"/>
          </p:nvPr>
        </p:nvSpPr>
        <p:spPr>
          <a:solidFill>
            <a:schemeClr val="bg2"/>
          </a:solidFill>
        </p:spPr>
        <p:txBody>
          <a:bodyPr/>
          <a:lstStyle/>
          <a:p>
            <a:r>
              <a:rPr lang="en-GB" dirty="0" smtClean="0"/>
              <a:t>Re-use </a:t>
            </a:r>
            <a:endParaRPr lang="en-GB" dirty="0"/>
          </a:p>
        </p:txBody>
      </p:sp>
      <p:sp>
        <p:nvSpPr>
          <p:cNvPr id="10" name="Text Placeholder 9"/>
          <p:cNvSpPr>
            <a:spLocks noGrp="1"/>
          </p:cNvSpPr>
          <p:nvPr>
            <p:ph type="body" sz="quarter" idx="24"/>
          </p:nvPr>
        </p:nvSpPr>
        <p:spPr/>
        <p:txBody>
          <a:bodyPr/>
          <a:lstStyle/>
          <a:p>
            <a:r>
              <a:rPr lang="en-GB" dirty="0" smtClean="0"/>
              <a:t>Summary</a:t>
            </a:r>
            <a:endParaRPr lang="en-GB" dirty="0"/>
          </a:p>
        </p:txBody>
      </p:sp>
      <p:sp>
        <p:nvSpPr>
          <p:cNvPr id="11" name="Text Placeholder 10"/>
          <p:cNvSpPr>
            <a:spLocks noGrp="1"/>
          </p:cNvSpPr>
          <p:nvPr>
            <p:ph type="body" idx="28"/>
          </p:nvPr>
        </p:nvSpPr>
        <p:spPr/>
        <p:txBody>
          <a:bodyPr/>
          <a:lstStyle/>
          <a:p>
            <a:r>
              <a:rPr lang="en-GB" dirty="0" smtClean="0"/>
              <a:t>1</a:t>
            </a:r>
            <a:endParaRPr lang="en-GB" dirty="0"/>
          </a:p>
        </p:txBody>
      </p:sp>
      <p:sp>
        <p:nvSpPr>
          <p:cNvPr id="12" name="Text Placeholder 11"/>
          <p:cNvSpPr>
            <a:spLocks noGrp="1"/>
          </p:cNvSpPr>
          <p:nvPr>
            <p:ph type="body" idx="29"/>
          </p:nvPr>
        </p:nvSpPr>
        <p:spPr/>
        <p:txBody>
          <a:bodyPr/>
          <a:lstStyle/>
          <a:p>
            <a:r>
              <a:rPr lang="en-GB" dirty="0" smtClean="0"/>
              <a:t>2</a:t>
            </a:r>
            <a:endParaRPr lang="en-GB" dirty="0"/>
          </a:p>
        </p:txBody>
      </p:sp>
      <p:sp>
        <p:nvSpPr>
          <p:cNvPr id="13" name="Text Placeholder 12"/>
          <p:cNvSpPr>
            <a:spLocks noGrp="1"/>
          </p:cNvSpPr>
          <p:nvPr>
            <p:ph type="body" idx="30"/>
          </p:nvPr>
        </p:nvSpPr>
        <p:spPr/>
        <p:txBody>
          <a:bodyPr/>
          <a:lstStyle/>
          <a:p>
            <a:r>
              <a:rPr lang="en-GB" dirty="0" smtClean="0"/>
              <a:t>3</a:t>
            </a:r>
            <a:endParaRPr lang="en-GB" dirty="0"/>
          </a:p>
        </p:txBody>
      </p:sp>
      <p:sp>
        <p:nvSpPr>
          <p:cNvPr id="14" name="Text Placeholder 13"/>
          <p:cNvSpPr>
            <a:spLocks noGrp="1"/>
          </p:cNvSpPr>
          <p:nvPr>
            <p:ph type="body" idx="31"/>
          </p:nvPr>
        </p:nvSpPr>
        <p:spPr/>
        <p:txBody>
          <a:bodyPr/>
          <a:lstStyle/>
          <a:p>
            <a:r>
              <a:rPr lang="en-GB" dirty="0" smtClean="0"/>
              <a:t>4</a:t>
            </a:r>
            <a:endParaRPr lang="en-GB" dirty="0"/>
          </a:p>
        </p:txBody>
      </p:sp>
      <p:sp>
        <p:nvSpPr>
          <p:cNvPr id="15" name="Text Placeholder 14"/>
          <p:cNvSpPr>
            <a:spLocks noGrp="1"/>
          </p:cNvSpPr>
          <p:nvPr>
            <p:ph type="body" idx="32"/>
          </p:nvPr>
        </p:nvSpPr>
        <p:spPr/>
        <p:txBody>
          <a:bodyPr/>
          <a:lstStyle/>
          <a:p>
            <a:r>
              <a:rPr lang="en-GB" dirty="0" smtClean="0"/>
              <a:t>5</a:t>
            </a:r>
            <a:endParaRPr lang="en-GB" dirty="0"/>
          </a:p>
        </p:txBody>
      </p:sp>
      <p:sp>
        <p:nvSpPr>
          <p:cNvPr id="16" name="Text Placeholder 15"/>
          <p:cNvSpPr>
            <a:spLocks noGrp="1"/>
          </p:cNvSpPr>
          <p:nvPr>
            <p:ph type="body" idx="33"/>
          </p:nvPr>
        </p:nvSpPr>
        <p:spPr/>
        <p:txBody>
          <a:bodyPr/>
          <a:lstStyle/>
          <a:p>
            <a:r>
              <a:rPr lang="en-GB" dirty="0" smtClean="0"/>
              <a:t>6</a:t>
            </a:r>
            <a:endParaRPr lang="en-GB" dirty="0"/>
          </a:p>
        </p:txBody>
      </p:sp>
      <p:sp>
        <p:nvSpPr>
          <p:cNvPr id="17" name="Text Placeholder 16"/>
          <p:cNvSpPr>
            <a:spLocks noGrp="1"/>
          </p:cNvSpPr>
          <p:nvPr>
            <p:ph type="body" idx="34"/>
          </p:nvPr>
        </p:nvSpPr>
        <p:spPr/>
        <p:txBody>
          <a:bodyPr/>
          <a:lstStyle/>
          <a:p>
            <a:r>
              <a:rPr lang="en-GB" dirty="0" smtClean="0"/>
              <a:t>7</a:t>
            </a:r>
            <a:endParaRPr lang="en-GB" dirty="0"/>
          </a:p>
        </p:txBody>
      </p:sp>
      <p:sp>
        <p:nvSpPr>
          <p:cNvPr id="18" name="Text Placeholder 17"/>
          <p:cNvSpPr>
            <a:spLocks noGrp="1"/>
          </p:cNvSpPr>
          <p:nvPr>
            <p:ph type="body" idx="35"/>
          </p:nvPr>
        </p:nvSpPr>
        <p:spPr/>
        <p:txBody>
          <a:bodyPr/>
          <a:lstStyle/>
          <a:p>
            <a:r>
              <a:rPr lang="en-GB" dirty="0"/>
              <a:t>8</a:t>
            </a:r>
          </a:p>
        </p:txBody>
      </p:sp>
    </p:spTree>
    <p:extLst>
      <p:ext uri="{BB962C8B-B14F-4D97-AF65-F5344CB8AC3E}">
        <p14:creationId xmlns:p14="http://schemas.microsoft.com/office/powerpoint/2010/main" val="3151928266"/>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C279TA Microcontroller</a:t>
            </a:r>
            <a:endParaRPr lang="en-GB" dirty="0"/>
          </a:p>
        </p:txBody>
      </p:sp>
      <p:pic>
        <p:nvPicPr>
          <p:cNvPr id="7" name="Content Placeholder 6"/>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899593" y="1032476"/>
            <a:ext cx="6276437" cy="4772787"/>
          </a:xfrm>
        </p:spPr>
      </p:pic>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20</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3" name="TextBox 2"/>
          <p:cNvSpPr txBox="1"/>
          <p:nvPr/>
        </p:nvSpPr>
        <p:spPr bwMode="auto">
          <a:xfrm>
            <a:off x="322166" y="5949280"/>
            <a:ext cx="8226611" cy="40780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200" kern="0" dirty="0" smtClean="0">
                <a:latin typeface="Verdana" pitchFamily="34" charset="0"/>
                <a:ea typeface="Verdana" pitchFamily="34" charset="0"/>
                <a:cs typeface="Verdana" pitchFamily="34" charset="0"/>
              </a:rPr>
              <a:t>S</a:t>
            </a:r>
            <a:r>
              <a:rPr lang="en-GB" sz="1200" kern="0" dirty="0">
                <a:latin typeface="Verdana" pitchFamily="34" charset="0"/>
                <a:ea typeface="Verdana" pitchFamily="34" charset="0"/>
                <a:cs typeface="Verdana" pitchFamily="34" charset="0"/>
              </a:rPr>
              <a:t>ource: http://</a:t>
            </a:r>
            <a:r>
              <a:rPr lang="en-GB" sz="1200" kern="0" dirty="0" smtClean="0">
                <a:latin typeface="Verdana" pitchFamily="34" charset="0"/>
                <a:ea typeface="Verdana" pitchFamily="34" charset="0"/>
                <a:cs typeface="Verdana" pitchFamily="34" charset="0"/>
              </a:rPr>
              <a:t>www.infineon.com/cms/en/product/microcontroller/32-bit-tricore-tm-microcontroller/</a:t>
            </a:r>
          </a:p>
          <a:p>
            <a:pPr marR="0" defTabSz="914400" eaLnBrk="0" fontAlgn="auto" latinLnBrk="0" hangingPunct="0">
              <a:spcBef>
                <a:spcPts val="0"/>
              </a:spcBef>
              <a:spcAft>
                <a:spcPts val="300"/>
              </a:spcAft>
              <a:buClr>
                <a:schemeClr val="accent1"/>
              </a:buClr>
              <a:buSzTx/>
              <a:tabLst/>
            </a:pPr>
            <a:r>
              <a:rPr lang="en-GB" sz="1200" kern="0" dirty="0" err="1" smtClean="0">
                <a:latin typeface="Verdana" pitchFamily="34" charset="0"/>
                <a:ea typeface="Verdana" pitchFamily="34" charset="0"/>
                <a:cs typeface="Verdana" pitchFamily="34" charset="0"/>
              </a:rPr>
              <a:t>aurix</a:t>
            </a:r>
            <a:r>
              <a:rPr lang="en-GB" sz="1200" kern="0" dirty="0" smtClean="0">
                <a:latin typeface="Verdana" pitchFamily="34" charset="0"/>
                <a:ea typeface="Verdana" pitchFamily="34" charset="0"/>
                <a:cs typeface="Verdana" pitchFamily="34" charset="0"/>
              </a:rPr>
              <a:t>-tm-family/</a:t>
            </a:r>
            <a:r>
              <a:rPr lang="en-GB" sz="1200" kern="0" dirty="0" err="1" smtClean="0">
                <a:latin typeface="Verdana" pitchFamily="34" charset="0"/>
                <a:ea typeface="Verdana" pitchFamily="34" charset="0"/>
                <a:cs typeface="Verdana" pitchFamily="34" charset="0"/>
              </a:rPr>
              <a:t>aurix</a:t>
            </a:r>
            <a:r>
              <a:rPr lang="en-GB" sz="1200" kern="0" dirty="0" smtClean="0">
                <a:latin typeface="Verdana" pitchFamily="34" charset="0"/>
                <a:ea typeface="Verdana" pitchFamily="34" charset="0"/>
                <a:cs typeface="Verdana" pitchFamily="34" charset="0"/>
              </a:rPr>
              <a:t>-tm-family-–-</a:t>
            </a:r>
            <a:r>
              <a:rPr lang="en-GB" sz="1200" kern="0" dirty="0">
                <a:latin typeface="Verdana" pitchFamily="34" charset="0"/>
                <a:ea typeface="Verdana" pitchFamily="34" charset="0"/>
                <a:cs typeface="Verdana" pitchFamily="34" charset="0"/>
              </a:rPr>
              <a:t>tc297ta/</a:t>
            </a:r>
            <a:r>
              <a:rPr lang="en-GB" sz="1200" kern="0" dirty="0" err="1">
                <a:latin typeface="Verdana" pitchFamily="34" charset="0"/>
                <a:ea typeface="Verdana" pitchFamily="34" charset="0"/>
                <a:cs typeface="Verdana" pitchFamily="34" charset="0"/>
              </a:rPr>
              <a:t>channel.html?channel</a:t>
            </a:r>
            <a:r>
              <a:rPr lang="en-GB" sz="1200" kern="0" dirty="0">
                <a:latin typeface="Verdana" pitchFamily="34" charset="0"/>
                <a:ea typeface="Verdana" pitchFamily="34" charset="0"/>
                <a:cs typeface="Verdana" pitchFamily="34" charset="0"/>
              </a:rPr>
              <a:t>=db3a304342c787030142dbf31c2b151c</a:t>
            </a:r>
            <a:endParaRPr lang="en-GB" sz="1200" kern="0" dirty="0" smtClean="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066612380"/>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899592" y="1032475"/>
            <a:ext cx="7034547" cy="5349275"/>
          </a:xfrm>
        </p:spPr>
      </p:pic>
      <p:sp>
        <p:nvSpPr>
          <p:cNvPr id="3" name="Rectangle 2"/>
          <p:cNvSpPr/>
          <p:nvPr/>
        </p:nvSpPr>
        <p:spPr bwMode="auto">
          <a:xfrm>
            <a:off x="957373" y="1340768"/>
            <a:ext cx="6696744" cy="2880320"/>
          </a:xfrm>
          <a:prstGeom prst="rect">
            <a:avLst/>
          </a:prstGeom>
          <a:solidFill>
            <a:srgbClr val="3333FF">
              <a:alpha val="23922"/>
            </a:srgbClr>
          </a:solidFill>
          <a:ln w="9525">
            <a:noFill/>
            <a:miter lim="800000"/>
            <a:headEnd/>
            <a:tailEnd/>
          </a:ln>
        </p:spPr>
        <p:txBody>
          <a:bodyPr wrap="square" lIns="72000" tIns="72000" rIns="72000" bIns="72000" rtlCol="0" anchor="ctr"/>
          <a:lstStyle/>
          <a:p>
            <a:pPr algn="ctr" eaLnBrk="0" hangingPunct="0"/>
            <a:endParaRPr lang="en-GB" sz="1600" dirty="0" smtClean="0">
              <a:latin typeface="+mn-lt"/>
              <a:ea typeface="Verdana" pitchFamily="34" charset="0"/>
              <a:cs typeface="Verdana" pitchFamily="34" charset="0"/>
            </a:endParaRPr>
          </a:p>
        </p:txBody>
      </p:sp>
      <p:sp>
        <p:nvSpPr>
          <p:cNvPr id="2" name="Title 1"/>
          <p:cNvSpPr>
            <a:spLocks noGrp="1"/>
          </p:cNvSpPr>
          <p:nvPr>
            <p:ph type="title"/>
          </p:nvPr>
        </p:nvSpPr>
        <p:spPr/>
        <p:txBody>
          <a:bodyPr/>
          <a:lstStyle/>
          <a:p>
            <a:r>
              <a:rPr lang="en-GB" dirty="0" smtClean="0"/>
              <a:t>TC279TA Microcontroller – Bristol</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21</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Tree>
    <p:extLst>
      <p:ext uri="{BB962C8B-B14F-4D97-AF65-F5344CB8AC3E}">
        <p14:creationId xmlns:p14="http://schemas.microsoft.com/office/powerpoint/2010/main" val="4084310340"/>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899592" y="1032475"/>
            <a:ext cx="7034547" cy="5349275"/>
          </a:xfrm>
        </p:spPr>
      </p:pic>
      <p:sp>
        <p:nvSpPr>
          <p:cNvPr id="3" name="Rectangle 2"/>
          <p:cNvSpPr/>
          <p:nvPr/>
        </p:nvSpPr>
        <p:spPr bwMode="auto">
          <a:xfrm>
            <a:off x="957373" y="1340768"/>
            <a:ext cx="6696744" cy="2880320"/>
          </a:xfrm>
          <a:prstGeom prst="rect">
            <a:avLst/>
          </a:prstGeom>
          <a:solidFill>
            <a:srgbClr val="3333FF">
              <a:alpha val="23922"/>
            </a:srgbClr>
          </a:solidFill>
          <a:ln w="9525">
            <a:noFill/>
            <a:miter lim="800000"/>
            <a:headEnd/>
            <a:tailEnd/>
          </a:ln>
        </p:spPr>
        <p:txBody>
          <a:bodyPr wrap="square" lIns="72000" tIns="72000" rIns="72000" bIns="72000" rtlCol="0" anchor="ctr"/>
          <a:lstStyle/>
          <a:p>
            <a:pPr algn="ctr" eaLnBrk="0" hangingPunct="0"/>
            <a:endParaRPr lang="en-GB" sz="1600" dirty="0" smtClean="0">
              <a:latin typeface="+mn-lt"/>
              <a:ea typeface="Verdana" pitchFamily="34" charset="0"/>
              <a:cs typeface="Verdana" pitchFamily="34" charset="0"/>
            </a:endParaRPr>
          </a:p>
        </p:txBody>
      </p:sp>
      <p:sp>
        <p:nvSpPr>
          <p:cNvPr id="2" name="Title 1"/>
          <p:cNvSpPr>
            <a:spLocks noGrp="1"/>
          </p:cNvSpPr>
          <p:nvPr>
            <p:ph type="title"/>
          </p:nvPr>
        </p:nvSpPr>
        <p:spPr/>
        <p:txBody>
          <a:bodyPr/>
          <a:lstStyle/>
          <a:p>
            <a:r>
              <a:rPr lang="en-GB" dirty="0" smtClean="0"/>
              <a:t>TC279TA Microcontroller - ADAS</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22</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9" name="Oval 8"/>
          <p:cNvSpPr/>
          <p:nvPr/>
        </p:nvSpPr>
        <p:spPr bwMode="auto">
          <a:xfrm>
            <a:off x="3419872" y="1340768"/>
            <a:ext cx="914400" cy="914400"/>
          </a:xfrm>
          <a:prstGeom prst="ellipse">
            <a:avLst/>
          </a:prstGeom>
          <a:noFill/>
          <a:ln w="9525">
            <a:noFill/>
            <a:miter lim="800000"/>
            <a:headEnd/>
            <a:tailEnd/>
          </a:ln>
        </p:spPr>
        <p:txBody>
          <a:bodyPr wrap="square" lIns="72000" tIns="72000" rIns="72000" bIns="72000" rtlCol="0" anchor="ctr"/>
          <a:lstStyle/>
          <a:p>
            <a:pPr algn="ctr" eaLnBrk="0" hangingPunct="0"/>
            <a:endParaRPr lang="en-GB" sz="1600" dirty="0" smtClean="0">
              <a:latin typeface="+mn-lt"/>
              <a:ea typeface="Verdana" pitchFamily="34" charset="0"/>
              <a:cs typeface="Verdana" pitchFamily="34" charset="0"/>
            </a:endParaRPr>
          </a:p>
        </p:txBody>
      </p:sp>
      <p:sp>
        <p:nvSpPr>
          <p:cNvPr id="10" name="Oval 9"/>
          <p:cNvSpPr/>
          <p:nvPr/>
        </p:nvSpPr>
        <p:spPr bwMode="auto">
          <a:xfrm>
            <a:off x="4139952" y="1412776"/>
            <a:ext cx="914400" cy="914400"/>
          </a:xfrm>
          <a:prstGeom prst="ellipse">
            <a:avLst/>
          </a:prstGeom>
          <a:noFill/>
          <a:ln w="9525">
            <a:noFill/>
            <a:miter lim="800000"/>
            <a:headEnd/>
            <a:tailEnd/>
          </a:ln>
        </p:spPr>
        <p:txBody>
          <a:bodyPr wrap="square" lIns="72000" tIns="72000" rIns="72000" bIns="72000" rtlCol="0" anchor="ctr"/>
          <a:lstStyle/>
          <a:p>
            <a:pPr algn="ctr" eaLnBrk="0" hangingPunct="0"/>
            <a:endParaRPr lang="en-GB" sz="1600" dirty="0" smtClean="0">
              <a:latin typeface="+mn-lt"/>
              <a:ea typeface="Verdana" pitchFamily="34" charset="0"/>
              <a:cs typeface="Verdana" pitchFamily="34" charset="0"/>
            </a:endParaRPr>
          </a:p>
        </p:txBody>
      </p:sp>
      <p:sp>
        <p:nvSpPr>
          <p:cNvPr id="11" name="Oval 10"/>
          <p:cNvSpPr/>
          <p:nvPr/>
        </p:nvSpPr>
        <p:spPr bwMode="auto">
          <a:xfrm>
            <a:off x="3059832" y="1340768"/>
            <a:ext cx="986408" cy="1584176"/>
          </a:xfrm>
          <a:prstGeom prst="ellipse">
            <a:avLst/>
          </a:prstGeom>
          <a:noFill/>
          <a:ln w="12700">
            <a:solidFill>
              <a:schemeClr val="tx1"/>
            </a:solidFill>
            <a:miter lim="800000"/>
            <a:headEnd/>
            <a:tailEnd/>
          </a:ln>
        </p:spPr>
        <p:txBody>
          <a:bodyPr wrap="square" lIns="72000" tIns="72000" rIns="72000" bIns="72000" rtlCol="0" anchor="ctr"/>
          <a:lstStyle/>
          <a:p>
            <a:pPr algn="ctr" eaLnBrk="0" hangingPunct="0"/>
            <a:endParaRPr lang="en-GB" sz="1600" dirty="0" smtClean="0">
              <a:latin typeface="+mn-lt"/>
              <a:ea typeface="Verdana" pitchFamily="34" charset="0"/>
              <a:cs typeface="Verdana" pitchFamily="34" charset="0"/>
            </a:endParaRPr>
          </a:p>
        </p:txBody>
      </p:sp>
    </p:spTree>
    <p:extLst>
      <p:ext uri="{BB962C8B-B14F-4D97-AF65-F5344CB8AC3E}">
        <p14:creationId xmlns:p14="http://schemas.microsoft.com/office/powerpoint/2010/main" val="1549392546"/>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TriCore</a:t>
            </a:r>
            <a:r>
              <a:rPr lang="en-GB" dirty="0" smtClean="0"/>
              <a:t> Processor</a:t>
            </a:r>
            <a:endParaRPr lang="en-GB" dirty="0"/>
          </a:p>
        </p:txBody>
      </p:sp>
      <p:sp>
        <p:nvSpPr>
          <p:cNvPr id="3" name="Content Placeholder 2"/>
          <p:cNvSpPr>
            <a:spLocks noGrp="1"/>
          </p:cNvSpPr>
          <p:nvPr>
            <p:ph sz="quarter" idx="13"/>
          </p:nvPr>
        </p:nvSpPr>
        <p:spPr>
          <a:xfrm>
            <a:off x="250824" y="1268413"/>
            <a:ext cx="4753223" cy="5113337"/>
          </a:xfrm>
        </p:spPr>
        <p:txBody>
          <a:bodyPr/>
          <a:lstStyle/>
          <a:p>
            <a:r>
              <a:rPr lang="en-GB" dirty="0" smtClean="0"/>
              <a:t>Processor development interesting and challenging</a:t>
            </a:r>
          </a:p>
          <a:p>
            <a:r>
              <a:rPr lang="en-GB" dirty="0" smtClean="0"/>
              <a:t>“The most widely distributed processor you’ve probably never heard of”</a:t>
            </a:r>
          </a:p>
          <a:p>
            <a:r>
              <a:rPr lang="en-GB" dirty="0"/>
              <a:t>250 Million sold as of 19 November </a:t>
            </a:r>
            <a:r>
              <a:rPr lang="en-GB" dirty="0" smtClean="0"/>
              <a:t>2015</a:t>
            </a:r>
          </a:p>
          <a:p>
            <a:pPr marL="288000" lvl="1">
              <a:spcAft>
                <a:spcPts val="1200"/>
              </a:spcAft>
              <a:buFont typeface="Arial" panose="020B0604020202020204" pitchFamily="34" charset="0"/>
              <a:buChar char="›"/>
            </a:pPr>
            <a:r>
              <a:rPr lang="en-GB" dirty="0"/>
              <a:t>On average every second vehicle contains </a:t>
            </a:r>
            <a:r>
              <a:rPr lang="en-GB" dirty="0" smtClean="0"/>
              <a:t>one</a:t>
            </a:r>
          </a:p>
          <a:p>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23</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pic>
        <p:nvPicPr>
          <p:cNvPr id="8" name="Picture 7"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8064" y="1032990"/>
            <a:ext cx="3816527" cy="5361824"/>
          </a:xfrm>
          <a:prstGeom prst="rect">
            <a:avLst/>
          </a:prstGeom>
        </p:spPr>
      </p:pic>
    </p:spTree>
    <p:extLst>
      <p:ext uri="{BB962C8B-B14F-4D97-AF65-F5344CB8AC3E}">
        <p14:creationId xmlns:p14="http://schemas.microsoft.com/office/powerpoint/2010/main" val="2814413408"/>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Verification</a:t>
            </a:r>
            <a:endParaRPr lang="en-GB" dirty="0"/>
          </a:p>
        </p:txBody>
      </p:sp>
    </p:spTree>
    <p:extLst>
      <p:ext uri="{BB962C8B-B14F-4D97-AF65-F5344CB8AC3E}">
        <p14:creationId xmlns:p14="http://schemas.microsoft.com/office/powerpoint/2010/main" val="11113009"/>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mount of Verification - Industry</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25</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 y="908720"/>
            <a:ext cx="9142858" cy="5948851"/>
          </a:xfrm>
          <a:prstGeom prst="rect">
            <a:avLst/>
          </a:prstGeom>
        </p:spPr>
      </p:pic>
    </p:spTree>
    <p:extLst>
      <p:ext uri="{BB962C8B-B14F-4D97-AF65-F5344CB8AC3E}">
        <p14:creationId xmlns:p14="http://schemas.microsoft.com/office/powerpoint/2010/main" val="1734976171"/>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st of Not Doing Verification</a:t>
            </a:r>
            <a:endParaRPr lang="en-GB" dirty="0"/>
          </a:p>
        </p:txBody>
      </p:sp>
      <p:sp>
        <p:nvSpPr>
          <p:cNvPr id="3" name="Content Placeholder 2"/>
          <p:cNvSpPr>
            <a:spLocks noGrp="1"/>
          </p:cNvSpPr>
          <p:nvPr>
            <p:ph sz="quarter" idx="13"/>
          </p:nvPr>
        </p:nvSpPr>
        <p:spPr>
          <a:xfrm>
            <a:off x="250824" y="1268413"/>
            <a:ext cx="8641655" cy="4824883"/>
          </a:xfrm>
        </p:spPr>
        <p:txBody>
          <a:bodyPr>
            <a:normAutofit/>
          </a:bodyPr>
          <a:lstStyle/>
          <a:p>
            <a:r>
              <a:rPr lang="en-GB" dirty="0" smtClean="0"/>
              <a:t>In 2014 General Motors spent $3.2 billion on recalls and victim compensation and set aside a further $900 million for future costs</a:t>
            </a:r>
          </a:p>
          <a:p>
            <a:pPr lvl="1"/>
            <a:r>
              <a:rPr lang="en-GB" dirty="0" smtClean="0"/>
              <a:t>Wiped out annual </a:t>
            </a:r>
            <a:r>
              <a:rPr lang="en-GB" dirty="0"/>
              <a:t>profits</a:t>
            </a:r>
          </a:p>
          <a:p>
            <a:pPr lvl="1"/>
            <a:r>
              <a:rPr lang="en-GB" dirty="0"/>
              <a:t>$2.1 billion on </a:t>
            </a:r>
            <a:r>
              <a:rPr lang="en-GB" dirty="0" smtClean="0"/>
              <a:t>recalls</a:t>
            </a:r>
          </a:p>
          <a:p>
            <a:pPr lvl="1"/>
            <a:r>
              <a:rPr lang="en-GB" dirty="0" smtClean="0"/>
              <a:t>Largest </a:t>
            </a:r>
            <a:r>
              <a:rPr lang="en-GB" dirty="0"/>
              <a:t>single problem was a faulty ignition switch (caused engine to shut off and prevented airbag from deploying)</a:t>
            </a:r>
          </a:p>
          <a:p>
            <a:pPr lvl="2"/>
            <a:r>
              <a:rPr lang="en-GB" dirty="0"/>
              <a:t>Connected with 124 deaths</a:t>
            </a:r>
          </a:p>
          <a:p>
            <a:pPr lvl="2"/>
            <a:r>
              <a:rPr lang="en-GB" dirty="0"/>
              <a:t>Recalled &gt;29 million </a:t>
            </a:r>
            <a:r>
              <a:rPr lang="en-GB" dirty="0" smtClean="0"/>
              <a:t>vehicles worldwide</a:t>
            </a:r>
          </a:p>
          <a:p>
            <a:pPr lvl="2"/>
            <a:r>
              <a:rPr lang="en-GB" dirty="0" smtClean="0"/>
              <a:t>Mechanical problem rather leading to an electronic failures – a bug in the electronics could have had a similar effect</a:t>
            </a:r>
          </a:p>
          <a:p>
            <a:pPr lvl="2"/>
            <a:r>
              <a:rPr lang="en-GB" dirty="0" smtClean="0"/>
              <a:t>Software problems can also have similar effects – but much cheaper to replace</a:t>
            </a:r>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26</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18" name="Freeform 17"/>
          <p:cNvSpPr/>
          <p:nvPr/>
        </p:nvSpPr>
        <p:spPr bwMode="auto">
          <a:xfrm>
            <a:off x="696191" y="3408218"/>
            <a:ext cx="2992582" cy="2608118"/>
          </a:xfrm>
          <a:custGeom>
            <a:avLst/>
            <a:gdLst>
              <a:gd name="connsiteX0" fmla="*/ 0 w 2992582"/>
              <a:gd name="connsiteY0" fmla="*/ 2608118 h 2608118"/>
              <a:gd name="connsiteX1" fmla="*/ 935182 w 2992582"/>
              <a:gd name="connsiteY1" fmla="*/ 2462646 h 2608118"/>
              <a:gd name="connsiteX2" fmla="*/ 1392382 w 2992582"/>
              <a:gd name="connsiteY2" fmla="*/ 2275609 h 2608118"/>
              <a:gd name="connsiteX3" fmla="*/ 1911927 w 2992582"/>
              <a:gd name="connsiteY3" fmla="*/ 1849582 h 2608118"/>
              <a:gd name="connsiteX4" fmla="*/ 2348345 w 2992582"/>
              <a:gd name="connsiteY4" fmla="*/ 1278082 h 2608118"/>
              <a:gd name="connsiteX5" fmla="*/ 2670464 w 2992582"/>
              <a:gd name="connsiteY5" fmla="*/ 685800 h 2608118"/>
              <a:gd name="connsiteX6" fmla="*/ 2971800 w 2992582"/>
              <a:gd name="connsiteY6" fmla="*/ 31173 h 2608118"/>
              <a:gd name="connsiteX7" fmla="*/ 2971800 w 2992582"/>
              <a:gd name="connsiteY7" fmla="*/ 31173 h 2608118"/>
              <a:gd name="connsiteX8" fmla="*/ 2992582 w 2992582"/>
              <a:gd name="connsiteY8" fmla="*/ 0 h 260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2582" h="2608118">
                <a:moveTo>
                  <a:pt x="0" y="2608118"/>
                </a:moveTo>
                <a:cubicBezTo>
                  <a:pt x="351559" y="2563091"/>
                  <a:pt x="703118" y="2518064"/>
                  <a:pt x="935182" y="2462646"/>
                </a:cubicBezTo>
                <a:cubicBezTo>
                  <a:pt x="1167246" y="2407228"/>
                  <a:pt x="1229591" y="2377786"/>
                  <a:pt x="1392382" y="2275609"/>
                </a:cubicBezTo>
                <a:cubicBezTo>
                  <a:pt x="1555173" y="2173432"/>
                  <a:pt x="1752600" y="2015836"/>
                  <a:pt x="1911927" y="1849582"/>
                </a:cubicBezTo>
                <a:cubicBezTo>
                  <a:pt x="2071254" y="1683328"/>
                  <a:pt x="2221922" y="1472046"/>
                  <a:pt x="2348345" y="1278082"/>
                </a:cubicBezTo>
                <a:cubicBezTo>
                  <a:pt x="2474768" y="1084118"/>
                  <a:pt x="2566555" y="893618"/>
                  <a:pt x="2670464" y="685800"/>
                </a:cubicBezTo>
                <a:cubicBezTo>
                  <a:pt x="2774373" y="477982"/>
                  <a:pt x="2971800" y="31173"/>
                  <a:pt x="2971800" y="31173"/>
                </a:cubicBezTo>
                <a:lnTo>
                  <a:pt x="2971800" y="31173"/>
                </a:lnTo>
                <a:lnTo>
                  <a:pt x="2992582" y="0"/>
                </a:lnTo>
              </a:path>
            </a:pathLst>
          </a:custGeom>
          <a:noFill/>
          <a:ln w="9525">
            <a:noFill/>
            <a:miter lim="800000"/>
            <a:headEnd/>
            <a:tailEnd/>
          </a:ln>
        </p:spPr>
        <p:txBody>
          <a:bodyPr rtlCol="0" anchor="ctr"/>
          <a:lstStyle/>
          <a:p>
            <a:pPr algn="ctr"/>
            <a:endParaRPr lang="en-GB"/>
          </a:p>
        </p:txBody>
      </p:sp>
    </p:spTree>
    <p:extLst>
      <p:ext uri="{BB962C8B-B14F-4D97-AF65-F5344CB8AC3E}">
        <p14:creationId xmlns:p14="http://schemas.microsoft.com/office/powerpoint/2010/main" val="2519262029"/>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st of Hardware Bugs – ‘Shift Left’</a:t>
            </a:r>
            <a:endParaRPr lang="en-GB" dirty="0"/>
          </a:p>
        </p:txBody>
      </p:sp>
      <p:sp>
        <p:nvSpPr>
          <p:cNvPr id="3" name="Slide Number Placeholder 2"/>
          <p:cNvSpPr>
            <a:spLocks noGrp="1"/>
          </p:cNvSpPr>
          <p:nvPr>
            <p:ph type="sldNum" sz="quarter" idx="4"/>
          </p:nvPr>
        </p:nvSpPr>
        <p:spPr/>
        <p:txBody>
          <a:bodyPr/>
          <a:lstStyle/>
          <a:p>
            <a:r>
              <a:rPr lang="en-GB" smtClean="0"/>
              <a:t> </a:t>
            </a:r>
            <a:fld id="{DC8B3668-E1AB-4560-B66B-CD4643A23BF9}" type="slidenum">
              <a:rPr lang="en-GB" smtClean="0"/>
              <a:pPr/>
              <a:t>27</a:t>
            </a:fld>
            <a:endParaRPr lang="en-GB" dirty="0"/>
          </a:p>
        </p:txBody>
      </p:sp>
      <p:sp>
        <p:nvSpPr>
          <p:cNvPr id="4" name="Date Placeholder 3"/>
          <p:cNvSpPr>
            <a:spLocks noGrp="1"/>
          </p:cNvSpPr>
          <p:nvPr>
            <p:ph type="dt" sz="half" idx="2"/>
          </p:nvPr>
        </p:nvSpPr>
        <p:spPr/>
        <p:txBody>
          <a:bodyPr/>
          <a:lstStyle/>
          <a:p>
            <a:r>
              <a:rPr lang="en-GB" smtClean="0"/>
              <a:t>set date</a:t>
            </a:r>
            <a:endParaRPr lang="en-GB" dirty="0"/>
          </a:p>
        </p:txBody>
      </p:sp>
      <p:sp>
        <p:nvSpPr>
          <p:cNvPr id="5" name="Footer Placeholder 4"/>
          <p:cNvSpPr>
            <a:spLocks noGrp="1"/>
          </p:cNvSpPr>
          <p:nvPr>
            <p:ph type="ftr" sz="quarter" idx="3"/>
          </p:nvPr>
        </p:nvSpPr>
        <p:spPr/>
        <p:txBody>
          <a:bodyPr/>
          <a:lstStyle/>
          <a:p>
            <a:r>
              <a:rPr lang="en-GB" smtClean="0"/>
              <a:t>Copyright © Infineon Technologies AG 2015. All rights reserved.</a:t>
            </a:r>
            <a:endParaRPr lang="en-GB" dirty="0"/>
          </a:p>
        </p:txBody>
      </p:sp>
      <p:grpSp>
        <p:nvGrpSpPr>
          <p:cNvPr id="37" name="Group 36"/>
          <p:cNvGrpSpPr/>
          <p:nvPr/>
        </p:nvGrpSpPr>
        <p:grpSpPr>
          <a:xfrm>
            <a:off x="198626" y="1133198"/>
            <a:ext cx="7932359" cy="4921839"/>
            <a:chOff x="223163" y="1548656"/>
            <a:chExt cx="7932359" cy="4921839"/>
          </a:xfrm>
        </p:grpSpPr>
        <p:grpSp>
          <p:nvGrpSpPr>
            <p:cNvPr id="7" name="Group 6"/>
            <p:cNvGrpSpPr/>
            <p:nvPr/>
          </p:nvGrpSpPr>
          <p:grpSpPr>
            <a:xfrm>
              <a:off x="676580" y="1822506"/>
              <a:ext cx="7280968" cy="3672409"/>
              <a:chOff x="675408" y="3496508"/>
              <a:chExt cx="3320528" cy="2524781"/>
            </a:xfrm>
          </p:grpSpPr>
          <p:cxnSp>
            <p:nvCxnSpPr>
              <p:cNvPr id="8" name="Straight Arrow Connector 7"/>
              <p:cNvCxnSpPr/>
              <p:nvPr/>
            </p:nvCxnSpPr>
            <p:spPr>
              <a:xfrm>
                <a:off x="683568" y="6021288"/>
                <a:ext cx="3312368"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flipV="1">
                <a:off x="675408" y="3496508"/>
                <a:ext cx="8160" cy="252478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Freeform 9"/>
              <p:cNvSpPr/>
              <p:nvPr/>
            </p:nvSpPr>
            <p:spPr bwMode="auto">
              <a:xfrm>
                <a:off x="675408" y="3645024"/>
                <a:ext cx="3176511" cy="2360921"/>
              </a:xfrm>
              <a:custGeom>
                <a:avLst/>
                <a:gdLst>
                  <a:gd name="connsiteX0" fmla="*/ 0 w 2763982"/>
                  <a:gd name="connsiteY0" fmla="*/ 2618509 h 2618509"/>
                  <a:gd name="connsiteX1" fmla="*/ 654627 w 2763982"/>
                  <a:gd name="connsiteY1" fmla="*/ 2524991 h 2618509"/>
                  <a:gd name="connsiteX2" fmla="*/ 1153391 w 2763982"/>
                  <a:gd name="connsiteY2" fmla="*/ 2327564 h 2618509"/>
                  <a:gd name="connsiteX3" fmla="*/ 1683327 w 2763982"/>
                  <a:gd name="connsiteY3" fmla="*/ 1849582 h 2618509"/>
                  <a:gd name="connsiteX4" fmla="*/ 2296391 w 2763982"/>
                  <a:gd name="connsiteY4" fmla="*/ 924791 h 2618509"/>
                  <a:gd name="connsiteX5" fmla="*/ 2722418 w 2763982"/>
                  <a:gd name="connsiteY5" fmla="*/ 51955 h 2618509"/>
                  <a:gd name="connsiteX6" fmla="*/ 2722418 w 2763982"/>
                  <a:gd name="connsiteY6" fmla="*/ 51955 h 2618509"/>
                  <a:gd name="connsiteX7" fmla="*/ 2722418 w 2763982"/>
                  <a:gd name="connsiteY7" fmla="*/ 51955 h 2618509"/>
                  <a:gd name="connsiteX8" fmla="*/ 2763982 w 2763982"/>
                  <a:gd name="connsiteY8" fmla="*/ 0 h 261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3982" h="2618509">
                    <a:moveTo>
                      <a:pt x="0" y="2618509"/>
                    </a:moveTo>
                    <a:cubicBezTo>
                      <a:pt x="231197" y="2595995"/>
                      <a:pt x="462395" y="2573482"/>
                      <a:pt x="654627" y="2524991"/>
                    </a:cubicBezTo>
                    <a:cubicBezTo>
                      <a:pt x="846859" y="2476500"/>
                      <a:pt x="981941" y="2440132"/>
                      <a:pt x="1153391" y="2327564"/>
                    </a:cubicBezTo>
                    <a:cubicBezTo>
                      <a:pt x="1324841" y="2214996"/>
                      <a:pt x="1492827" y="2083378"/>
                      <a:pt x="1683327" y="1849582"/>
                    </a:cubicBezTo>
                    <a:cubicBezTo>
                      <a:pt x="1873827" y="1615786"/>
                      <a:pt x="2123209" y="1224395"/>
                      <a:pt x="2296391" y="924791"/>
                    </a:cubicBezTo>
                    <a:cubicBezTo>
                      <a:pt x="2469573" y="625187"/>
                      <a:pt x="2722418" y="51955"/>
                      <a:pt x="2722418" y="51955"/>
                    </a:cubicBezTo>
                    <a:lnTo>
                      <a:pt x="2722418" y="51955"/>
                    </a:lnTo>
                    <a:lnTo>
                      <a:pt x="2722418" y="51955"/>
                    </a:lnTo>
                    <a:lnTo>
                      <a:pt x="2763982" y="0"/>
                    </a:lnTo>
                  </a:path>
                </a:pathLst>
              </a:custGeom>
              <a:noFill/>
              <a:ln w="12700">
                <a:solidFill>
                  <a:schemeClr val="tx1"/>
                </a:solidFill>
                <a:miter lim="800000"/>
                <a:headEnd/>
                <a:tailEnd/>
              </a:ln>
            </p:spPr>
            <p:txBody>
              <a:bodyPr rtlCol="0" anchor="ctr"/>
              <a:lstStyle/>
              <a:p>
                <a:pPr algn="ctr"/>
                <a:endParaRPr lang="en-GB"/>
              </a:p>
            </p:txBody>
          </p:sp>
        </p:grpSp>
        <p:sp>
          <p:nvSpPr>
            <p:cNvPr id="6" name="TextBox 5"/>
            <p:cNvSpPr txBox="1"/>
            <p:nvPr/>
          </p:nvSpPr>
          <p:spPr bwMode="auto">
            <a:xfrm>
              <a:off x="451834" y="1548656"/>
              <a:ext cx="397545" cy="21544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i="1" kern="0" dirty="0" smtClean="0">
                  <a:latin typeface="Verdana" pitchFamily="34" charset="0"/>
                  <a:ea typeface="Verdana" pitchFamily="34" charset="0"/>
                  <a:cs typeface="Verdana" pitchFamily="34" charset="0"/>
                </a:rPr>
                <a:t>Cost</a:t>
              </a:r>
            </a:p>
          </p:txBody>
        </p:sp>
        <p:sp>
          <p:nvSpPr>
            <p:cNvPr id="11" name="TextBox 10"/>
            <p:cNvSpPr txBox="1"/>
            <p:nvPr/>
          </p:nvSpPr>
          <p:spPr bwMode="auto">
            <a:xfrm>
              <a:off x="3648366" y="6255051"/>
              <a:ext cx="1487587" cy="21544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i="1" kern="0" dirty="0" smtClean="0">
                  <a:latin typeface="Verdana" pitchFamily="34" charset="0"/>
                  <a:ea typeface="Verdana" pitchFamily="34" charset="0"/>
                  <a:cs typeface="Verdana" pitchFamily="34" charset="0"/>
                </a:rPr>
                <a:t>When bug found</a:t>
              </a:r>
            </a:p>
          </p:txBody>
        </p:sp>
        <p:sp>
          <p:nvSpPr>
            <p:cNvPr id="12" name="TextBox 11"/>
            <p:cNvSpPr txBox="1"/>
            <p:nvPr/>
          </p:nvSpPr>
          <p:spPr bwMode="auto">
            <a:xfrm>
              <a:off x="268798" y="5301788"/>
              <a:ext cx="341440" cy="21544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10</a:t>
              </a:r>
            </a:p>
          </p:txBody>
        </p:sp>
        <p:sp>
          <p:nvSpPr>
            <p:cNvPr id="14" name="TextBox 13"/>
            <p:cNvSpPr txBox="1"/>
            <p:nvPr/>
          </p:nvSpPr>
          <p:spPr bwMode="auto">
            <a:xfrm>
              <a:off x="292092" y="4705565"/>
              <a:ext cx="333425" cy="21544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1k</a:t>
              </a:r>
            </a:p>
          </p:txBody>
        </p:sp>
        <p:sp>
          <p:nvSpPr>
            <p:cNvPr id="15" name="TextBox 14"/>
            <p:cNvSpPr txBox="1"/>
            <p:nvPr/>
          </p:nvSpPr>
          <p:spPr bwMode="auto">
            <a:xfrm>
              <a:off x="223163" y="4145004"/>
              <a:ext cx="402354" cy="21544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1m</a:t>
              </a:r>
            </a:p>
          </p:txBody>
        </p:sp>
        <p:sp>
          <p:nvSpPr>
            <p:cNvPr id="16" name="TextBox 15"/>
            <p:cNvSpPr txBox="1"/>
            <p:nvPr/>
          </p:nvSpPr>
          <p:spPr bwMode="auto">
            <a:xfrm>
              <a:off x="281916" y="2070021"/>
              <a:ext cx="339837" cy="21544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1b</a:t>
              </a:r>
            </a:p>
          </p:txBody>
        </p:sp>
        <p:sp>
          <p:nvSpPr>
            <p:cNvPr id="17" name="TextBox 16"/>
            <p:cNvSpPr txBox="1"/>
            <p:nvPr/>
          </p:nvSpPr>
          <p:spPr bwMode="auto">
            <a:xfrm>
              <a:off x="755576" y="5580956"/>
              <a:ext cx="793487" cy="469359"/>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Concept </a:t>
              </a:r>
            </a:p>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Phase</a:t>
              </a:r>
            </a:p>
          </p:txBody>
        </p:sp>
        <p:sp>
          <p:nvSpPr>
            <p:cNvPr id="18" name="TextBox 17"/>
            <p:cNvSpPr txBox="1"/>
            <p:nvPr/>
          </p:nvSpPr>
          <p:spPr bwMode="auto">
            <a:xfrm>
              <a:off x="1977993" y="5572650"/>
              <a:ext cx="2186496" cy="21544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RTL Development</a:t>
              </a:r>
              <a:r>
                <a:rPr lang="en-GB" sz="1400" kern="0" dirty="0">
                  <a:latin typeface="Verdana" pitchFamily="34" charset="0"/>
                  <a:ea typeface="Verdana" pitchFamily="34" charset="0"/>
                  <a:cs typeface="Verdana" pitchFamily="34" charset="0"/>
                </a:rPr>
                <a:t> </a:t>
              </a:r>
              <a:r>
                <a:rPr lang="en-GB" sz="1400" kern="0" dirty="0" smtClean="0">
                  <a:latin typeface="Verdana" pitchFamily="34" charset="0"/>
                  <a:ea typeface="Verdana" pitchFamily="34" charset="0"/>
                  <a:cs typeface="Verdana" pitchFamily="34" charset="0"/>
                </a:rPr>
                <a:t>Phase</a:t>
              </a:r>
            </a:p>
          </p:txBody>
        </p:sp>
        <p:sp>
          <p:nvSpPr>
            <p:cNvPr id="19" name="TextBox 18"/>
            <p:cNvSpPr txBox="1"/>
            <p:nvPr/>
          </p:nvSpPr>
          <p:spPr bwMode="auto">
            <a:xfrm>
              <a:off x="4619786" y="5589240"/>
              <a:ext cx="1032334" cy="469359"/>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Post Silicon</a:t>
              </a:r>
            </a:p>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Validation </a:t>
              </a:r>
            </a:p>
          </p:txBody>
        </p:sp>
        <p:sp>
          <p:nvSpPr>
            <p:cNvPr id="20" name="TextBox 19"/>
            <p:cNvSpPr txBox="1"/>
            <p:nvPr/>
          </p:nvSpPr>
          <p:spPr bwMode="auto">
            <a:xfrm>
              <a:off x="5796136" y="5600606"/>
              <a:ext cx="1195840" cy="469359"/>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Software</a:t>
              </a:r>
            </a:p>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Development</a:t>
              </a:r>
            </a:p>
          </p:txBody>
        </p:sp>
        <p:sp>
          <p:nvSpPr>
            <p:cNvPr id="22" name="TextBox 21"/>
            <p:cNvSpPr txBox="1"/>
            <p:nvPr/>
          </p:nvSpPr>
          <p:spPr bwMode="auto">
            <a:xfrm>
              <a:off x="7127997" y="5581371"/>
              <a:ext cx="1027525" cy="21544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In the Field</a:t>
              </a:r>
            </a:p>
          </p:txBody>
        </p:sp>
        <p:cxnSp>
          <p:nvCxnSpPr>
            <p:cNvPr id="26" name="Straight Connector 25"/>
            <p:cNvCxnSpPr/>
            <p:nvPr/>
          </p:nvCxnSpPr>
          <p:spPr>
            <a:xfrm>
              <a:off x="1716217" y="1791360"/>
              <a:ext cx="0" cy="4305865"/>
            </a:xfrm>
            <a:prstGeom prst="line">
              <a:avLst/>
            </a:prstGeom>
            <a:ln w="12700">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524529" y="1822506"/>
              <a:ext cx="0" cy="4305865"/>
            </a:xfrm>
            <a:prstGeom prst="line">
              <a:avLst/>
            </a:prstGeom>
            <a:ln w="12700">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724128" y="1764100"/>
              <a:ext cx="0" cy="4305865"/>
            </a:xfrm>
            <a:prstGeom prst="line">
              <a:avLst/>
            </a:prstGeom>
            <a:ln w="12700">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092280" y="1791359"/>
              <a:ext cx="0" cy="4305865"/>
            </a:xfrm>
            <a:prstGeom prst="line">
              <a:avLst/>
            </a:prstGeom>
            <a:ln w="12700">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grpSp>
      <p:sp>
        <p:nvSpPr>
          <p:cNvPr id="38" name="TextBox 37"/>
          <p:cNvSpPr txBox="1"/>
          <p:nvPr/>
        </p:nvSpPr>
        <p:spPr bwMode="auto">
          <a:xfrm>
            <a:off x="84813" y="2852936"/>
            <a:ext cx="516167" cy="215444"/>
          </a:xfrm>
          <a:prstGeom prst="rect">
            <a:avLst/>
          </a:prstGeom>
          <a:noFill/>
          <a:ln w="9525">
            <a:noFill/>
            <a:miter lim="800000"/>
            <a:headEnd/>
            <a:tailEnd/>
          </a:ln>
          <a:effectLst/>
        </p:spPr>
        <p:txBody>
          <a:bodyPr wrap="non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GB" sz="1400" kern="0" dirty="0" smtClean="0">
                <a:latin typeface="Verdana" pitchFamily="34" charset="0"/>
                <a:ea typeface="Verdana" pitchFamily="34" charset="0"/>
                <a:cs typeface="Verdana" pitchFamily="34" charset="0"/>
              </a:rPr>
              <a:t>£10m</a:t>
            </a:r>
          </a:p>
        </p:txBody>
      </p:sp>
    </p:spTree>
    <p:extLst>
      <p:ext uri="{BB962C8B-B14F-4D97-AF65-F5344CB8AC3E}">
        <p14:creationId xmlns:p14="http://schemas.microsoft.com/office/powerpoint/2010/main" val="1439832838"/>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ummary</a:t>
            </a:r>
            <a:endParaRPr lang="en-GB" dirty="0"/>
          </a:p>
        </p:txBody>
      </p:sp>
      <p:sp>
        <p:nvSpPr>
          <p:cNvPr id="3" name="Content Placeholder 2"/>
          <p:cNvSpPr>
            <a:spLocks noGrp="1"/>
          </p:cNvSpPr>
          <p:nvPr>
            <p:ph sz="quarter" idx="13"/>
          </p:nvPr>
        </p:nvSpPr>
        <p:spPr/>
        <p:txBody>
          <a:bodyPr/>
          <a:lstStyle/>
          <a:p>
            <a:r>
              <a:rPr lang="en-GB" dirty="0" smtClean="0"/>
              <a:t>Typically &gt; 50% - and often &gt; 70% - of project spent in verification</a:t>
            </a:r>
          </a:p>
          <a:p>
            <a:r>
              <a:rPr lang="en-GB" dirty="0" smtClean="0"/>
              <a:t>Economic imperative</a:t>
            </a:r>
          </a:p>
          <a:p>
            <a:pPr lvl="1"/>
            <a:r>
              <a:rPr lang="en-GB" dirty="0" smtClean="0"/>
              <a:t>Fixing hardware bugs can be very expensive</a:t>
            </a:r>
          </a:p>
          <a:p>
            <a:pPr lvl="1"/>
            <a:r>
              <a:rPr lang="en-GB" dirty="0" smtClean="0"/>
              <a:t>Litigation can be very expensive</a:t>
            </a:r>
          </a:p>
          <a:p>
            <a:pPr lvl="1"/>
            <a:r>
              <a:rPr lang="en-GB" dirty="0" smtClean="0"/>
              <a:t>Loss of goodwill can be very expensive</a:t>
            </a:r>
          </a:p>
          <a:p>
            <a:r>
              <a:rPr lang="en-GB" dirty="0" smtClean="0"/>
              <a:t>Safety</a:t>
            </a:r>
          </a:p>
          <a:p>
            <a:pPr lvl="1"/>
            <a:r>
              <a:rPr lang="en-GB" dirty="0" smtClean="0"/>
              <a:t>Incorrect function can lead to loss of life</a:t>
            </a:r>
          </a:p>
          <a:p>
            <a:pPr lvl="1"/>
            <a:r>
              <a:rPr lang="en-GB" dirty="0" smtClean="0"/>
              <a:t>Since 2011 automotive electronics has it’s own safety standard – ISO26262</a:t>
            </a:r>
          </a:p>
          <a:p>
            <a:pPr lvl="1"/>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28</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Tree>
    <p:extLst>
      <p:ext uri="{BB962C8B-B14F-4D97-AF65-F5344CB8AC3E}">
        <p14:creationId xmlns:p14="http://schemas.microsoft.com/office/powerpoint/2010/main" val="1261140659"/>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Module and System Level Verification</a:t>
            </a:r>
            <a:endParaRPr lang="en-GB" dirty="0"/>
          </a:p>
        </p:txBody>
      </p:sp>
    </p:spTree>
    <p:extLst>
      <p:ext uri="{BB962C8B-B14F-4D97-AF65-F5344CB8AC3E}">
        <p14:creationId xmlns:p14="http://schemas.microsoft.com/office/powerpoint/2010/main" val="1743879580"/>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Semiconductor Industry</a:t>
            </a:r>
            <a:endParaRPr lang="en-GB" dirty="0"/>
          </a:p>
        </p:txBody>
      </p:sp>
    </p:spTree>
    <p:extLst>
      <p:ext uri="{BB962C8B-B14F-4D97-AF65-F5344CB8AC3E}">
        <p14:creationId xmlns:p14="http://schemas.microsoft.com/office/powerpoint/2010/main" val="2307549154"/>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C279TA Compute and ADAS </a:t>
            </a:r>
            <a:r>
              <a:rPr lang="en-GB" dirty="0" smtClean="0"/>
              <a:t>Sub-system</a:t>
            </a:r>
            <a:endParaRPr lang="en-GB" dirty="0"/>
          </a:p>
        </p:txBody>
      </p:sp>
      <p:sp>
        <p:nvSpPr>
          <p:cNvPr id="3" name="Content Placeholder 2"/>
          <p:cNvSpPr>
            <a:spLocks noGrp="1"/>
          </p:cNvSpPr>
          <p:nvPr>
            <p:ph sz="quarter" idx="13"/>
          </p:nvPr>
        </p:nvSpPr>
        <p:spPr>
          <a:xfrm>
            <a:off x="254476" y="3933056"/>
            <a:ext cx="8641655" cy="2448694"/>
          </a:xfrm>
        </p:spPr>
        <p:txBody>
          <a:bodyPr/>
          <a:lstStyle/>
          <a:p>
            <a:r>
              <a:rPr lang="en-GB" dirty="0" smtClean="0"/>
              <a:t>Bristol responsible for two sub-systems</a:t>
            </a:r>
          </a:p>
          <a:p>
            <a:pPr lvl="1"/>
            <a:r>
              <a:rPr lang="en-GB" dirty="0" smtClean="0"/>
              <a:t>The sub-system responsible for the ‘compute’</a:t>
            </a:r>
          </a:p>
          <a:p>
            <a:pPr lvl="1"/>
            <a:r>
              <a:rPr lang="en-GB" dirty="0" smtClean="0"/>
              <a:t>The ADAS sub-system</a:t>
            </a:r>
          </a:p>
          <a:p>
            <a:r>
              <a:rPr lang="en-GB" dirty="0" smtClean="0"/>
              <a:t>Includes the development of complex IP – such as </a:t>
            </a:r>
            <a:r>
              <a:rPr lang="en-GB" dirty="0" err="1" smtClean="0"/>
              <a:t>TriCore</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30</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860" y="1052736"/>
            <a:ext cx="7609056" cy="2664296"/>
          </a:xfrm>
          <a:prstGeom prst="rect">
            <a:avLst/>
          </a:prstGeom>
        </p:spPr>
      </p:pic>
    </p:spTree>
    <p:extLst>
      <p:ext uri="{BB962C8B-B14F-4D97-AF65-F5344CB8AC3E}">
        <p14:creationId xmlns:p14="http://schemas.microsoft.com/office/powerpoint/2010/main" val="1231746558"/>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hallenges</a:t>
            </a:r>
            <a:endParaRPr lang="en-GB" dirty="0"/>
          </a:p>
        </p:txBody>
      </p:sp>
      <p:sp>
        <p:nvSpPr>
          <p:cNvPr id="3" name="Content Placeholder 2"/>
          <p:cNvSpPr>
            <a:spLocks noGrp="1"/>
          </p:cNvSpPr>
          <p:nvPr>
            <p:ph sz="quarter" idx="13"/>
          </p:nvPr>
        </p:nvSpPr>
        <p:spPr/>
        <p:txBody>
          <a:bodyPr>
            <a:normAutofit/>
          </a:bodyPr>
          <a:lstStyle/>
          <a:p>
            <a:r>
              <a:rPr lang="en-GB" b="1" dirty="0"/>
              <a:t>Complexity</a:t>
            </a:r>
            <a:r>
              <a:rPr lang="en-GB" dirty="0"/>
              <a:t> makes it </a:t>
            </a:r>
            <a:r>
              <a:rPr lang="en-GB" dirty="0" smtClean="0"/>
              <a:t>infeasible </a:t>
            </a:r>
            <a:r>
              <a:rPr lang="en-GB" dirty="0"/>
              <a:t>for single </a:t>
            </a:r>
            <a:r>
              <a:rPr lang="en-GB" dirty="0" smtClean="0"/>
              <a:t>intellect </a:t>
            </a:r>
            <a:r>
              <a:rPr lang="en-GB" dirty="0"/>
              <a:t>to fully </a:t>
            </a:r>
            <a:r>
              <a:rPr lang="en-GB" dirty="0" smtClean="0"/>
              <a:t>understand </a:t>
            </a:r>
            <a:r>
              <a:rPr lang="en-GB" dirty="0"/>
              <a:t>verification </a:t>
            </a:r>
            <a:r>
              <a:rPr lang="en-GB" dirty="0" smtClean="0"/>
              <a:t>requirements of a complete sub-system</a:t>
            </a:r>
          </a:p>
          <a:p>
            <a:pPr lvl="1"/>
            <a:r>
              <a:rPr lang="en-GB" dirty="0" smtClean="0"/>
              <a:t>Currently ~30 engineers working in verification </a:t>
            </a:r>
            <a:endParaRPr lang="en-GB" dirty="0"/>
          </a:p>
          <a:p>
            <a:r>
              <a:rPr lang="en-GB" b="1" dirty="0" smtClean="0"/>
              <a:t>Controllability</a:t>
            </a:r>
            <a:r>
              <a:rPr lang="en-GB" dirty="0" smtClean="0"/>
              <a:t> – need complex software to control module inputs at sub-system level</a:t>
            </a:r>
          </a:p>
          <a:p>
            <a:pPr lvl="1"/>
            <a:r>
              <a:rPr lang="en-GB" dirty="0" smtClean="0"/>
              <a:t>Very difficult to stress interfaces sufficiently to reach all corner cases</a:t>
            </a:r>
          </a:p>
          <a:p>
            <a:r>
              <a:rPr lang="en-GB" b="1" dirty="0" smtClean="0"/>
              <a:t>Observability</a:t>
            </a:r>
            <a:r>
              <a:rPr lang="en-GB" dirty="0" smtClean="0"/>
              <a:t> – self-checking software not sufficient to observe all failures -&gt; need models and assertions</a:t>
            </a:r>
          </a:p>
          <a:p>
            <a:r>
              <a:rPr lang="en-GB" b="1" dirty="0" smtClean="0"/>
              <a:t>Run times</a:t>
            </a:r>
          </a:p>
          <a:p>
            <a:pPr lvl="2"/>
            <a:r>
              <a:rPr lang="en-GB" dirty="0" smtClean="0"/>
              <a:t>Simulation slows down as amount of logic increases</a:t>
            </a:r>
          </a:p>
          <a:p>
            <a:pPr lvl="2"/>
            <a:r>
              <a:rPr lang="en-GB" dirty="0" smtClean="0"/>
              <a:t>Formal tools can only prove simple properties on large designs</a:t>
            </a:r>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31</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Tree>
    <p:extLst>
      <p:ext uri="{BB962C8B-B14F-4D97-AF65-F5344CB8AC3E}">
        <p14:creationId xmlns:p14="http://schemas.microsoft.com/office/powerpoint/2010/main" val="1653996321"/>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ddressing the challenges</a:t>
            </a:r>
            <a:endParaRPr lang="en-GB" dirty="0"/>
          </a:p>
        </p:txBody>
      </p:sp>
      <p:sp>
        <p:nvSpPr>
          <p:cNvPr id="3" name="Content Placeholder 2"/>
          <p:cNvSpPr>
            <a:spLocks noGrp="1"/>
          </p:cNvSpPr>
          <p:nvPr>
            <p:ph sz="quarter" idx="13"/>
          </p:nvPr>
        </p:nvSpPr>
        <p:spPr>
          <a:xfrm>
            <a:off x="250824" y="1700808"/>
            <a:ext cx="8641655" cy="4680942"/>
          </a:xfrm>
        </p:spPr>
        <p:txBody>
          <a:bodyPr>
            <a:normAutofit/>
          </a:bodyPr>
          <a:lstStyle/>
          <a:p>
            <a:r>
              <a:rPr lang="en-GB" dirty="0"/>
              <a:t>Divide</a:t>
            </a:r>
            <a:r>
              <a:rPr lang="en-GB" b="1" dirty="0"/>
              <a:t> </a:t>
            </a:r>
            <a:r>
              <a:rPr lang="en-GB" dirty="0" smtClean="0"/>
              <a:t>systems into sub-systems and sub-systems </a:t>
            </a:r>
            <a:r>
              <a:rPr lang="en-GB" dirty="0"/>
              <a:t>into modules</a:t>
            </a:r>
          </a:p>
          <a:p>
            <a:pPr lvl="1"/>
            <a:r>
              <a:rPr lang="en-GB" dirty="0"/>
              <a:t>Split at standard and simple interfaces</a:t>
            </a:r>
          </a:p>
          <a:p>
            <a:pPr lvl="2"/>
            <a:r>
              <a:rPr lang="en-GB" dirty="0"/>
              <a:t>Standard interfaces such as busses</a:t>
            </a:r>
          </a:p>
          <a:p>
            <a:pPr lvl="2"/>
            <a:r>
              <a:rPr lang="en-GB" dirty="0"/>
              <a:t>Simple interfaces may just be </a:t>
            </a:r>
            <a:r>
              <a:rPr lang="en-GB" dirty="0" smtClean="0"/>
              <a:t>handshakes</a:t>
            </a:r>
          </a:p>
          <a:p>
            <a:pPr lvl="1"/>
            <a:r>
              <a:rPr lang="en-GB" dirty="0" smtClean="0"/>
              <a:t>Minimises risks of missing bugs in module interaction</a:t>
            </a:r>
          </a:p>
          <a:p>
            <a:pPr lvl="1"/>
            <a:r>
              <a:rPr lang="en-GB" dirty="0" smtClean="0"/>
              <a:t>Can end up with large modules – such as processors</a:t>
            </a:r>
          </a:p>
          <a:p>
            <a:r>
              <a:rPr lang="en-GB" dirty="0" smtClean="0"/>
              <a:t>Verification is then split</a:t>
            </a:r>
          </a:p>
          <a:p>
            <a:pPr lvl="1"/>
            <a:r>
              <a:rPr lang="en-GB" dirty="0" smtClean="0"/>
              <a:t>Module level - fully stresses module functionality</a:t>
            </a:r>
          </a:p>
          <a:p>
            <a:pPr lvl="1"/>
            <a:r>
              <a:rPr lang="en-GB" dirty="0" smtClean="0"/>
              <a:t>Sub-system and system level – checks interactions between modules and sub-systems</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32</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7" name="Rectangle 6"/>
          <p:cNvSpPr/>
          <p:nvPr/>
        </p:nvSpPr>
        <p:spPr>
          <a:xfrm>
            <a:off x="251520" y="1052736"/>
            <a:ext cx="8353036" cy="461665"/>
          </a:xfrm>
          <a:prstGeom prst="rect">
            <a:avLst/>
          </a:prstGeom>
          <a:solidFill>
            <a:schemeClr val="accent3"/>
          </a:solidFill>
        </p:spPr>
        <p:txBody>
          <a:bodyPr wrap="square">
            <a:spAutoFit/>
          </a:bodyPr>
          <a:lstStyle/>
          <a:p>
            <a:pPr algn="ctr"/>
            <a:r>
              <a:rPr lang="en-GB" dirty="0" smtClean="0"/>
              <a:t>Divide and Conquer</a:t>
            </a:r>
            <a:endParaRPr lang="en-GB" dirty="0"/>
          </a:p>
        </p:txBody>
      </p:sp>
    </p:spTree>
    <p:extLst>
      <p:ext uri="{BB962C8B-B14F-4D97-AF65-F5344CB8AC3E}">
        <p14:creationId xmlns:p14="http://schemas.microsoft.com/office/powerpoint/2010/main" val="1325736309"/>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odule Level Verification</a:t>
            </a:r>
            <a:endParaRPr lang="en-GB" dirty="0"/>
          </a:p>
        </p:txBody>
      </p:sp>
      <p:sp>
        <p:nvSpPr>
          <p:cNvPr id="3" name="Content Placeholder 2"/>
          <p:cNvSpPr>
            <a:spLocks noGrp="1"/>
          </p:cNvSpPr>
          <p:nvPr>
            <p:ph sz="quarter" idx="13"/>
          </p:nvPr>
        </p:nvSpPr>
        <p:spPr>
          <a:xfrm>
            <a:off x="250824" y="1700808"/>
            <a:ext cx="8641655" cy="4680942"/>
          </a:xfrm>
        </p:spPr>
        <p:txBody>
          <a:bodyPr>
            <a:normAutofit/>
          </a:bodyPr>
          <a:lstStyle/>
          <a:p>
            <a:r>
              <a:rPr lang="en-GB" dirty="0" smtClean="0"/>
              <a:t>Rigorous verification of complete module</a:t>
            </a:r>
          </a:p>
          <a:p>
            <a:r>
              <a:rPr lang="en-GB" dirty="0" smtClean="0"/>
              <a:t>Sufficient stimuli has been applied to achieve</a:t>
            </a:r>
          </a:p>
          <a:p>
            <a:pPr lvl="1"/>
            <a:r>
              <a:rPr lang="en-GB" dirty="0" smtClean="0"/>
              <a:t>Exacting code </a:t>
            </a:r>
            <a:r>
              <a:rPr lang="en-GB" dirty="0"/>
              <a:t>coverage goals (e.g. 100% line, branch and toggle coverage</a:t>
            </a:r>
            <a:r>
              <a:rPr lang="en-GB" dirty="0" smtClean="0"/>
              <a:t>)</a:t>
            </a:r>
          </a:p>
          <a:p>
            <a:pPr lvl="1"/>
            <a:r>
              <a:rPr lang="en-GB" dirty="0" smtClean="0"/>
              <a:t>Functional coverage on </a:t>
            </a:r>
          </a:p>
          <a:p>
            <a:pPr lvl="2"/>
            <a:r>
              <a:rPr lang="en-GB" dirty="0" smtClean="0"/>
              <a:t>High level requirements</a:t>
            </a:r>
            <a:endParaRPr lang="en-GB" dirty="0"/>
          </a:p>
          <a:p>
            <a:pPr lvl="2"/>
            <a:r>
              <a:rPr lang="en-GB" dirty="0" smtClean="0"/>
              <a:t>All features </a:t>
            </a:r>
            <a:r>
              <a:rPr lang="en-GB" dirty="0"/>
              <a:t>in Target </a:t>
            </a:r>
            <a:r>
              <a:rPr lang="en-GB" dirty="0" smtClean="0"/>
              <a:t>Specification</a:t>
            </a:r>
            <a:endParaRPr lang="en-GB" dirty="0"/>
          </a:p>
          <a:p>
            <a:pPr lvl="2"/>
            <a:r>
              <a:rPr lang="en-GB" dirty="0" smtClean="0"/>
              <a:t>All design corner cases</a:t>
            </a:r>
          </a:p>
          <a:p>
            <a:pPr lvl="2"/>
            <a:r>
              <a:rPr lang="en-GB" dirty="0" smtClean="0"/>
              <a:t>…</a:t>
            </a:r>
            <a:endParaRPr lang="en-GB" dirty="0"/>
          </a:p>
          <a:p>
            <a:r>
              <a:rPr lang="en-GB" dirty="0" smtClean="0"/>
              <a:t>And sufficient checkers are in place to detect any failure conditions</a:t>
            </a:r>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33</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7" name="Rectangle 6"/>
          <p:cNvSpPr/>
          <p:nvPr/>
        </p:nvSpPr>
        <p:spPr>
          <a:xfrm>
            <a:off x="251520" y="1052736"/>
            <a:ext cx="8353036" cy="461665"/>
          </a:xfrm>
          <a:prstGeom prst="rect">
            <a:avLst/>
          </a:prstGeom>
          <a:solidFill>
            <a:schemeClr val="accent3">
              <a:lumMod val="60000"/>
              <a:lumOff val="40000"/>
            </a:schemeClr>
          </a:solidFill>
        </p:spPr>
        <p:txBody>
          <a:bodyPr wrap="square">
            <a:spAutoFit/>
          </a:bodyPr>
          <a:lstStyle/>
          <a:p>
            <a:pPr algn="ctr"/>
            <a:r>
              <a:rPr lang="en-GB" dirty="0" smtClean="0"/>
              <a:t>Goals of </a:t>
            </a:r>
            <a:r>
              <a:rPr lang="en-GB" dirty="0"/>
              <a:t>module level </a:t>
            </a:r>
            <a:r>
              <a:rPr lang="en-GB" dirty="0" smtClean="0"/>
              <a:t>verification</a:t>
            </a:r>
            <a:endParaRPr lang="en-GB" dirty="0"/>
          </a:p>
        </p:txBody>
      </p:sp>
    </p:spTree>
    <p:extLst>
      <p:ext uri="{BB962C8B-B14F-4D97-AF65-F5344CB8AC3E}">
        <p14:creationId xmlns:p14="http://schemas.microsoft.com/office/powerpoint/2010/main" val="2481211409"/>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odule Level Verification</a:t>
            </a:r>
          </a:p>
        </p:txBody>
      </p:sp>
      <p:sp>
        <p:nvSpPr>
          <p:cNvPr id="3" name="Content Placeholder 2"/>
          <p:cNvSpPr>
            <a:spLocks noGrp="1"/>
          </p:cNvSpPr>
          <p:nvPr>
            <p:ph sz="quarter" idx="13"/>
          </p:nvPr>
        </p:nvSpPr>
        <p:spPr>
          <a:xfrm>
            <a:off x="250824" y="1772816"/>
            <a:ext cx="8641655" cy="4608934"/>
          </a:xfrm>
        </p:spPr>
        <p:txBody>
          <a:bodyPr/>
          <a:lstStyle/>
          <a:p>
            <a:r>
              <a:rPr lang="en-GB" dirty="0" smtClean="0"/>
              <a:t>Simulation with test-case automation</a:t>
            </a:r>
            <a:endParaRPr lang="en-GB" dirty="0"/>
          </a:p>
          <a:p>
            <a:pPr lvl="1"/>
            <a:r>
              <a:rPr lang="en-GB" dirty="0"/>
              <a:t>Stimuli generated by constrained-random generation (using </a:t>
            </a:r>
            <a:r>
              <a:rPr lang="en-GB" dirty="0" err="1"/>
              <a:t>Specman</a:t>
            </a:r>
            <a:r>
              <a:rPr lang="en-GB" dirty="0"/>
              <a:t>/e)</a:t>
            </a:r>
          </a:p>
          <a:p>
            <a:pPr lvl="2"/>
            <a:r>
              <a:rPr lang="en-GB" dirty="0"/>
              <a:t>Many thousands of scenarios covering many millions of transactions generated every night</a:t>
            </a:r>
          </a:p>
          <a:p>
            <a:pPr lvl="2"/>
            <a:r>
              <a:rPr lang="en-GB" dirty="0"/>
              <a:t>Most interesting scenarios saved and re-run across bug fixes</a:t>
            </a:r>
          </a:p>
          <a:p>
            <a:pPr lvl="1"/>
            <a:r>
              <a:rPr lang="en-GB" dirty="0"/>
              <a:t>Checking done by</a:t>
            </a:r>
          </a:p>
          <a:p>
            <a:pPr lvl="2"/>
            <a:r>
              <a:rPr lang="en-GB" dirty="0"/>
              <a:t>Transaction-level (!) reference models and scoreboards </a:t>
            </a:r>
          </a:p>
          <a:p>
            <a:pPr lvl="2"/>
            <a:r>
              <a:rPr lang="en-GB" dirty="0"/>
              <a:t>Assertions to check signal and timing behaviour</a:t>
            </a:r>
          </a:p>
          <a:p>
            <a:r>
              <a:rPr lang="en-GB" dirty="0"/>
              <a:t>Targeted use of formal verification</a:t>
            </a:r>
          </a:p>
          <a:p>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34</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7" name="Rectangle 6"/>
          <p:cNvSpPr/>
          <p:nvPr/>
        </p:nvSpPr>
        <p:spPr>
          <a:xfrm>
            <a:off x="251520" y="1052736"/>
            <a:ext cx="8353036" cy="461665"/>
          </a:xfrm>
          <a:prstGeom prst="rect">
            <a:avLst/>
          </a:prstGeom>
          <a:solidFill>
            <a:schemeClr val="accent3">
              <a:lumMod val="60000"/>
              <a:lumOff val="40000"/>
            </a:schemeClr>
          </a:solidFill>
        </p:spPr>
        <p:txBody>
          <a:bodyPr wrap="square">
            <a:spAutoFit/>
          </a:bodyPr>
          <a:lstStyle/>
          <a:p>
            <a:pPr algn="ctr"/>
            <a:r>
              <a:rPr lang="en-GB" dirty="0" smtClean="0"/>
              <a:t>Goals achieved through</a:t>
            </a:r>
            <a:endParaRPr lang="en-GB" dirty="0"/>
          </a:p>
        </p:txBody>
      </p:sp>
    </p:spTree>
    <p:extLst>
      <p:ext uri="{BB962C8B-B14F-4D97-AF65-F5344CB8AC3E}">
        <p14:creationId xmlns:p14="http://schemas.microsoft.com/office/powerpoint/2010/main" val="1702976907"/>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ystem and Sub-system Level Verification</a:t>
            </a:r>
            <a:endParaRPr lang="en-GB" dirty="0"/>
          </a:p>
        </p:txBody>
      </p:sp>
      <p:sp>
        <p:nvSpPr>
          <p:cNvPr id="3" name="Content Placeholder 2"/>
          <p:cNvSpPr>
            <a:spLocks noGrp="1"/>
          </p:cNvSpPr>
          <p:nvPr>
            <p:ph sz="quarter" idx="13"/>
          </p:nvPr>
        </p:nvSpPr>
        <p:spPr>
          <a:xfrm>
            <a:off x="250824" y="1844824"/>
            <a:ext cx="8641655" cy="4536926"/>
          </a:xfrm>
        </p:spPr>
        <p:txBody>
          <a:bodyPr>
            <a:normAutofit/>
          </a:bodyPr>
          <a:lstStyle/>
          <a:p>
            <a:r>
              <a:rPr lang="en-GB" dirty="0" smtClean="0"/>
              <a:t>Typical Goals</a:t>
            </a:r>
            <a:endParaRPr lang="en-GB" dirty="0"/>
          </a:p>
          <a:p>
            <a:pPr lvl="1"/>
            <a:r>
              <a:rPr lang="en-GB" dirty="0"/>
              <a:t>Modules are connected together correctly</a:t>
            </a:r>
          </a:p>
          <a:p>
            <a:pPr lvl="1"/>
            <a:r>
              <a:rPr lang="en-GB" dirty="0"/>
              <a:t>Functionality requiring interactions between </a:t>
            </a:r>
            <a:r>
              <a:rPr lang="en-GB" dirty="0" smtClean="0"/>
              <a:t>modules</a:t>
            </a:r>
            <a:endParaRPr lang="en-GB" dirty="0"/>
          </a:p>
          <a:p>
            <a:pPr lvl="1"/>
            <a:r>
              <a:rPr lang="en-GB" dirty="0"/>
              <a:t>Main metric - toggle coverage on module </a:t>
            </a:r>
            <a:r>
              <a:rPr lang="en-GB" dirty="0" smtClean="0"/>
              <a:t>I/O</a:t>
            </a:r>
            <a:endParaRPr lang="en-GB" dirty="0"/>
          </a:p>
          <a:p>
            <a:r>
              <a:rPr lang="en-GB" dirty="0" smtClean="0"/>
              <a:t>Goals </a:t>
            </a:r>
            <a:r>
              <a:rPr lang="en-GB" dirty="0"/>
              <a:t>typically achieved through</a:t>
            </a:r>
          </a:p>
          <a:p>
            <a:pPr lvl="1"/>
            <a:r>
              <a:rPr lang="en-GB" dirty="0" smtClean="0"/>
              <a:t>Self-checking C/C++ directed test cases, use-cases and benchmarks</a:t>
            </a:r>
          </a:p>
          <a:p>
            <a:pPr lvl="1"/>
            <a:r>
              <a:rPr lang="en-GB" dirty="0" smtClean="0"/>
              <a:t>Growing use of</a:t>
            </a:r>
          </a:p>
          <a:p>
            <a:pPr lvl="2"/>
            <a:r>
              <a:rPr lang="en-GB" dirty="0" smtClean="0"/>
              <a:t>Constrained-random (and graph-based) techniques</a:t>
            </a:r>
          </a:p>
          <a:p>
            <a:pPr lvl="2"/>
            <a:r>
              <a:rPr lang="en-GB" dirty="0" smtClean="0"/>
              <a:t>Reference models and assertions</a:t>
            </a:r>
          </a:p>
          <a:p>
            <a:pPr lvl="2"/>
            <a:r>
              <a:rPr lang="en-GB" dirty="0" smtClean="0"/>
              <a:t>Very targeted formal verification</a:t>
            </a:r>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35</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7" name="Rectangle 6"/>
          <p:cNvSpPr/>
          <p:nvPr/>
        </p:nvSpPr>
        <p:spPr>
          <a:xfrm>
            <a:off x="395536" y="1196752"/>
            <a:ext cx="8352928" cy="461665"/>
          </a:xfrm>
          <a:prstGeom prst="rect">
            <a:avLst/>
          </a:prstGeom>
          <a:solidFill>
            <a:schemeClr val="accent3">
              <a:lumMod val="60000"/>
              <a:lumOff val="40000"/>
            </a:schemeClr>
          </a:solidFill>
        </p:spPr>
        <p:txBody>
          <a:bodyPr wrap="square">
            <a:spAutoFit/>
          </a:bodyPr>
          <a:lstStyle/>
          <a:p>
            <a:pPr algn="ctr"/>
            <a:r>
              <a:rPr lang="en-GB" dirty="0" smtClean="0"/>
              <a:t>Target: Verify </a:t>
            </a:r>
            <a:r>
              <a:rPr lang="en-GB" dirty="0"/>
              <a:t>interactions between modules</a:t>
            </a:r>
          </a:p>
        </p:txBody>
      </p:sp>
    </p:spTree>
    <p:extLst>
      <p:ext uri="{BB962C8B-B14F-4D97-AF65-F5344CB8AC3E}">
        <p14:creationId xmlns:p14="http://schemas.microsoft.com/office/powerpoint/2010/main" val="504840936"/>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Verification Technologies</a:t>
            </a:r>
            <a:endParaRPr lang="en-GB" dirty="0"/>
          </a:p>
        </p:txBody>
      </p:sp>
    </p:spTree>
    <p:extLst>
      <p:ext uri="{BB962C8B-B14F-4D97-AF65-F5344CB8AC3E}">
        <p14:creationId xmlns:p14="http://schemas.microsoft.com/office/powerpoint/2010/main" val="1183197805"/>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Verification Technologies</a:t>
            </a:r>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37</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362420365"/>
              </p:ext>
            </p:extLst>
          </p:nvPr>
        </p:nvGraphicFramePr>
        <p:xfrm>
          <a:off x="251520" y="1397000"/>
          <a:ext cx="8568952" cy="4302759"/>
        </p:xfrm>
        <a:graphic>
          <a:graphicData uri="http://schemas.openxmlformats.org/drawingml/2006/table">
            <a:tbl>
              <a:tblPr firstRow="1" bandRow="1">
                <a:tableStyleId>{5C22544A-7EE6-4342-B048-85BDC9FD1C3A}</a:tableStyleId>
              </a:tblPr>
              <a:tblGrid>
                <a:gridCol w="4284476"/>
                <a:gridCol w="4284476"/>
              </a:tblGrid>
              <a:tr h="370840">
                <a:tc>
                  <a:txBody>
                    <a:bodyPr/>
                    <a:lstStyle/>
                    <a:p>
                      <a:r>
                        <a:rPr lang="en-GB" dirty="0" smtClean="0"/>
                        <a:t>Simulation</a:t>
                      </a:r>
                      <a:endParaRPr lang="en-GB" dirty="0"/>
                    </a:p>
                  </a:txBody>
                  <a:tcPr/>
                </a:tc>
                <a:tc>
                  <a:txBody>
                    <a:bodyPr/>
                    <a:lstStyle/>
                    <a:p>
                      <a:r>
                        <a:rPr lang="en-GB" dirty="0" smtClean="0"/>
                        <a:t>Formal</a:t>
                      </a:r>
                      <a:endParaRPr lang="en-GB" dirty="0"/>
                    </a:p>
                  </a:txBody>
                  <a:tcPr/>
                </a:tc>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dirty="0" smtClean="0"/>
                        <a:t>Run lots of example stimuli through DUV and check result</a:t>
                      </a:r>
                    </a:p>
                    <a:p>
                      <a:endParaRPr lang="en-GB" dirty="0"/>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dirty="0" smtClean="0"/>
                        <a:t>Exhaustive checking of properties</a:t>
                      </a:r>
                    </a:p>
                    <a:p>
                      <a:endParaRPr lang="en-GB" dirty="0"/>
                    </a:p>
                  </a:txBody>
                  <a:tcPr/>
                </a:tc>
              </a:tr>
              <a:tr h="370840">
                <a:tc>
                  <a:txBody>
                    <a:bodyPr/>
                    <a:lstStyle/>
                    <a:p>
                      <a:r>
                        <a:rPr lang="en-GB" dirty="0" smtClean="0"/>
                        <a:t>Complex Test</a:t>
                      </a:r>
                      <a:r>
                        <a:rPr lang="en-GB" baseline="0" dirty="0" smtClean="0"/>
                        <a:t> Bench</a:t>
                      </a:r>
                    </a:p>
                    <a:p>
                      <a:pPr marL="285750" indent="-285750">
                        <a:buFont typeface="Arial" panose="020B0604020202020204" pitchFamily="34" charset="0"/>
                        <a:buChar char="•"/>
                      </a:pPr>
                      <a:r>
                        <a:rPr lang="en-GB" baseline="0" dirty="0" smtClean="0"/>
                        <a:t>Test case automation</a:t>
                      </a:r>
                    </a:p>
                    <a:p>
                      <a:pPr marL="285750" indent="-285750">
                        <a:buFont typeface="Arial" panose="020B0604020202020204" pitchFamily="34" charset="0"/>
                        <a:buChar char="•"/>
                      </a:pPr>
                      <a:r>
                        <a:rPr lang="en-GB" dirty="0" smtClean="0"/>
                        <a:t>Reference</a:t>
                      </a:r>
                      <a:r>
                        <a:rPr lang="en-GB" baseline="0" dirty="0" smtClean="0"/>
                        <a:t> models</a:t>
                      </a:r>
                    </a:p>
                    <a:p>
                      <a:pPr marL="285750" indent="-285750">
                        <a:buFont typeface="Arial" panose="020B0604020202020204" pitchFamily="34" charset="0"/>
                        <a:buChar char="•"/>
                      </a:pPr>
                      <a:r>
                        <a:rPr lang="en-GB" baseline="0" dirty="0" smtClean="0"/>
                        <a:t>Object and aspect orientated languages</a:t>
                      </a:r>
                      <a:endParaRPr lang="en-GB" dirty="0"/>
                    </a:p>
                  </a:txBody>
                  <a:tcPr/>
                </a:tc>
                <a:tc>
                  <a:txBody>
                    <a:bodyPr/>
                    <a:lstStyle/>
                    <a:p>
                      <a:r>
                        <a:rPr lang="en-GB" dirty="0" smtClean="0"/>
                        <a:t>No test bench</a:t>
                      </a:r>
                      <a:r>
                        <a:rPr lang="en-GB" baseline="0" dirty="0" smtClean="0"/>
                        <a:t> </a:t>
                      </a:r>
                    </a:p>
                    <a:p>
                      <a:pPr marL="285750" indent="-285750">
                        <a:buFont typeface="Arial" panose="020B0604020202020204" pitchFamily="34" charset="0"/>
                        <a:buChar char="•"/>
                      </a:pPr>
                      <a:r>
                        <a:rPr lang="en-GB" baseline="0" dirty="0" smtClean="0"/>
                        <a:t>Only constraints on inputs to avoid false fails</a:t>
                      </a:r>
                    </a:p>
                    <a:p>
                      <a:pPr marL="285750" indent="-285750">
                        <a:buFont typeface="Arial" panose="020B0604020202020204" pitchFamily="34" charset="0"/>
                        <a:buChar char="•"/>
                      </a:pPr>
                      <a:r>
                        <a:rPr lang="en-GB" baseline="0" dirty="0" smtClean="0"/>
                        <a:t>Constraints developed alongside properties </a:t>
                      </a:r>
                      <a:endParaRPr lang="en-GB" dirty="0" smtClean="0"/>
                    </a:p>
                  </a:txBody>
                  <a:tcPr/>
                </a:tc>
              </a:tr>
              <a:tr h="370840">
                <a:tc>
                  <a:txBody>
                    <a:bodyPr/>
                    <a:lstStyle/>
                    <a:p>
                      <a:r>
                        <a:rPr lang="en-GB" dirty="0" smtClean="0"/>
                        <a:t>Can deal with any size</a:t>
                      </a:r>
                      <a:r>
                        <a:rPr lang="en-GB" baseline="0" dirty="0" smtClean="0"/>
                        <a:t> of design</a:t>
                      </a:r>
                    </a:p>
                    <a:p>
                      <a:pPr marL="285750" indent="-285750">
                        <a:buFont typeface="Arial" panose="020B0604020202020204" pitchFamily="34" charset="0"/>
                        <a:buChar char="•"/>
                      </a:pPr>
                      <a:r>
                        <a:rPr lang="en-GB" baseline="0" dirty="0" smtClean="0"/>
                        <a:t>Run times will slow down on large designs</a:t>
                      </a:r>
                      <a:endParaRPr lang="en-GB" dirty="0"/>
                    </a:p>
                  </a:txBody>
                  <a:tcPr/>
                </a:tc>
                <a:tc>
                  <a:txBody>
                    <a:bodyPr/>
                    <a:lstStyle/>
                    <a:p>
                      <a:r>
                        <a:rPr lang="en-GB" dirty="0" smtClean="0"/>
                        <a:t>Capacity limitations mean only simple</a:t>
                      </a:r>
                      <a:r>
                        <a:rPr lang="en-GB" baseline="0" dirty="0" smtClean="0"/>
                        <a:t> properties can be run on large designs</a:t>
                      </a:r>
                      <a:endParaRPr lang="en-GB" dirty="0"/>
                    </a:p>
                  </a:txBody>
                  <a:tcPr/>
                </a:tc>
              </a:tr>
              <a:tr h="370840">
                <a:tc>
                  <a:txBody>
                    <a:bodyPr/>
                    <a:lstStyle/>
                    <a:p>
                      <a:r>
                        <a:rPr lang="en-GB" dirty="0" smtClean="0"/>
                        <a:t>Measure effectivenes</a:t>
                      </a:r>
                      <a:r>
                        <a:rPr lang="en-GB" baseline="0" dirty="0" smtClean="0"/>
                        <a:t>s of stimuli and checkers using coverage</a:t>
                      </a:r>
                      <a:endParaRPr lang="en-GB" dirty="0"/>
                    </a:p>
                  </a:txBody>
                  <a:tcPr/>
                </a:tc>
                <a:tc>
                  <a:txBody>
                    <a:bodyPr/>
                    <a:lstStyle/>
                    <a:p>
                      <a:r>
                        <a:rPr lang="en-GB" dirty="0" smtClean="0"/>
                        <a:t>Measure</a:t>
                      </a:r>
                      <a:r>
                        <a:rPr lang="en-GB" baseline="0" dirty="0" smtClean="0"/>
                        <a:t> completeness of properties using coverage</a:t>
                      </a:r>
                      <a:endParaRPr lang="en-GB" dirty="0"/>
                    </a:p>
                  </a:txBody>
                  <a:tcPr/>
                </a:tc>
              </a:tr>
            </a:tbl>
          </a:graphicData>
        </a:graphic>
      </p:graphicFrame>
    </p:spTree>
    <p:extLst>
      <p:ext uri="{BB962C8B-B14F-4D97-AF65-F5344CB8AC3E}">
        <p14:creationId xmlns:p14="http://schemas.microsoft.com/office/powerpoint/2010/main" val="3010470863"/>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en we use formal</a:t>
            </a:r>
            <a:endParaRPr lang="en-GB" dirty="0"/>
          </a:p>
        </p:txBody>
      </p:sp>
      <p:sp>
        <p:nvSpPr>
          <p:cNvPr id="3" name="Content Placeholder 2"/>
          <p:cNvSpPr>
            <a:spLocks noGrp="1"/>
          </p:cNvSpPr>
          <p:nvPr>
            <p:ph sz="quarter" idx="13"/>
          </p:nvPr>
        </p:nvSpPr>
        <p:spPr>
          <a:xfrm>
            <a:off x="250825" y="1872250"/>
            <a:ext cx="2088232" cy="4581085"/>
          </a:xfrm>
          <a:solidFill>
            <a:schemeClr val="accent3">
              <a:lumMod val="20000"/>
              <a:lumOff val="80000"/>
            </a:schemeClr>
          </a:solidFill>
        </p:spPr>
        <p:txBody>
          <a:bodyPr>
            <a:normAutofit/>
          </a:bodyPr>
          <a:lstStyle/>
          <a:p>
            <a:r>
              <a:rPr lang="en-GB" dirty="0" smtClean="0"/>
              <a:t>No up-front test bench development</a:t>
            </a:r>
          </a:p>
          <a:p>
            <a:r>
              <a:rPr lang="en-GB" dirty="0" smtClean="0"/>
              <a:t>Take an Agile approach to design</a:t>
            </a:r>
          </a:p>
          <a:p>
            <a:r>
              <a:rPr lang="en-GB" dirty="0" smtClean="0"/>
              <a:t>Property-driven approach</a:t>
            </a:r>
          </a:p>
          <a:p>
            <a:r>
              <a:rPr lang="en-GB" dirty="0" smtClean="0"/>
              <a:t>Used by designers</a:t>
            </a:r>
          </a:p>
          <a:p>
            <a:endParaRPr lang="en-GB" dirty="0"/>
          </a:p>
        </p:txBody>
      </p:sp>
      <p:sp>
        <p:nvSpPr>
          <p:cNvPr id="4" name="Content Placeholder 3"/>
          <p:cNvSpPr>
            <a:spLocks noGrp="1"/>
          </p:cNvSpPr>
          <p:nvPr>
            <p:ph sz="quarter" idx="14"/>
          </p:nvPr>
        </p:nvSpPr>
        <p:spPr>
          <a:xfrm>
            <a:off x="2484438" y="1883732"/>
            <a:ext cx="2016125" cy="4569604"/>
          </a:xfrm>
          <a:solidFill>
            <a:schemeClr val="accent3">
              <a:lumMod val="20000"/>
              <a:lumOff val="80000"/>
            </a:schemeClr>
          </a:solidFill>
        </p:spPr>
        <p:txBody>
          <a:bodyPr>
            <a:normAutofit/>
          </a:bodyPr>
          <a:lstStyle/>
          <a:p>
            <a:r>
              <a:rPr lang="en-GB" dirty="0" smtClean="0"/>
              <a:t>Low effort and high return</a:t>
            </a:r>
          </a:p>
          <a:p>
            <a:r>
              <a:rPr lang="en-GB" dirty="0" smtClean="0"/>
              <a:t>E.g. maths blocks such as adders and ECC encoders and decoders</a:t>
            </a:r>
            <a:endParaRPr lang="en-GB" dirty="0"/>
          </a:p>
        </p:txBody>
      </p:sp>
      <p:sp>
        <p:nvSpPr>
          <p:cNvPr id="5" name="Content Placeholder 4"/>
          <p:cNvSpPr>
            <a:spLocks noGrp="1"/>
          </p:cNvSpPr>
          <p:nvPr>
            <p:ph sz="quarter" idx="15"/>
          </p:nvPr>
        </p:nvSpPr>
        <p:spPr>
          <a:xfrm>
            <a:off x="4643438" y="1883732"/>
            <a:ext cx="2016125" cy="4569604"/>
          </a:xfrm>
          <a:solidFill>
            <a:schemeClr val="accent3">
              <a:lumMod val="20000"/>
              <a:lumOff val="80000"/>
            </a:schemeClr>
          </a:solidFill>
        </p:spPr>
        <p:txBody>
          <a:bodyPr>
            <a:noAutofit/>
          </a:bodyPr>
          <a:lstStyle/>
          <a:p>
            <a:r>
              <a:rPr lang="en-GB" dirty="0"/>
              <a:t>High effort but still good </a:t>
            </a:r>
            <a:r>
              <a:rPr lang="en-GB" dirty="0" smtClean="0"/>
              <a:t>RFE</a:t>
            </a:r>
          </a:p>
          <a:p>
            <a:r>
              <a:rPr lang="en-GB" dirty="0" smtClean="0"/>
              <a:t>Candidate blocks:</a:t>
            </a:r>
          </a:p>
          <a:p>
            <a:r>
              <a:rPr lang="en-GB" dirty="0" smtClean="0"/>
              <a:t>Have many corner cases</a:t>
            </a:r>
          </a:p>
          <a:p>
            <a:r>
              <a:rPr lang="en-GB" dirty="0" smtClean="0"/>
              <a:t>Are mission critical</a:t>
            </a:r>
          </a:p>
          <a:p>
            <a:r>
              <a:rPr lang="en-GB" dirty="0" smtClean="0"/>
              <a:t>Highly configurable and highly re-used</a:t>
            </a:r>
          </a:p>
        </p:txBody>
      </p:sp>
      <p:sp>
        <p:nvSpPr>
          <p:cNvPr id="6" name="Content Placeholder 5"/>
          <p:cNvSpPr>
            <a:spLocks noGrp="1"/>
          </p:cNvSpPr>
          <p:nvPr>
            <p:ph sz="quarter" idx="16"/>
          </p:nvPr>
        </p:nvSpPr>
        <p:spPr>
          <a:xfrm>
            <a:off x="6804025" y="1883732"/>
            <a:ext cx="2088232" cy="4569604"/>
          </a:xfrm>
          <a:solidFill>
            <a:schemeClr val="accent3">
              <a:lumMod val="20000"/>
              <a:lumOff val="80000"/>
            </a:schemeClr>
          </a:solidFill>
        </p:spPr>
        <p:txBody>
          <a:bodyPr/>
          <a:lstStyle/>
          <a:p>
            <a:r>
              <a:rPr lang="en-GB" dirty="0" smtClean="0"/>
              <a:t>Properties generated by scripts or</a:t>
            </a:r>
          </a:p>
          <a:p>
            <a:r>
              <a:rPr lang="en-GB" dirty="0" smtClean="0"/>
              <a:t>Inbuilt push-button Formal Apps</a:t>
            </a:r>
          </a:p>
          <a:p>
            <a:r>
              <a:rPr lang="en-GB" dirty="0" smtClean="0"/>
              <a:t>Usable at (sub-) system level</a:t>
            </a:r>
          </a:p>
          <a:p>
            <a:r>
              <a:rPr lang="en-GB" dirty="0" smtClean="0"/>
              <a:t>E.g. Connectivity checks using xml </a:t>
            </a:r>
            <a:endParaRPr lang="en-GB" dirty="0"/>
          </a:p>
        </p:txBody>
      </p:sp>
      <p:sp>
        <p:nvSpPr>
          <p:cNvPr id="7" name="Slide Number Placeholder 6"/>
          <p:cNvSpPr>
            <a:spLocks noGrp="1"/>
          </p:cNvSpPr>
          <p:nvPr>
            <p:ph type="sldNum" sz="quarter" idx="4"/>
          </p:nvPr>
        </p:nvSpPr>
        <p:spPr/>
        <p:txBody>
          <a:bodyPr/>
          <a:lstStyle/>
          <a:p>
            <a:r>
              <a:rPr lang="en-GB" smtClean="0"/>
              <a:t> </a:t>
            </a:r>
            <a:fld id="{DC8B3668-E1AB-4560-B66B-CD4643A23BF9}" type="slidenum">
              <a:rPr lang="en-GB" smtClean="0"/>
              <a:pPr/>
              <a:t>38</a:t>
            </a:fld>
            <a:endParaRPr lang="en-GB" dirty="0"/>
          </a:p>
        </p:txBody>
      </p:sp>
      <p:sp>
        <p:nvSpPr>
          <p:cNvPr id="8" name="Date Placeholder 7"/>
          <p:cNvSpPr>
            <a:spLocks noGrp="1"/>
          </p:cNvSpPr>
          <p:nvPr>
            <p:ph type="dt" sz="half" idx="2"/>
          </p:nvPr>
        </p:nvSpPr>
        <p:spPr/>
        <p:txBody>
          <a:bodyPr/>
          <a:lstStyle/>
          <a:p>
            <a:r>
              <a:rPr lang="en-GB" smtClean="0"/>
              <a:t>set date</a:t>
            </a:r>
            <a:endParaRPr lang="en-GB" dirty="0"/>
          </a:p>
        </p:txBody>
      </p:sp>
      <p:sp>
        <p:nvSpPr>
          <p:cNvPr id="9" name="Footer Placeholder 8"/>
          <p:cNvSpPr>
            <a:spLocks noGrp="1"/>
          </p:cNvSpPr>
          <p:nvPr>
            <p:ph type="ftr" sz="quarter" idx="3"/>
          </p:nvPr>
        </p:nvSpPr>
        <p:spPr/>
        <p:txBody>
          <a:bodyPr/>
          <a:lstStyle/>
          <a:p>
            <a:r>
              <a:rPr lang="en-GB" smtClean="0"/>
              <a:t>Copyright © Infineon Technologies AG 2015. All rights reserved.</a:t>
            </a:r>
            <a:endParaRPr lang="en-GB" dirty="0"/>
          </a:p>
        </p:txBody>
      </p:sp>
      <p:sp>
        <p:nvSpPr>
          <p:cNvPr id="12" name="Rectangle 11"/>
          <p:cNvSpPr/>
          <p:nvPr/>
        </p:nvSpPr>
        <p:spPr>
          <a:xfrm>
            <a:off x="2489068" y="1052735"/>
            <a:ext cx="2016224" cy="830997"/>
          </a:xfrm>
          <a:prstGeom prst="rect">
            <a:avLst/>
          </a:prstGeom>
          <a:solidFill>
            <a:schemeClr val="accent3"/>
          </a:solidFill>
        </p:spPr>
        <p:txBody>
          <a:bodyPr wrap="square">
            <a:spAutoFit/>
          </a:bodyPr>
          <a:lstStyle/>
          <a:p>
            <a:pPr algn="ctr"/>
            <a:r>
              <a:rPr lang="en-GB" dirty="0" smtClean="0"/>
              <a:t>Formal Friendly</a:t>
            </a:r>
            <a:endParaRPr lang="en-GB" dirty="0"/>
          </a:p>
        </p:txBody>
      </p:sp>
      <p:sp>
        <p:nvSpPr>
          <p:cNvPr id="13" name="Rectangle 12"/>
          <p:cNvSpPr/>
          <p:nvPr/>
        </p:nvSpPr>
        <p:spPr>
          <a:xfrm>
            <a:off x="4643339" y="1052735"/>
            <a:ext cx="2016224" cy="830997"/>
          </a:xfrm>
          <a:prstGeom prst="rect">
            <a:avLst/>
          </a:prstGeom>
          <a:solidFill>
            <a:schemeClr val="accent3"/>
          </a:solidFill>
        </p:spPr>
        <p:txBody>
          <a:bodyPr wrap="square">
            <a:spAutoFit/>
          </a:bodyPr>
          <a:lstStyle/>
          <a:p>
            <a:pPr algn="ctr"/>
            <a:r>
              <a:rPr lang="en-GB" dirty="0" smtClean="0"/>
              <a:t>High Risk Blocks</a:t>
            </a:r>
            <a:endParaRPr lang="en-GB" dirty="0"/>
          </a:p>
        </p:txBody>
      </p:sp>
      <p:sp>
        <p:nvSpPr>
          <p:cNvPr id="14" name="Rectangle 13"/>
          <p:cNvSpPr/>
          <p:nvPr/>
        </p:nvSpPr>
        <p:spPr>
          <a:xfrm>
            <a:off x="6804025" y="1041254"/>
            <a:ext cx="2088455" cy="830997"/>
          </a:xfrm>
          <a:prstGeom prst="rect">
            <a:avLst/>
          </a:prstGeom>
          <a:solidFill>
            <a:schemeClr val="accent3"/>
          </a:solidFill>
        </p:spPr>
        <p:txBody>
          <a:bodyPr wrap="square">
            <a:spAutoFit/>
          </a:bodyPr>
          <a:lstStyle/>
          <a:p>
            <a:pPr algn="ctr"/>
            <a:r>
              <a:rPr lang="en-GB" dirty="0" smtClean="0"/>
              <a:t>Simple checks</a:t>
            </a:r>
            <a:endParaRPr lang="en-GB" dirty="0"/>
          </a:p>
        </p:txBody>
      </p:sp>
      <p:sp>
        <p:nvSpPr>
          <p:cNvPr id="15" name="Rectangle 14"/>
          <p:cNvSpPr/>
          <p:nvPr/>
        </p:nvSpPr>
        <p:spPr>
          <a:xfrm>
            <a:off x="250824" y="1046908"/>
            <a:ext cx="2088928" cy="830997"/>
          </a:xfrm>
          <a:prstGeom prst="rect">
            <a:avLst/>
          </a:prstGeom>
          <a:solidFill>
            <a:schemeClr val="accent3"/>
          </a:solidFill>
        </p:spPr>
        <p:txBody>
          <a:bodyPr wrap="square">
            <a:spAutoFit/>
          </a:bodyPr>
          <a:lstStyle/>
          <a:p>
            <a:pPr algn="ctr"/>
            <a:r>
              <a:rPr lang="en-GB" dirty="0" smtClean="0"/>
              <a:t>Early</a:t>
            </a:r>
          </a:p>
          <a:p>
            <a:pPr algn="ctr"/>
            <a:endParaRPr lang="en-GB" dirty="0"/>
          </a:p>
        </p:txBody>
      </p:sp>
    </p:spTree>
    <p:extLst>
      <p:ext uri="{BB962C8B-B14F-4D97-AF65-F5344CB8AC3E}">
        <p14:creationId xmlns:p14="http://schemas.microsoft.com/office/powerpoint/2010/main" val="381200929"/>
      </p:ext>
    </p:extLst>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en we use </a:t>
            </a:r>
            <a:r>
              <a:rPr lang="en-GB" dirty="0"/>
              <a:t>s</a:t>
            </a:r>
            <a:r>
              <a:rPr lang="en-GB" dirty="0" smtClean="0"/>
              <a:t>imulation</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39</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7" name="Rectangle 6"/>
          <p:cNvSpPr/>
          <p:nvPr/>
        </p:nvSpPr>
        <p:spPr>
          <a:xfrm>
            <a:off x="323528" y="1052735"/>
            <a:ext cx="8496944" cy="461665"/>
          </a:xfrm>
          <a:prstGeom prst="rect">
            <a:avLst/>
          </a:prstGeom>
          <a:solidFill>
            <a:schemeClr val="accent3"/>
          </a:solidFill>
        </p:spPr>
        <p:txBody>
          <a:bodyPr wrap="square">
            <a:spAutoFit/>
          </a:bodyPr>
          <a:lstStyle/>
          <a:p>
            <a:pPr algn="ctr"/>
            <a:r>
              <a:rPr lang="en-GB" dirty="0" smtClean="0"/>
              <a:t>Most of the time</a:t>
            </a:r>
            <a:endParaRPr lang="en-GB" dirty="0"/>
          </a:p>
        </p:txBody>
      </p:sp>
      <p:sp>
        <p:nvSpPr>
          <p:cNvPr id="11" name="Content Placeholder 2"/>
          <p:cNvSpPr txBox="1">
            <a:spLocks/>
          </p:cNvSpPr>
          <p:nvPr/>
        </p:nvSpPr>
        <p:spPr>
          <a:xfrm>
            <a:off x="323528" y="1513979"/>
            <a:ext cx="8496944" cy="4939357"/>
          </a:xfrm>
          <a:prstGeom prst="rect">
            <a:avLst/>
          </a:prstGeom>
          <a:solidFill>
            <a:schemeClr val="accent3">
              <a:lumMod val="20000"/>
              <a:lumOff val="80000"/>
            </a:schemeClr>
          </a:solidFill>
        </p:spPr>
        <p:txBody>
          <a:bodyPr vert="horz" lIns="0" tIns="0" rIns="0" bIns="0" rtlCol="0">
            <a:normAutofit/>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r>
              <a:rPr lang="en-GB" kern="0" dirty="0" smtClean="0"/>
              <a:t>Work horse verification technology</a:t>
            </a:r>
          </a:p>
          <a:p>
            <a:r>
              <a:rPr lang="en-GB" kern="0" dirty="0" smtClean="0"/>
              <a:t>Expertise more generally available</a:t>
            </a:r>
          </a:p>
          <a:p>
            <a:r>
              <a:rPr lang="en-GB" kern="0" dirty="0" smtClean="0"/>
              <a:t>Scales better</a:t>
            </a:r>
          </a:p>
          <a:p>
            <a:pPr lvl="1"/>
            <a:r>
              <a:rPr lang="en-GB" kern="0" dirty="0" smtClean="0"/>
              <a:t>In area (full module, sub-system, system)</a:t>
            </a:r>
          </a:p>
          <a:p>
            <a:pPr lvl="1"/>
            <a:r>
              <a:rPr lang="en-GB" kern="0" dirty="0" smtClean="0"/>
              <a:t>In time (e.g. </a:t>
            </a:r>
            <a:r>
              <a:rPr lang="en-GB" kern="0" dirty="0"/>
              <a:t>r</a:t>
            </a:r>
            <a:r>
              <a:rPr lang="en-GB" kern="0" dirty="0" smtClean="0"/>
              <a:t>adar data streams)</a:t>
            </a:r>
          </a:p>
          <a:p>
            <a:pPr lvl="1"/>
            <a:endParaRPr lang="en-GB" kern="0" dirty="0" smtClean="0"/>
          </a:p>
          <a:p>
            <a:endParaRPr lang="en-GB" kern="0" dirty="0" smtClean="0"/>
          </a:p>
          <a:p>
            <a:endParaRPr lang="en-GB" kern="0" dirty="0" smtClean="0"/>
          </a:p>
          <a:p>
            <a:endParaRPr lang="en-GB" kern="0" dirty="0" smtClean="0"/>
          </a:p>
        </p:txBody>
      </p:sp>
    </p:spTree>
    <p:extLst>
      <p:ext uri="{BB962C8B-B14F-4D97-AF65-F5344CB8AC3E}">
        <p14:creationId xmlns:p14="http://schemas.microsoft.com/office/powerpoint/2010/main" val="1079217443"/>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miconductor Industry</a:t>
            </a:r>
          </a:p>
        </p:txBody>
      </p:sp>
      <p:sp>
        <p:nvSpPr>
          <p:cNvPr id="3" name="Content Placeholder 2"/>
          <p:cNvSpPr>
            <a:spLocks noGrp="1"/>
          </p:cNvSpPr>
          <p:nvPr>
            <p:ph sz="quarter" idx="13"/>
          </p:nvPr>
        </p:nvSpPr>
        <p:spPr>
          <a:xfrm>
            <a:off x="250824" y="1749732"/>
            <a:ext cx="3482002" cy="3551476"/>
          </a:xfrm>
        </p:spPr>
        <p:txBody>
          <a:bodyPr>
            <a:normAutofit/>
          </a:bodyPr>
          <a:lstStyle/>
          <a:p>
            <a:r>
              <a:rPr lang="en-GB" dirty="0" smtClean="0"/>
              <a:t>Number of transistors on a semiconductor doubles every two years</a:t>
            </a:r>
          </a:p>
          <a:p>
            <a:r>
              <a:rPr lang="en-GB" dirty="0" smtClean="0"/>
              <a:t>Complexity and processing power doubles very two years</a:t>
            </a:r>
          </a:p>
          <a:p>
            <a:r>
              <a:rPr lang="en-GB" dirty="0"/>
              <a:t>Size and price </a:t>
            </a:r>
            <a:r>
              <a:rPr lang="en-GB" dirty="0" smtClean="0"/>
              <a:t>of a semiconductor halves </a:t>
            </a:r>
            <a:r>
              <a:rPr lang="en-GB" dirty="0"/>
              <a:t>every two </a:t>
            </a:r>
            <a:r>
              <a:rPr lang="en-GB" dirty="0" smtClean="0"/>
              <a:t>years</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4</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7" name="Rectangle 6"/>
          <p:cNvSpPr/>
          <p:nvPr/>
        </p:nvSpPr>
        <p:spPr>
          <a:xfrm>
            <a:off x="251520" y="1052736"/>
            <a:ext cx="8353036" cy="461665"/>
          </a:xfrm>
          <a:prstGeom prst="rect">
            <a:avLst/>
          </a:prstGeom>
          <a:solidFill>
            <a:schemeClr val="accent3"/>
          </a:solidFill>
        </p:spPr>
        <p:txBody>
          <a:bodyPr wrap="square">
            <a:spAutoFit/>
          </a:bodyPr>
          <a:lstStyle/>
          <a:p>
            <a:pPr algn="ctr"/>
            <a:r>
              <a:rPr lang="en-GB" dirty="0" smtClean="0"/>
              <a:t>Moore’s Law</a:t>
            </a:r>
            <a:endParaRPr lang="en-GB"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8396" y="1700808"/>
            <a:ext cx="5211537" cy="3600400"/>
          </a:xfrm>
          <a:prstGeom prst="rect">
            <a:avLst/>
          </a:prstGeom>
        </p:spPr>
      </p:pic>
      <p:sp>
        <p:nvSpPr>
          <p:cNvPr id="10" name="Content Placeholder 2"/>
          <p:cNvSpPr txBox="1">
            <a:spLocks/>
          </p:cNvSpPr>
          <p:nvPr/>
        </p:nvSpPr>
        <p:spPr>
          <a:xfrm>
            <a:off x="274532" y="5445225"/>
            <a:ext cx="8641655" cy="1106084"/>
          </a:xfrm>
          <a:prstGeom prst="rect">
            <a:avLst/>
          </a:prstGeom>
        </p:spPr>
        <p:txBody>
          <a:bodyPr vert="horz" lIns="0" tIns="0" rIns="0" bIns="0" rtlCol="0">
            <a:normAutofit/>
          </a:bodyPr>
          <a:lstStyle>
            <a:lvl1pPr marL="288000" indent="-288000" algn="l" rtl="0" eaLnBrk="1" fontAlgn="base" hangingPunct="1">
              <a:spcBef>
                <a:spcPts val="0"/>
              </a:spcBef>
              <a:spcAft>
                <a:spcPts val="1200"/>
              </a:spcAft>
              <a:buClr>
                <a:schemeClr val="accent1"/>
              </a:buClr>
              <a:buSzPct val="100000"/>
              <a:buFont typeface="Arial" panose="020B0604020202020204" pitchFamily="34" charset="0"/>
              <a:buChar char="›"/>
              <a:defRPr sz="2000" baseline="0">
                <a:solidFill>
                  <a:schemeClr val="tx1"/>
                </a:solidFill>
                <a:latin typeface="Verdana" pitchFamily="34" charset="0"/>
                <a:ea typeface="+mn-ea"/>
                <a:cs typeface="+mn-cs"/>
              </a:defRPr>
            </a:lvl1pPr>
            <a:lvl2pPr marL="576000" indent="-288000" algn="l" rtl="0" eaLnBrk="1" fontAlgn="base" hangingPunct="1">
              <a:spcBef>
                <a:spcPts val="0"/>
              </a:spcBef>
              <a:spcAft>
                <a:spcPts val="900"/>
              </a:spcAft>
              <a:buClr>
                <a:schemeClr val="accent1"/>
              </a:buClr>
              <a:buSzPct val="100000"/>
              <a:buFont typeface="Verdana" panose="020B0604030504040204" pitchFamily="34" charset="0"/>
              <a:buChar char="–"/>
              <a:defRPr sz="2000">
                <a:solidFill>
                  <a:schemeClr val="tx1"/>
                </a:solidFill>
                <a:latin typeface="Verdana" pitchFamily="34" charset="0"/>
              </a:defRPr>
            </a:lvl2pPr>
            <a:lvl3pPr marL="864000" indent="-288000" algn="l" rtl="0" eaLnBrk="1" fontAlgn="base" hangingPunct="1">
              <a:spcBef>
                <a:spcPts val="0"/>
              </a:spcBef>
              <a:spcAft>
                <a:spcPts val="600"/>
              </a:spcAft>
              <a:buClr>
                <a:schemeClr val="accent1"/>
              </a:buClr>
              <a:buSzPct val="100000"/>
              <a:buFont typeface="Verdana" pitchFamily="34" charset="0"/>
              <a:buChar char="–"/>
              <a:defRPr sz="1800" baseline="0">
                <a:solidFill>
                  <a:schemeClr val="tx1"/>
                </a:solidFill>
                <a:latin typeface="Verdana" pitchFamily="34" charset="0"/>
              </a:defRPr>
            </a:lvl3pPr>
            <a:lvl4pPr marL="1080000" indent="-216000" algn="l" rtl="0" eaLnBrk="1" fontAlgn="base" hangingPunct="1">
              <a:spcBef>
                <a:spcPts val="0"/>
              </a:spcBef>
              <a:spcAft>
                <a:spcPts val="300"/>
              </a:spcAft>
              <a:buClr>
                <a:schemeClr val="accent1"/>
              </a:buClr>
              <a:buSzPct val="100000"/>
              <a:buFont typeface="Verdana" panose="020B0604030504040204" pitchFamily="34" charset="0"/>
              <a:buChar char="–"/>
              <a:defRPr sz="1600" baseline="0">
                <a:solidFill>
                  <a:schemeClr val="tx1"/>
                </a:solidFill>
                <a:latin typeface="Verdana" pitchFamily="34" charset="0"/>
              </a:defRPr>
            </a:lvl4pPr>
            <a:lvl5pPr marL="1296000" indent="-216000" algn="l" rtl="0" eaLnBrk="1" fontAlgn="base" hangingPunct="1">
              <a:spcBef>
                <a:spcPts val="0"/>
              </a:spcBef>
              <a:spcAft>
                <a:spcPts val="300"/>
              </a:spcAft>
              <a:buClr>
                <a:schemeClr val="accent1"/>
              </a:buClr>
              <a:buSzPct val="100000"/>
              <a:buFont typeface="Verdana" panose="020B0604030504040204" pitchFamily="34" charset="0"/>
              <a:buChar char="–"/>
              <a:defRPr sz="1400" baseline="0">
                <a:solidFill>
                  <a:schemeClr val="tx1"/>
                </a:solidFill>
                <a:latin typeface="Verdana" pitchFamily="34" charset="0"/>
              </a:defRPr>
            </a:lvl5pPr>
            <a:lvl6pPr marL="1296000" indent="-216000" algn="l" rtl="0" eaLnBrk="1" fontAlgn="base" hangingPunct="1">
              <a:spcBef>
                <a:spcPts val="0"/>
              </a:spcBef>
              <a:spcAft>
                <a:spcPts val="300"/>
              </a:spcAft>
              <a:buClr>
                <a:schemeClr val="accent1"/>
              </a:buClr>
              <a:buFont typeface="Verdana" pitchFamily="34" charset="0"/>
              <a:buNone/>
              <a:defRPr sz="1400" baseline="0">
                <a:solidFill>
                  <a:schemeClr val="tx1"/>
                </a:solidFill>
                <a:latin typeface="Verdana" pitchFamily="34" charset="0"/>
              </a:defRPr>
            </a:lvl6pPr>
            <a:lvl7pPr marL="2514600" indent="-228600" algn="l" rtl="0" eaLnBrk="1" fontAlgn="base" hangingPunct="1">
              <a:spcBef>
                <a:spcPct val="25000"/>
              </a:spcBef>
              <a:spcAft>
                <a:spcPct val="0"/>
              </a:spcAft>
              <a:buClr>
                <a:schemeClr val="tx1"/>
              </a:buClr>
              <a:buChar char="–"/>
              <a:defRPr sz="2000">
                <a:solidFill>
                  <a:srgbClr val="666666"/>
                </a:solidFill>
                <a:latin typeface="+mn-lt"/>
              </a:defRPr>
            </a:lvl7pPr>
            <a:lvl8pPr marL="2971800" indent="-228600" algn="l" rtl="0" eaLnBrk="1" fontAlgn="base" hangingPunct="1">
              <a:spcBef>
                <a:spcPct val="25000"/>
              </a:spcBef>
              <a:spcAft>
                <a:spcPct val="0"/>
              </a:spcAft>
              <a:buClr>
                <a:schemeClr val="tx1"/>
              </a:buClr>
              <a:buChar char="–"/>
              <a:defRPr sz="2000">
                <a:solidFill>
                  <a:srgbClr val="666666"/>
                </a:solidFill>
                <a:latin typeface="+mn-lt"/>
              </a:defRPr>
            </a:lvl8pPr>
            <a:lvl9pPr marL="3429000" indent="-228600" algn="l" rtl="0" eaLnBrk="1" fontAlgn="base" hangingPunct="1">
              <a:spcBef>
                <a:spcPct val="25000"/>
              </a:spcBef>
              <a:spcAft>
                <a:spcPct val="0"/>
              </a:spcAft>
              <a:buClr>
                <a:schemeClr val="tx1"/>
              </a:buClr>
              <a:buChar char="–"/>
              <a:defRPr sz="2000">
                <a:solidFill>
                  <a:srgbClr val="666666"/>
                </a:solidFill>
                <a:latin typeface="+mn-lt"/>
              </a:defRPr>
            </a:lvl9pPr>
          </a:lstStyle>
          <a:p>
            <a:r>
              <a:rPr lang="en-GB" kern="0" dirty="0" smtClean="0"/>
              <a:t>Semiconductors have become ubiquitous</a:t>
            </a:r>
          </a:p>
          <a:p>
            <a:pPr lvl="1"/>
            <a:r>
              <a:rPr lang="en-GB" kern="0" dirty="0" smtClean="0"/>
              <a:t>Computation, communication, power generation, trains, cars, domestic appliances, security, internet of things, …</a:t>
            </a:r>
          </a:p>
        </p:txBody>
      </p:sp>
    </p:spTree>
    <p:extLst>
      <p:ext uri="{BB962C8B-B14F-4D97-AF65-F5344CB8AC3E}">
        <p14:creationId xmlns:p14="http://schemas.microsoft.com/office/powerpoint/2010/main" val="2209429824"/>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Re-Use</a:t>
            </a:r>
            <a:endParaRPr lang="en-GB" dirty="0"/>
          </a:p>
        </p:txBody>
      </p:sp>
    </p:spTree>
    <p:extLst>
      <p:ext uri="{BB962C8B-B14F-4D97-AF65-F5344CB8AC3E}">
        <p14:creationId xmlns:p14="http://schemas.microsoft.com/office/powerpoint/2010/main" val="1296896143"/>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ifferent types of re-use</a:t>
            </a:r>
            <a:endParaRPr lang="en-GB" dirty="0"/>
          </a:p>
        </p:txBody>
      </p:sp>
      <p:sp>
        <p:nvSpPr>
          <p:cNvPr id="3" name="Content Placeholder 2"/>
          <p:cNvSpPr>
            <a:spLocks noGrp="1"/>
          </p:cNvSpPr>
          <p:nvPr>
            <p:ph sz="quarter" idx="13"/>
          </p:nvPr>
        </p:nvSpPr>
        <p:spPr>
          <a:xfrm>
            <a:off x="259182" y="1883733"/>
            <a:ext cx="2088232" cy="4581085"/>
          </a:xfrm>
          <a:solidFill>
            <a:schemeClr val="accent3">
              <a:lumMod val="20000"/>
              <a:lumOff val="80000"/>
            </a:schemeClr>
          </a:solidFill>
        </p:spPr>
        <p:txBody>
          <a:bodyPr>
            <a:normAutofit/>
          </a:bodyPr>
          <a:lstStyle/>
          <a:p>
            <a:r>
              <a:rPr lang="en-GB" dirty="0" smtClean="0"/>
              <a:t>Complexity doubles every generation</a:t>
            </a:r>
          </a:p>
          <a:p>
            <a:r>
              <a:rPr lang="en-GB" dirty="0" smtClean="0"/>
              <a:t>Engineering effort remains approx. constant</a:t>
            </a:r>
          </a:p>
          <a:p>
            <a:r>
              <a:rPr lang="en-GB" dirty="0" smtClean="0"/>
              <a:t>Cannot start again with each generation</a:t>
            </a:r>
            <a:endParaRPr lang="en-GB" dirty="0"/>
          </a:p>
        </p:txBody>
      </p:sp>
      <p:sp>
        <p:nvSpPr>
          <p:cNvPr id="4" name="Content Placeholder 3"/>
          <p:cNvSpPr>
            <a:spLocks noGrp="1"/>
          </p:cNvSpPr>
          <p:nvPr>
            <p:ph sz="quarter" idx="14"/>
          </p:nvPr>
        </p:nvSpPr>
        <p:spPr>
          <a:xfrm>
            <a:off x="2484438" y="1883733"/>
            <a:ext cx="2016125" cy="4569602"/>
          </a:xfrm>
          <a:solidFill>
            <a:schemeClr val="accent3">
              <a:lumMod val="20000"/>
              <a:lumOff val="80000"/>
            </a:schemeClr>
          </a:solidFill>
        </p:spPr>
        <p:txBody>
          <a:bodyPr>
            <a:normAutofit fontScale="92500" lnSpcReduction="10000"/>
          </a:bodyPr>
          <a:lstStyle/>
          <a:p>
            <a:r>
              <a:rPr lang="en-GB" dirty="0" smtClean="0"/>
              <a:t>Single generation will have</a:t>
            </a:r>
            <a:r>
              <a:rPr lang="en-GB" dirty="0"/>
              <a:t> </a:t>
            </a:r>
            <a:r>
              <a:rPr lang="en-GB" dirty="0" smtClean="0"/>
              <a:t>high-end, low-end and application specific products</a:t>
            </a:r>
          </a:p>
          <a:p>
            <a:r>
              <a:rPr lang="en-GB" dirty="0" smtClean="0"/>
              <a:t>IP and VIP must be configurable</a:t>
            </a:r>
          </a:p>
          <a:p>
            <a:r>
              <a:rPr lang="en-GB" dirty="0" smtClean="0"/>
              <a:t>Integration will need fully verifying for each product</a:t>
            </a:r>
          </a:p>
        </p:txBody>
      </p:sp>
      <p:sp>
        <p:nvSpPr>
          <p:cNvPr id="5" name="Content Placeholder 4"/>
          <p:cNvSpPr>
            <a:spLocks noGrp="1"/>
          </p:cNvSpPr>
          <p:nvPr>
            <p:ph sz="quarter" idx="15"/>
          </p:nvPr>
        </p:nvSpPr>
        <p:spPr>
          <a:xfrm>
            <a:off x="4643438" y="1883732"/>
            <a:ext cx="2016125" cy="4569604"/>
          </a:xfrm>
          <a:solidFill>
            <a:schemeClr val="accent3">
              <a:lumMod val="20000"/>
              <a:lumOff val="80000"/>
            </a:schemeClr>
          </a:solidFill>
        </p:spPr>
        <p:txBody>
          <a:bodyPr>
            <a:noAutofit/>
          </a:bodyPr>
          <a:lstStyle/>
          <a:p>
            <a:r>
              <a:rPr lang="en-GB" sz="1900" dirty="0" smtClean="0"/>
              <a:t>Supported by re-use methodologies (e.g. UVM)</a:t>
            </a:r>
          </a:p>
          <a:p>
            <a:r>
              <a:rPr lang="en-GB" sz="1900" dirty="0" smtClean="0"/>
              <a:t>E.g</a:t>
            </a:r>
            <a:r>
              <a:rPr lang="en-GB" sz="1900" dirty="0"/>
              <a:t>.</a:t>
            </a:r>
            <a:r>
              <a:rPr lang="en-GB" sz="1900" dirty="0" smtClean="0"/>
              <a:t> re-use of VIP for busses across all IP with bus interface</a:t>
            </a:r>
          </a:p>
          <a:p>
            <a:r>
              <a:rPr lang="en-GB" sz="1900" dirty="0" smtClean="0"/>
              <a:t>E.g. re-use of checkers across hierarchies</a:t>
            </a:r>
          </a:p>
        </p:txBody>
      </p:sp>
      <p:sp>
        <p:nvSpPr>
          <p:cNvPr id="6" name="Content Placeholder 5"/>
          <p:cNvSpPr>
            <a:spLocks noGrp="1"/>
          </p:cNvSpPr>
          <p:nvPr>
            <p:ph sz="quarter" idx="16"/>
          </p:nvPr>
        </p:nvSpPr>
        <p:spPr>
          <a:xfrm>
            <a:off x="6804025" y="1872251"/>
            <a:ext cx="2088232" cy="4581085"/>
          </a:xfrm>
          <a:solidFill>
            <a:schemeClr val="accent3">
              <a:lumMod val="20000"/>
              <a:lumOff val="80000"/>
            </a:schemeClr>
          </a:solidFill>
        </p:spPr>
        <p:txBody>
          <a:bodyPr>
            <a:normAutofit/>
          </a:bodyPr>
          <a:lstStyle/>
          <a:p>
            <a:r>
              <a:rPr lang="en-GB" dirty="0" smtClean="0"/>
              <a:t>Re-use between formal and simulation</a:t>
            </a:r>
          </a:p>
          <a:p>
            <a:r>
              <a:rPr lang="en-GB" dirty="0" smtClean="0"/>
              <a:t>E.g. Re-use of constraints and properties as assertions</a:t>
            </a:r>
          </a:p>
        </p:txBody>
      </p:sp>
      <p:sp>
        <p:nvSpPr>
          <p:cNvPr id="7" name="Slide Number Placeholder 6"/>
          <p:cNvSpPr>
            <a:spLocks noGrp="1"/>
          </p:cNvSpPr>
          <p:nvPr>
            <p:ph type="sldNum" sz="quarter" idx="4"/>
          </p:nvPr>
        </p:nvSpPr>
        <p:spPr/>
        <p:txBody>
          <a:bodyPr/>
          <a:lstStyle/>
          <a:p>
            <a:r>
              <a:rPr lang="en-GB" smtClean="0"/>
              <a:t> </a:t>
            </a:r>
            <a:fld id="{DC8B3668-E1AB-4560-B66B-CD4643A23BF9}" type="slidenum">
              <a:rPr lang="en-GB" smtClean="0"/>
              <a:pPr/>
              <a:t>41</a:t>
            </a:fld>
            <a:endParaRPr lang="en-GB" dirty="0"/>
          </a:p>
        </p:txBody>
      </p:sp>
      <p:sp>
        <p:nvSpPr>
          <p:cNvPr id="8" name="Date Placeholder 7"/>
          <p:cNvSpPr>
            <a:spLocks noGrp="1"/>
          </p:cNvSpPr>
          <p:nvPr>
            <p:ph type="dt" sz="half" idx="2"/>
          </p:nvPr>
        </p:nvSpPr>
        <p:spPr/>
        <p:txBody>
          <a:bodyPr/>
          <a:lstStyle/>
          <a:p>
            <a:r>
              <a:rPr lang="en-GB" smtClean="0"/>
              <a:t>set date</a:t>
            </a:r>
            <a:endParaRPr lang="en-GB" dirty="0"/>
          </a:p>
        </p:txBody>
      </p:sp>
      <p:sp>
        <p:nvSpPr>
          <p:cNvPr id="9" name="Footer Placeholder 8"/>
          <p:cNvSpPr>
            <a:spLocks noGrp="1"/>
          </p:cNvSpPr>
          <p:nvPr>
            <p:ph type="ftr" sz="quarter" idx="3"/>
          </p:nvPr>
        </p:nvSpPr>
        <p:spPr/>
        <p:txBody>
          <a:bodyPr/>
          <a:lstStyle/>
          <a:p>
            <a:r>
              <a:rPr lang="en-GB" dirty="0" smtClean="0"/>
              <a:t>Copyright © Infineon Technologies AG 2015. All </a:t>
            </a:r>
            <a:r>
              <a:rPr lang="en-GB" dirty="0" err="1" smtClean="0"/>
              <a:t>rigrhts</a:t>
            </a:r>
            <a:r>
              <a:rPr lang="en-GB" dirty="0" smtClean="0"/>
              <a:t> reserved.</a:t>
            </a:r>
            <a:endParaRPr lang="en-GB" dirty="0"/>
          </a:p>
        </p:txBody>
      </p:sp>
      <p:sp>
        <p:nvSpPr>
          <p:cNvPr id="11" name="Rectangle 10"/>
          <p:cNvSpPr/>
          <p:nvPr/>
        </p:nvSpPr>
        <p:spPr>
          <a:xfrm>
            <a:off x="251521" y="1052736"/>
            <a:ext cx="2087536" cy="830997"/>
          </a:xfrm>
          <a:prstGeom prst="rect">
            <a:avLst/>
          </a:prstGeom>
          <a:solidFill>
            <a:schemeClr val="accent3"/>
          </a:solidFill>
        </p:spPr>
        <p:txBody>
          <a:bodyPr wrap="square">
            <a:spAutoFit/>
          </a:bodyPr>
          <a:lstStyle/>
          <a:p>
            <a:pPr algn="ctr"/>
            <a:r>
              <a:rPr lang="en-GB" dirty="0" smtClean="0"/>
              <a:t>Across Generations</a:t>
            </a:r>
            <a:endParaRPr lang="en-GB" dirty="0"/>
          </a:p>
        </p:txBody>
      </p:sp>
      <p:sp>
        <p:nvSpPr>
          <p:cNvPr id="12" name="Rectangle 11"/>
          <p:cNvSpPr/>
          <p:nvPr/>
        </p:nvSpPr>
        <p:spPr>
          <a:xfrm>
            <a:off x="2489068" y="1052735"/>
            <a:ext cx="2016224" cy="830997"/>
          </a:xfrm>
          <a:prstGeom prst="rect">
            <a:avLst/>
          </a:prstGeom>
          <a:solidFill>
            <a:schemeClr val="accent3"/>
          </a:solidFill>
        </p:spPr>
        <p:txBody>
          <a:bodyPr wrap="square">
            <a:spAutoFit/>
          </a:bodyPr>
          <a:lstStyle/>
          <a:p>
            <a:pPr algn="ctr"/>
            <a:r>
              <a:rPr lang="en-GB" dirty="0" smtClean="0"/>
              <a:t>Across Products</a:t>
            </a:r>
            <a:endParaRPr lang="en-GB" dirty="0"/>
          </a:p>
        </p:txBody>
      </p:sp>
      <p:sp>
        <p:nvSpPr>
          <p:cNvPr id="13" name="Rectangle 12"/>
          <p:cNvSpPr/>
          <p:nvPr/>
        </p:nvSpPr>
        <p:spPr>
          <a:xfrm>
            <a:off x="4643339" y="1052735"/>
            <a:ext cx="2016224" cy="830997"/>
          </a:xfrm>
          <a:prstGeom prst="rect">
            <a:avLst/>
          </a:prstGeom>
          <a:solidFill>
            <a:schemeClr val="accent3"/>
          </a:solidFill>
        </p:spPr>
        <p:txBody>
          <a:bodyPr wrap="square">
            <a:spAutoFit/>
          </a:bodyPr>
          <a:lstStyle/>
          <a:p>
            <a:pPr algn="ctr"/>
            <a:r>
              <a:rPr lang="en-GB" dirty="0" smtClean="0"/>
              <a:t>Across</a:t>
            </a:r>
          </a:p>
          <a:p>
            <a:pPr algn="ctr"/>
            <a:r>
              <a:rPr lang="en-GB" dirty="0" smtClean="0"/>
              <a:t>Test Benches </a:t>
            </a:r>
            <a:endParaRPr lang="en-GB" dirty="0"/>
          </a:p>
        </p:txBody>
      </p:sp>
      <p:sp>
        <p:nvSpPr>
          <p:cNvPr id="14" name="Rectangle 13"/>
          <p:cNvSpPr/>
          <p:nvPr/>
        </p:nvSpPr>
        <p:spPr>
          <a:xfrm>
            <a:off x="6804025" y="1041254"/>
            <a:ext cx="2088455" cy="830997"/>
          </a:xfrm>
          <a:prstGeom prst="rect">
            <a:avLst/>
          </a:prstGeom>
          <a:solidFill>
            <a:schemeClr val="accent3"/>
          </a:solidFill>
        </p:spPr>
        <p:txBody>
          <a:bodyPr wrap="square">
            <a:spAutoFit/>
          </a:bodyPr>
          <a:lstStyle/>
          <a:p>
            <a:pPr algn="ctr"/>
            <a:r>
              <a:rPr lang="en-GB" dirty="0" smtClean="0"/>
              <a:t>Across Technologies</a:t>
            </a:r>
            <a:endParaRPr lang="en-GB" dirty="0"/>
          </a:p>
        </p:txBody>
      </p:sp>
    </p:spTree>
    <p:extLst>
      <p:ext uri="{BB962C8B-B14F-4D97-AF65-F5344CB8AC3E}">
        <p14:creationId xmlns:p14="http://schemas.microsoft.com/office/powerpoint/2010/main" val="2656010171"/>
      </p:ext>
    </p:extLst>
  </p:cSld>
  <p:clrMapOvr>
    <a:masterClrMapping/>
  </p:clrMapOvr>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ample Property</a:t>
            </a:r>
            <a:endParaRPr lang="en-GB" dirty="0"/>
          </a:p>
        </p:txBody>
      </p:sp>
      <p:sp>
        <p:nvSpPr>
          <p:cNvPr id="3" name="Content Placeholder 2"/>
          <p:cNvSpPr>
            <a:spLocks noGrp="1"/>
          </p:cNvSpPr>
          <p:nvPr>
            <p:ph sz="quarter" idx="13"/>
          </p:nvPr>
        </p:nvSpPr>
        <p:spPr>
          <a:xfrm>
            <a:off x="250824" y="1844824"/>
            <a:ext cx="8641655" cy="4536926"/>
          </a:xfrm>
        </p:spPr>
        <p:txBody>
          <a:bodyPr/>
          <a:lstStyle/>
          <a:p>
            <a:r>
              <a:rPr lang="en-GB" dirty="0" smtClean="0"/>
              <a:t>Can be used as a </a:t>
            </a:r>
          </a:p>
          <a:p>
            <a:pPr marL="745200" lvl="1" indent="-457200">
              <a:buFont typeface="+mj-lt"/>
              <a:buAutoNum type="arabicPeriod"/>
            </a:pPr>
            <a:r>
              <a:rPr lang="en-GB" dirty="0" smtClean="0"/>
              <a:t>Formal property – check behaviour of DUV</a:t>
            </a:r>
          </a:p>
          <a:p>
            <a:pPr marL="745200" lvl="1" indent="-457200">
              <a:buFont typeface="+mj-lt"/>
              <a:buAutoNum type="arabicPeriod"/>
            </a:pPr>
            <a:r>
              <a:rPr lang="en-GB" dirty="0" smtClean="0"/>
              <a:t>Formal constraint – constrain how formal tool can ‘drive’ </a:t>
            </a:r>
            <a:r>
              <a:rPr lang="en-GB" i="1" dirty="0" err="1" smtClean="0"/>
              <a:t>vld</a:t>
            </a:r>
            <a:r>
              <a:rPr lang="en-GB" i="1" dirty="0" smtClean="0"/>
              <a:t> </a:t>
            </a:r>
            <a:r>
              <a:rPr lang="en-GB" dirty="0" smtClean="0"/>
              <a:t>into the DUV</a:t>
            </a:r>
          </a:p>
          <a:p>
            <a:pPr marL="745200" lvl="1" indent="-457200">
              <a:buFont typeface="+mj-lt"/>
              <a:buAutoNum type="arabicPeriod"/>
            </a:pPr>
            <a:r>
              <a:rPr lang="en-GB" dirty="0" smtClean="0"/>
              <a:t>Assertion in simulation – check design or test bench behaviour</a:t>
            </a:r>
          </a:p>
          <a:p>
            <a:r>
              <a:rPr lang="en-GB" dirty="0" smtClean="0"/>
              <a:t>Supported by move </a:t>
            </a:r>
            <a:r>
              <a:rPr lang="en-GB" dirty="0"/>
              <a:t>from proprietary to standardised assertion languages (PSL, SVA) over the last ten </a:t>
            </a:r>
            <a:r>
              <a:rPr lang="en-GB" dirty="0" smtClean="0"/>
              <a:t>years</a:t>
            </a:r>
          </a:p>
          <a:p>
            <a:pPr lvl="1"/>
            <a:r>
              <a:rPr lang="en-GB" dirty="0" smtClean="0"/>
              <a:t>Same property/constraint can be re-used in simulation without re-coding</a:t>
            </a:r>
          </a:p>
          <a:p>
            <a:r>
              <a:rPr lang="en-GB" dirty="0" smtClean="0"/>
              <a:t>Why would you want to do this …?</a:t>
            </a:r>
            <a:endParaRPr lang="en-GB" dirty="0"/>
          </a:p>
          <a:p>
            <a:endParaRPr lang="en-GB" dirty="0" smtClean="0"/>
          </a:p>
          <a:p>
            <a:endParaRPr lang="en-GB" dirty="0"/>
          </a:p>
          <a:p>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42</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7" name="Rectangle 6"/>
          <p:cNvSpPr/>
          <p:nvPr/>
        </p:nvSpPr>
        <p:spPr>
          <a:xfrm>
            <a:off x="395536" y="1196752"/>
            <a:ext cx="8352928" cy="461665"/>
          </a:xfrm>
          <a:prstGeom prst="rect">
            <a:avLst/>
          </a:prstGeom>
          <a:solidFill>
            <a:schemeClr val="accent3">
              <a:lumMod val="60000"/>
              <a:lumOff val="40000"/>
            </a:schemeClr>
          </a:solidFill>
        </p:spPr>
        <p:txBody>
          <a:bodyPr wrap="square">
            <a:spAutoFit/>
          </a:bodyPr>
          <a:lstStyle/>
          <a:p>
            <a:pPr marL="288000" lvl="1" algn="ctr"/>
            <a:r>
              <a:rPr lang="en-GB" i="1" dirty="0" err="1"/>
              <a:t>prev</a:t>
            </a:r>
            <a:r>
              <a:rPr lang="en-GB" i="1" dirty="0"/>
              <a:t>(</a:t>
            </a:r>
            <a:r>
              <a:rPr lang="en-GB" i="1" dirty="0" err="1"/>
              <a:t>vld</a:t>
            </a:r>
            <a:r>
              <a:rPr lang="en-GB" i="1" dirty="0"/>
              <a:t>) =&gt; !</a:t>
            </a:r>
            <a:r>
              <a:rPr lang="en-GB" i="1" dirty="0" err="1" smtClean="0"/>
              <a:t>vld</a:t>
            </a:r>
            <a:r>
              <a:rPr lang="en-GB" i="1" dirty="0" smtClean="0"/>
              <a:t>    // </a:t>
            </a:r>
            <a:r>
              <a:rPr lang="en-GB" i="1" dirty="0"/>
              <a:t>Cannot get back-to-back </a:t>
            </a:r>
            <a:r>
              <a:rPr lang="en-GB" i="1" dirty="0" err="1" smtClean="0"/>
              <a:t>valids</a:t>
            </a:r>
            <a:endParaRPr lang="en-GB" dirty="0"/>
          </a:p>
        </p:txBody>
      </p:sp>
    </p:spTree>
    <p:extLst>
      <p:ext uri="{BB962C8B-B14F-4D97-AF65-F5344CB8AC3E}">
        <p14:creationId xmlns:p14="http://schemas.microsoft.com/office/powerpoint/2010/main" val="3825857084"/>
      </p:ext>
    </p:extLst>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Formal Constraints</a:t>
            </a:r>
            <a:endParaRPr lang="en-GB" dirty="0"/>
          </a:p>
        </p:txBody>
      </p:sp>
      <p:sp>
        <p:nvSpPr>
          <p:cNvPr id="6" name="Content Placeholder 5"/>
          <p:cNvSpPr>
            <a:spLocks noGrp="1"/>
          </p:cNvSpPr>
          <p:nvPr>
            <p:ph sz="quarter" idx="13"/>
          </p:nvPr>
        </p:nvSpPr>
        <p:spPr>
          <a:xfrm>
            <a:off x="250824" y="1844824"/>
            <a:ext cx="8641655" cy="4536926"/>
          </a:xfrm>
        </p:spPr>
        <p:txBody>
          <a:bodyPr>
            <a:normAutofit/>
          </a:bodyPr>
          <a:lstStyle/>
          <a:p>
            <a:r>
              <a:rPr lang="en-GB" dirty="0"/>
              <a:t>F</a:t>
            </a:r>
            <a:r>
              <a:rPr lang="en-GB" dirty="0" smtClean="0"/>
              <a:t>ormal properties can fail due to the tool driving illegal inputs</a:t>
            </a:r>
          </a:p>
          <a:p>
            <a:pPr lvl="1"/>
            <a:r>
              <a:rPr lang="en-GB" dirty="0" smtClean="0"/>
              <a:t>The DUV is behaving in a bad but unrealistic way</a:t>
            </a:r>
          </a:p>
          <a:p>
            <a:r>
              <a:rPr lang="en-GB" dirty="0" smtClean="0"/>
              <a:t>Example </a:t>
            </a:r>
          </a:p>
          <a:p>
            <a:pPr lvl="1"/>
            <a:r>
              <a:rPr lang="en-GB" dirty="0" smtClean="0"/>
              <a:t>Protocol excludes possibility of back-to-back data </a:t>
            </a:r>
          </a:p>
          <a:p>
            <a:pPr lvl="1"/>
            <a:r>
              <a:rPr lang="en-GB" dirty="0"/>
              <a:t>P</a:t>
            </a:r>
            <a:r>
              <a:rPr lang="en-GB" dirty="0" smtClean="0"/>
              <a:t>roperty fails and the generated counter-example shows </a:t>
            </a:r>
            <a:r>
              <a:rPr lang="en-GB" i="1" dirty="0" err="1" smtClean="0"/>
              <a:t>vld</a:t>
            </a:r>
            <a:r>
              <a:rPr lang="en-GB" dirty="0" smtClean="0"/>
              <a:t> being driven in consecutive cycles</a:t>
            </a:r>
          </a:p>
          <a:p>
            <a:r>
              <a:rPr lang="en-GB" dirty="0" smtClean="0"/>
              <a:t>Detection : debug of counter-example given by failing properties</a:t>
            </a:r>
          </a:p>
          <a:p>
            <a:r>
              <a:rPr lang="en-GB" dirty="0" smtClean="0"/>
              <a:t>Solution : add constraint and re-run property</a:t>
            </a:r>
          </a:p>
          <a:p>
            <a:pPr marL="0" indent="0">
              <a:buNone/>
            </a:pPr>
            <a:r>
              <a:rPr lang="en-GB" i="1" dirty="0" smtClean="0"/>
              <a:t>			</a:t>
            </a:r>
            <a:r>
              <a:rPr lang="en-GB" i="1" dirty="0" err="1" smtClean="0"/>
              <a:t>prev</a:t>
            </a:r>
            <a:r>
              <a:rPr lang="en-GB" i="1" dirty="0" smtClean="0"/>
              <a:t>(</a:t>
            </a:r>
            <a:r>
              <a:rPr lang="en-GB" i="1" dirty="0" err="1" smtClean="0"/>
              <a:t>vld</a:t>
            </a:r>
            <a:r>
              <a:rPr lang="en-GB" i="1" dirty="0"/>
              <a:t>) =&gt; !</a:t>
            </a:r>
            <a:r>
              <a:rPr lang="en-GB" i="1" dirty="0" err="1" smtClean="0"/>
              <a:t>vld</a:t>
            </a:r>
            <a:endParaRPr lang="en-GB" i="1" dirty="0"/>
          </a:p>
          <a:p>
            <a:pPr marL="0" indent="0">
              <a:buNone/>
            </a:pPr>
            <a:endParaRPr lang="en-GB" dirty="0" smtClean="0"/>
          </a:p>
        </p:txBody>
      </p:sp>
      <p:sp>
        <p:nvSpPr>
          <p:cNvPr id="23" name="Slide Number Placeholder 22"/>
          <p:cNvSpPr>
            <a:spLocks noGrp="1"/>
          </p:cNvSpPr>
          <p:nvPr>
            <p:ph type="sldNum" sz="quarter" idx="4"/>
          </p:nvPr>
        </p:nvSpPr>
        <p:spPr/>
        <p:txBody>
          <a:bodyPr/>
          <a:lstStyle/>
          <a:p>
            <a:fld id="{A71CE892-DF73-4337-8EFB-E11694675A00}" type="slidenum">
              <a:rPr lang="en-GB" smtClean="0"/>
              <a:pPr/>
              <a:t>43</a:t>
            </a:fld>
            <a:endParaRPr lang="en-GB" dirty="0"/>
          </a:p>
        </p:txBody>
      </p:sp>
      <p:sp>
        <p:nvSpPr>
          <p:cNvPr id="24" name="Date Placeholder 23"/>
          <p:cNvSpPr>
            <a:spLocks noGrp="1"/>
          </p:cNvSpPr>
          <p:nvPr>
            <p:ph type="dt" sz="half" idx="2"/>
          </p:nvPr>
        </p:nvSpPr>
        <p:spPr/>
        <p:txBody>
          <a:bodyPr/>
          <a:lstStyle/>
          <a:p>
            <a:r>
              <a:rPr lang="en-GB" dirty="0" smtClean="0"/>
              <a:t>set date</a:t>
            </a:r>
            <a:endParaRPr lang="en-GB" dirty="0"/>
          </a:p>
        </p:txBody>
      </p:sp>
      <p:sp>
        <p:nvSpPr>
          <p:cNvPr id="25" name="Footer Placeholder 24"/>
          <p:cNvSpPr>
            <a:spLocks noGrp="1"/>
          </p:cNvSpPr>
          <p:nvPr>
            <p:ph type="ftr" sz="quarter" idx="3"/>
          </p:nvPr>
        </p:nvSpPr>
        <p:spPr/>
        <p:txBody>
          <a:bodyPr/>
          <a:lstStyle/>
          <a:p>
            <a:r>
              <a:rPr lang="en-GB" dirty="0" smtClean="0"/>
              <a:t>Copyright © Infineon Technologies AG 2015. All rights reserved.</a:t>
            </a:r>
            <a:endParaRPr lang="en-GB" dirty="0"/>
          </a:p>
        </p:txBody>
      </p:sp>
      <p:sp>
        <p:nvSpPr>
          <p:cNvPr id="7" name="Rectangle 6"/>
          <p:cNvSpPr/>
          <p:nvPr/>
        </p:nvSpPr>
        <p:spPr>
          <a:xfrm>
            <a:off x="251520" y="1196752"/>
            <a:ext cx="8496944" cy="461665"/>
          </a:xfrm>
          <a:prstGeom prst="rect">
            <a:avLst/>
          </a:prstGeom>
          <a:solidFill>
            <a:schemeClr val="accent3">
              <a:lumMod val="60000"/>
              <a:lumOff val="40000"/>
            </a:schemeClr>
          </a:solidFill>
        </p:spPr>
        <p:txBody>
          <a:bodyPr wrap="square">
            <a:spAutoFit/>
          </a:bodyPr>
          <a:lstStyle/>
          <a:p>
            <a:pPr marL="288000" lvl="1" algn="ctr"/>
            <a:r>
              <a:rPr lang="en-GB" dirty="0" smtClean="0"/>
              <a:t>Avoiding False Failures</a:t>
            </a:r>
            <a:endParaRPr lang="en-GB" dirty="0"/>
          </a:p>
        </p:txBody>
      </p:sp>
    </p:spTree>
    <p:custDataLst>
      <p:tags r:id="rId1"/>
    </p:custDataLst>
    <p:extLst>
      <p:ext uri="{BB962C8B-B14F-4D97-AF65-F5344CB8AC3E}">
        <p14:creationId xmlns:p14="http://schemas.microsoft.com/office/powerpoint/2010/main" val="1693385289"/>
      </p:ext>
    </p:extLst>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correctly coded </a:t>
            </a:r>
            <a:r>
              <a:rPr lang="en-GB" dirty="0"/>
              <a:t>constraints</a:t>
            </a:r>
          </a:p>
        </p:txBody>
      </p:sp>
      <p:sp>
        <p:nvSpPr>
          <p:cNvPr id="3" name="Content Placeholder 2"/>
          <p:cNvSpPr>
            <a:spLocks noGrp="1"/>
          </p:cNvSpPr>
          <p:nvPr>
            <p:ph sz="quarter" idx="13"/>
          </p:nvPr>
        </p:nvSpPr>
        <p:spPr>
          <a:xfrm>
            <a:off x="250824" y="1749061"/>
            <a:ext cx="8641655" cy="3834553"/>
          </a:xfrm>
        </p:spPr>
        <p:txBody>
          <a:bodyPr>
            <a:normAutofit fontScale="85000" lnSpcReduction="10000"/>
          </a:bodyPr>
          <a:lstStyle/>
          <a:p>
            <a:pPr marL="0" indent="0">
              <a:buNone/>
            </a:pPr>
            <a:r>
              <a:rPr lang="en-GB" dirty="0" smtClean="0"/>
              <a:t>Example: Constraint</a:t>
            </a:r>
          </a:p>
          <a:p>
            <a:pPr marL="0" indent="0">
              <a:buNone/>
            </a:pPr>
            <a:r>
              <a:rPr lang="en-GB" i="1" dirty="0" smtClean="0"/>
              <a:t>	</a:t>
            </a:r>
            <a:r>
              <a:rPr lang="en-GB" i="1" dirty="0" err="1" smtClean="0"/>
              <a:t>prev</a:t>
            </a:r>
            <a:r>
              <a:rPr lang="en-GB" i="1" dirty="0" smtClean="0"/>
              <a:t>(</a:t>
            </a:r>
            <a:r>
              <a:rPr lang="en-GB" i="1" dirty="0" err="1" smtClean="0"/>
              <a:t>vld</a:t>
            </a:r>
            <a:r>
              <a:rPr lang="en-GB" i="1" dirty="0"/>
              <a:t>) =&gt; !</a:t>
            </a:r>
            <a:r>
              <a:rPr lang="en-GB" i="1" dirty="0" err="1"/>
              <a:t>vld</a:t>
            </a:r>
            <a:r>
              <a:rPr lang="en-GB" i="1" dirty="0"/>
              <a:t> // Cannot get back-to-back </a:t>
            </a:r>
            <a:r>
              <a:rPr lang="en-GB" i="1" dirty="0" err="1" smtClean="0"/>
              <a:t>valids</a:t>
            </a:r>
            <a:endParaRPr lang="en-GB" i="1" dirty="0" smtClean="0"/>
          </a:p>
          <a:p>
            <a:pPr marL="0" indent="0">
              <a:buNone/>
            </a:pPr>
            <a:r>
              <a:rPr lang="en-GB" dirty="0" smtClean="0"/>
              <a:t>	     Incorrectly coded as</a:t>
            </a:r>
          </a:p>
          <a:p>
            <a:pPr marL="0" indent="0">
              <a:buNone/>
            </a:pPr>
            <a:r>
              <a:rPr lang="en-GB" i="1" dirty="0"/>
              <a:t>	</a:t>
            </a:r>
            <a:r>
              <a:rPr lang="en-GB" i="1" dirty="0" err="1" smtClean="0"/>
              <a:t>vld</a:t>
            </a:r>
            <a:r>
              <a:rPr lang="en-GB" i="1" dirty="0" smtClean="0"/>
              <a:t> == !</a:t>
            </a:r>
            <a:r>
              <a:rPr lang="en-GB" i="1" dirty="0" err="1" smtClean="0"/>
              <a:t>prev</a:t>
            </a:r>
            <a:r>
              <a:rPr lang="en-GB" i="1" dirty="0" smtClean="0"/>
              <a:t>(</a:t>
            </a:r>
            <a:r>
              <a:rPr lang="en-GB" i="1" dirty="0" err="1" smtClean="0"/>
              <a:t>vld</a:t>
            </a:r>
            <a:r>
              <a:rPr lang="en-GB" i="1" dirty="0" smtClean="0"/>
              <a:t>) // Will make </a:t>
            </a:r>
            <a:r>
              <a:rPr lang="en-GB" i="1" dirty="0" err="1" smtClean="0"/>
              <a:t>vld</a:t>
            </a:r>
            <a:r>
              <a:rPr lang="en-GB" i="1" dirty="0" smtClean="0"/>
              <a:t> toggle!!</a:t>
            </a:r>
          </a:p>
          <a:p>
            <a:r>
              <a:rPr lang="en-GB" dirty="0" smtClean="0"/>
              <a:t>Over constraint – formal tool is now not fully exercising DUV within protocol</a:t>
            </a:r>
          </a:p>
          <a:p>
            <a:pPr lvl="1"/>
            <a:r>
              <a:rPr lang="en-GB" dirty="0" smtClean="0"/>
              <a:t>E.g. bug in DUV related to sequence {!</a:t>
            </a:r>
            <a:r>
              <a:rPr lang="en-GB" dirty="0" err="1" smtClean="0"/>
              <a:t>vld</a:t>
            </a:r>
            <a:r>
              <a:rPr lang="en-GB" dirty="0" smtClean="0"/>
              <a:t>; !</a:t>
            </a:r>
            <a:r>
              <a:rPr lang="en-GB" dirty="0" err="1" smtClean="0"/>
              <a:t>vld</a:t>
            </a:r>
            <a:r>
              <a:rPr lang="en-GB" dirty="0" smtClean="0"/>
              <a:t>; </a:t>
            </a:r>
            <a:r>
              <a:rPr lang="en-GB" dirty="0" err="1" smtClean="0"/>
              <a:t>vld</a:t>
            </a:r>
            <a:r>
              <a:rPr lang="en-GB" dirty="0" smtClean="0"/>
              <a:t>} will not be found</a:t>
            </a:r>
          </a:p>
          <a:p>
            <a:pPr lvl="1"/>
            <a:r>
              <a:rPr lang="en-GB" dirty="0" smtClean="0"/>
              <a:t>A pass may be a false pass</a:t>
            </a:r>
          </a:p>
          <a:p>
            <a:r>
              <a:rPr lang="en-GB" dirty="0" smtClean="0"/>
              <a:t>Over-constraints can be due to </a:t>
            </a:r>
          </a:p>
          <a:p>
            <a:pPr lvl="1"/>
            <a:r>
              <a:rPr lang="en-GB" dirty="0" smtClean="0"/>
              <a:t>Miscoded constraints</a:t>
            </a:r>
          </a:p>
          <a:p>
            <a:pPr lvl="1"/>
            <a:r>
              <a:rPr lang="en-GB" dirty="0" smtClean="0"/>
              <a:t>Misunderstanding of input behaviour</a:t>
            </a:r>
          </a:p>
          <a:p>
            <a:pPr marL="0" indent="0">
              <a:buNone/>
            </a:pP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44</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11" name="TextBox 10"/>
          <p:cNvSpPr txBox="1"/>
          <p:nvPr/>
        </p:nvSpPr>
        <p:spPr bwMode="auto">
          <a:xfrm>
            <a:off x="395536" y="5589240"/>
            <a:ext cx="8496943" cy="869469"/>
          </a:xfrm>
          <a:prstGeom prst="rect">
            <a:avLst/>
          </a:prstGeom>
          <a:solidFill>
            <a:srgbClr val="FF0000"/>
          </a:solidFill>
          <a:ln w="9525">
            <a:noFill/>
            <a:miter lim="800000"/>
            <a:headEnd/>
            <a:tailEnd/>
          </a:ln>
          <a:effectLst/>
        </p:spPr>
        <p:txBody>
          <a:bodyPr wrap="square" lIns="0" tIns="0" rIns="0" bIns="0" rtlCol="0" anchor="ctr" anchorCtr="0">
            <a:spAutoFit/>
          </a:bodyPr>
          <a:lstStyle/>
          <a:p>
            <a:pPr algn="ctr" eaLnBrk="0" fontAlgn="auto" hangingPunct="0">
              <a:spcBef>
                <a:spcPts val="0"/>
              </a:spcBef>
              <a:spcAft>
                <a:spcPts val="300"/>
              </a:spcAft>
              <a:buClr>
                <a:schemeClr val="accent1"/>
              </a:buClr>
            </a:pPr>
            <a:r>
              <a:rPr lang="en-GB" sz="2000" b="1" dirty="0" smtClean="0">
                <a:latin typeface="+mn-lt"/>
              </a:rPr>
              <a:t>False passes are the most </a:t>
            </a:r>
            <a:r>
              <a:rPr lang="en-GB" sz="2000" b="1" dirty="0">
                <a:latin typeface="+mn-lt"/>
              </a:rPr>
              <a:t>common reason for missing bugs when using formal property checking</a:t>
            </a:r>
          </a:p>
          <a:p>
            <a: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pPr>
            <a:endParaRPr lang="en-GB" sz="1400" kern="0" dirty="0" smtClean="0">
              <a:latin typeface="Verdana" pitchFamily="34" charset="0"/>
              <a:ea typeface="Verdana" pitchFamily="34" charset="0"/>
              <a:cs typeface="Verdana" pitchFamily="34" charset="0"/>
            </a:endParaRPr>
          </a:p>
        </p:txBody>
      </p:sp>
      <p:sp>
        <p:nvSpPr>
          <p:cNvPr id="8" name="Rectangle 7"/>
          <p:cNvSpPr/>
          <p:nvPr/>
        </p:nvSpPr>
        <p:spPr>
          <a:xfrm>
            <a:off x="395536" y="1196752"/>
            <a:ext cx="8352928" cy="461665"/>
          </a:xfrm>
          <a:prstGeom prst="rect">
            <a:avLst/>
          </a:prstGeom>
          <a:solidFill>
            <a:schemeClr val="accent3">
              <a:lumMod val="60000"/>
              <a:lumOff val="40000"/>
            </a:schemeClr>
          </a:solidFill>
        </p:spPr>
        <p:txBody>
          <a:bodyPr wrap="square">
            <a:spAutoFit/>
          </a:bodyPr>
          <a:lstStyle/>
          <a:p>
            <a:pPr marL="288000" lvl="1" algn="ctr"/>
            <a:r>
              <a:rPr lang="en-GB" dirty="0" smtClean="0"/>
              <a:t>False Passes</a:t>
            </a:r>
            <a:endParaRPr lang="en-GB" dirty="0"/>
          </a:p>
        </p:txBody>
      </p:sp>
    </p:spTree>
    <p:extLst>
      <p:ext uri="{BB962C8B-B14F-4D97-AF65-F5344CB8AC3E}">
        <p14:creationId xmlns:p14="http://schemas.microsoft.com/office/powerpoint/2010/main" val="2060226373"/>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etecting False Passes</a:t>
            </a:r>
            <a:endParaRPr lang="en-GB" dirty="0"/>
          </a:p>
        </p:txBody>
      </p:sp>
      <p:sp>
        <p:nvSpPr>
          <p:cNvPr id="3" name="Content Placeholder 2"/>
          <p:cNvSpPr>
            <a:spLocks noGrp="1"/>
          </p:cNvSpPr>
          <p:nvPr>
            <p:ph sz="quarter" idx="13"/>
          </p:nvPr>
        </p:nvSpPr>
        <p:spPr/>
        <p:txBody>
          <a:bodyPr>
            <a:normAutofit lnSpcReduction="10000"/>
          </a:bodyPr>
          <a:lstStyle/>
          <a:p>
            <a:r>
              <a:rPr lang="en-GB" dirty="0" smtClean="0"/>
              <a:t>Passing property gives nothing (or at least very little) to debug</a:t>
            </a:r>
          </a:p>
          <a:p>
            <a:r>
              <a:rPr lang="en-GB" dirty="0" smtClean="0"/>
              <a:t>Over-constraints can be detected by</a:t>
            </a:r>
          </a:p>
          <a:p>
            <a:pPr lvl="1"/>
            <a:r>
              <a:rPr lang="en-GB" dirty="0" smtClean="0"/>
              <a:t>Analysing code coverage achieved by property set</a:t>
            </a:r>
          </a:p>
          <a:p>
            <a:pPr lvl="2"/>
            <a:r>
              <a:rPr lang="en-GB" dirty="0" smtClean="0"/>
              <a:t>Some formal tools now have code coverage capability built in</a:t>
            </a:r>
          </a:p>
          <a:p>
            <a:pPr lvl="2"/>
            <a:r>
              <a:rPr lang="en-GB" dirty="0" smtClean="0"/>
              <a:t>Any lines of code not verified by properties? Are these expected?</a:t>
            </a:r>
          </a:p>
          <a:p>
            <a:pPr lvl="1"/>
            <a:r>
              <a:rPr lang="en-GB" dirty="0" smtClean="0"/>
              <a:t>Checking constraints in simulation</a:t>
            </a:r>
          </a:p>
          <a:p>
            <a:pPr lvl="2"/>
            <a:r>
              <a:rPr lang="en-GB" dirty="0" smtClean="0"/>
              <a:t>Constraint can be run as an assertion in simulation</a:t>
            </a:r>
          </a:p>
          <a:p>
            <a:pPr marL="0" indent="0">
              <a:buNone/>
            </a:pPr>
            <a:r>
              <a:rPr lang="en-GB" sz="1800" dirty="0" smtClean="0"/>
              <a:t>	Formal:          </a:t>
            </a:r>
            <a:r>
              <a:rPr lang="en-GB" sz="1800" i="1" dirty="0" smtClean="0"/>
              <a:t>assume </a:t>
            </a:r>
            <a:r>
              <a:rPr lang="en-GB" sz="1800" i="1" dirty="0" err="1" smtClean="0"/>
              <a:t>vld</a:t>
            </a:r>
            <a:r>
              <a:rPr lang="en-GB" sz="1800" i="1" dirty="0" smtClean="0"/>
              <a:t> == !</a:t>
            </a:r>
            <a:r>
              <a:rPr lang="en-GB" sz="1800" i="1" dirty="0" err="1" smtClean="0"/>
              <a:t>prev</a:t>
            </a:r>
            <a:r>
              <a:rPr lang="en-GB" sz="1800" i="1" dirty="0" smtClean="0"/>
              <a:t>(</a:t>
            </a:r>
            <a:r>
              <a:rPr lang="en-GB" sz="1800" i="1" dirty="0" err="1" smtClean="0"/>
              <a:t>vld</a:t>
            </a:r>
            <a:r>
              <a:rPr lang="en-GB" sz="1800" i="1" dirty="0" smtClean="0"/>
              <a:t>) // Will make </a:t>
            </a:r>
            <a:r>
              <a:rPr lang="en-GB" sz="1800" i="1" dirty="0" err="1" smtClean="0"/>
              <a:t>vld</a:t>
            </a:r>
            <a:r>
              <a:rPr lang="en-GB" sz="1800" i="1" dirty="0" smtClean="0"/>
              <a:t> toggle</a:t>
            </a:r>
          </a:p>
          <a:p>
            <a:pPr marL="0" indent="0">
              <a:buNone/>
            </a:pPr>
            <a:r>
              <a:rPr lang="en-GB" sz="1800" i="1" dirty="0" smtClean="0"/>
              <a:t>	</a:t>
            </a:r>
            <a:r>
              <a:rPr lang="en-GB" sz="1800" dirty="0" smtClean="0"/>
              <a:t>Simulation</a:t>
            </a:r>
            <a:r>
              <a:rPr lang="en-GB" sz="1800" i="1" dirty="0" smtClean="0"/>
              <a:t>:     assume </a:t>
            </a:r>
            <a:r>
              <a:rPr lang="en-GB" sz="1800" i="1" dirty="0" err="1" smtClean="0"/>
              <a:t>vld</a:t>
            </a:r>
            <a:r>
              <a:rPr lang="en-GB" sz="1800" i="1" dirty="0" smtClean="0"/>
              <a:t> == !</a:t>
            </a:r>
            <a:r>
              <a:rPr lang="en-GB" sz="1800" i="1" dirty="0" err="1" smtClean="0"/>
              <a:t>prev</a:t>
            </a:r>
            <a:r>
              <a:rPr lang="en-GB" sz="1800" i="1" dirty="0" smtClean="0"/>
              <a:t>(</a:t>
            </a:r>
            <a:r>
              <a:rPr lang="en-GB" sz="1800" i="1" dirty="0" err="1" smtClean="0"/>
              <a:t>vld</a:t>
            </a:r>
            <a:r>
              <a:rPr lang="en-GB" sz="1800" i="1" dirty="0" smtClean="0"/>
              <a:t>) // Will check </a:t>
            </a:r>
            <a:r>
              <a:rPr lang="en-GB" sz="1800" i="1" dirty="0" err="1" smtClean="0"/>
              <a:t>vld</a:t>
            </a:r>
            <a:r>
              <a:rPr lang="en-GB" sz="1800" i="1" dirty="0" smtClean="0"/>
              <a:t> toggles</a:t>
            </a:r>
          </a:p>
          <a:p>
            <a:pPr lvl="2"/>
            <a:r>
              <a:rPr lang="en-GB" dirty="0" smtClean="0"/>
              <a:t>If the assertion fails then the constraint is incorrect (or there is a problem with the test bench) and needs to be re-worked (and the property set re-run)</a:t>
            </a:r>
          </a:p>
          <a:p>
            <a:pPr lvl="2"/>
            <a:r>
              <a:rPr lang="en-GB" dirty="0" smtClean="0"/>
              <a:t>Will not detect all over-constraints but will certainly detect this one!</a:t>
            </a:r>
          </a:p>
          <a:p>
            <a:pPr marL="576000" lvl="2" indent="0">
              <a:buNone/>
            </a:pPr>
            <a:r>
              <a:rPr lang="en-GB" i="1" dirty="0" smtClean="0"/>
              <a:t>		</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45</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Tree>
    <p:extLst>
      <p:ext uri="{BB962C8B-B14F-4D97-AF65-F5344CB8AC3E}">
        <p14:creationId xmlns:p14="http://schemas.microsoft.com/office/powerpoint/2010/main" val="3692225035"/>
      </p:ext>
    </p:extLst>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hecking Properties at Different Hierarchy Levels</a:t>
            </a:r>
            <a:endParaRPr lang="en-GB" dirty="0"/>
          </a:p>
        </p:txBody>
      </p:sp>
      <p:sp>
        <p:nvSpPr>
          <p:cNvPr id="3" name="Content Placeholder 2"/>
          <p:cNvSpPr>
            <a:spLocks noGrp="1"/>
          </p:cNvSpPr>
          <p:nvPr>
            <p:ph sz="quarter" idx="13"/>
          </p:nvPr>
        </p:nvSpPr>
        <p:spPr/>
        <p:txBody>
          <a:bodyPr/>
          <a:lstStyle/>
          <a:p>
            <a:r>
              <a:rPr lang="en-GB" dirty="0" smtClean="0"/>
              <a:t>Checking the properties at different hierarchy levels (IP, Subsystem, SoC) can help with checking that the block has been properly integrated</a:t>
            </a:r>
          </a:p>
          <a:p>
            <a:pPr lvl="1"/>
            <a:r>
              <a:rPr lang="en-GB" dirty="0" smtClean="0"/>
              <a:t>Failing property indicates inputs are driven incorrectly e.g. an IP driving valid data too aggressively</a:t>
            </a:r>
          </a:p>
          <a:p>
            <a:r>
              <a:rPr lang="en-GB" dirty="0" smtClean="0"/>
              <a:t>May not be possible to formally check properties at higher levels of hierarchy</a:t>
            </a:r>
          </a:p>
          <a:p>
            <a:pPr lvl="1"/>
            <a:r>
              <a:rPr lang="en-GB" dirty="0" smtClean="0"/>
              <a:t>Capacity issues for formal tools for large designs</a:t>
            </a:r>
          </a:p>
          <a:p>
            <a:pPr lvl="1"/>
            <a:r>
              <a:rPr lang="en-GB" dirty="0" smtClean="0"/>
              <a:t>New interfaces to constrain -&gt; new false failures</a:t>
            </a:r>
          </a:p>
          <a:p>
            <a:r>
              <a:rPr lang="en-GB" dirty="0" smtClean="0"/>
              <a:t>Can easily check properties as assertions in simulation at different hierarchy levels </a:t>
            </a:r>
          </a:p>
          <a:p>
            <a:pPr lvl="1"/>
            <a:r>
              <a:rPr lang="en-GB" dirty="0" smtClean="0"/>
              <a:t>Should be sufficient to just check the constraints since have formally proved that if these are satisfied the properties hold</a:t>
            </a:r>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46</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Tree>
    <p:extLst>
      <p:ext uri="{BB962C8B-B14F-4D97-AF65-F5344CB8AC3E}">
        <p14:creationId xmlns:p14="http://schemas.microsoft.com/office/powerpoint/2010/main" val="1697533920"/>
      </p:ext>
    </p:extLst>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Summary</a:t>
            </a:r>
            <a:endParaRPr lang="en-GB" dirty="0"/>
          </a:p>
        </p:txBody>
      </p:sp>
    </p:spTree>
    <p:extLst>
      <p:ext uri="{BB962C8B-B14F-4D97-AF65-F5344CB8AC3E}">
        <p14:creationId xmlns:p14="http://schemas.microsoft.com/office/powerpoint/2010/main" val="5999112"/>
      </p:ext>
    </p:extLst>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ummary</a:t>
            </a:r>
            <a:endParaRPr lang="en-GB" dirty="0"/>
          </a:p>
        </p:txBody>
      </p:sp>
      <p:sp>
        <p:nvSpPr>
          <p:cNvPr id="3" name="Content Placeholder 2"/>
          <p:cNvSpPr>
            <a:spLocks noGrp="1"/>
          </p:cNvSpPr>
          <p:nvPr>
            <p:ph sz="quarter" idx="13"/>
          </p:nvPr>
        </p:nvSpPr>
        <p:spPr/>
        <p:txBody>
          <a:bodyPr>
            <a:normAutofit/>
          </a:bodyPr>
          <a:lstStyle/>
          <a:p>
            <a:r>
              <a:rPr lang="en-GB" dirty="0" smtClean="0"/>
              <a:t>Semiconductor industry is fast moving</a:t>
            </a:r>
          </a:p>
          <a:p>
            <a:pPr lvl="1"/>
            <a:r>
              <a:rPr lang="en-GB" dirty="0" smtClean="0"/>
              <a:t>As a semiconductor company need to be able to handle drive for doubling of complexity every couple of years</a:t>
            </a:r>
          </a:p>
          <a:p>
            <a:r>
              <a:rPr lang="en-GB" dirty="0"/>
              <a:t>A</a:t>
            </a:r>
            <a:r>
              <a:rPr lang="en-GB" dirty="0" smtClean="0"/>
              <a:t>utomotive semiconductors among quickest growing segments – driven by ADAS, AVs and electrification</a:t>
            </a:r>
          </a:p>
          <a:p>
            <a:r>
              <a:rPr lang="en-GB" dirty="0" smtClean="0"/>
              <a:t>Verification requirements for automotive applications are driven by conflicting requirements</a:t>
            </a:r>
          </a:p>
          <a:p>
            <a:pPr lvl="1"/>
            <a:r>
              <a:rPr lang="en-GB" dirty="0" smtClean="0"/>
              <a:t>Need to become more efficient</a:t>
            </a:r>
          </a:p>
          <a:p>
            <a:pPr lvl="1"/>
            <a:r>
              <a:rPr lang="en-GB" dirty="0" smtClean="0"/>
              <a:t>Large cost of getting it wrong – both economic and impact on safety</a:t>
            </a:r>
          </a:p>
          <a:p>
            <a:pPr lvl="1"/>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48</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Tree>
    <p:extLst>
      <p:ext uri="{BB962C8B-B14F-4D97-AF65-F5344CB8AC3E}">
        <p14:creationId xmlns:p14="http://schemas.microsoft.com/office/powerpoint/2010/main" val="470465432"/>
      </p:ext>
    </p:ext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ummary</a:t>
            </a:r>
            <a:endParaRPr lang="en-GB" dirty="0"/>
          </a:p>
        </p:txBody>
      </p:sp>
      <p:sp>
        <p:nvSpPr>
          <p:cNvPr id="3" name="Content Placeholder 2"/>
          <p:cNvSpPr>
            <a:spLocks noGrp="1"/>
          </p:cNvSpPr>
          <p:nvPr>
            <p:ph sz="quarter" idx="13"/>
          </p:nvPr>
        </p:nvSpPr>
        <p:spPr/>
        <p:txBody>
          <a:bodyPr/>
          <a:lstStyle/>
          <a:p>
            <a:r>
              <a:rPr lang="en-GB" dirty="0"/>
              <a:t>Effectively and efficiently deal with complexity by</a:t>
            </a:r>
          </a:p>
          <a:p>
            <a:pPr lvl="1"/>
            <a:r>
              <a:rPr lang="en-GB" dirty="0"/>
              <a:t>Divide and conquering</a:t>
            </a:r>
          </a:p>
          <a:p>
            <a:pPr lvl="1"/>
            <a:r>
              <a:rPr lang="en-GB" dirty="0"/>
              <a:t>Careful planning</a:t>
            </a:r>
          </a:p>
          <a:p>
            <a:pPr lvl="1"/>
            <a:r>
              <a:rPr lang="en-GB" dirty="0"/>
              <a:t>Achieving verification goals at appropriate level of hierarchy</a:t>
            </a:r>
          </a:p>
          <a:p>
            <a:pPr lvl="1"/>
            <a:r>
              <a:rPr lang="en-GB" dirty="0"/>
              <a:t>Achieving verification goals with appropriate technology </a:t>
            </a:r>
          </a:p>
          <a:p>
            <a:pPr lvl="1"/>
            <a:r>
              <a:rPr lang="en-GB" dirty="0"/>
              <a:t>Very good verification engineers working with leading edge tools and methodologies</a:t>
            </a:r>
            <a:r>
              <a:rPr lang="en-GB" dirty="0" smtClean="0"/>
              <a:t>!</a:t>
            </a:r>
          </a:p>
          <a:p>
            <a:r>
              <a:rPr lang="en-GB" dirty="0" smtClean="0"/>
              <a:t>Re-use is a major driver for efficiency</a:t>
            </a:r>
          </a:p>
          <a:p>
            <a:pPr lvl="1"/>
            <a:r>
              <a:rPr lang="en-GB" dirty="0" smtClean="0"/>
              <a:t>Example of re-use of constraints and properties </a:t>
            </a:r>
          </a:p>
          <a:p>
            <a:pPr lvl="2"/>
            <a:r>
              <a:rPr lang="en-GB" dirty="0" smtClean="0"/>
              <a:t>across simulation and formal technologies</a:t>
            </a:r>
          </a:p>
          <a:p>
            <a:pPr lvl="2"/>
            <a:r>
              <a:rPr lang="en-GB" dirty="0" smtClean="0"/>
              <a:t>Across different hierarchy levels</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49</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Tree>
    <p:extLst>
      <p:ext uri="{BB962C8B-B14F-4D97-AF65-F5344CB8AC3E}">
        <p14:creationId xmlns:p14="http://schemas.microsoft.com/office/powerpoint/2010/main" val="2544043183"/>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orking in the Semiconductor Industry</a:t>
            </a:r>
            <a:endParaRPr lang="en-GB" dirty="0"/>
          </a:p>
        </p:txBody>
      </p:sp>
      <p:sp>
        <p:nvSpPr>
          <p:cNvPr id="3" name="Content Placeholder 2"/>
          <p:cNvSpPr>
            <a:spLocks noGrp="1"/>
          </p:cNvSpPr>
          <p:nvPr>
            <p:ph sz="quarter" idx="13"/>
          </p:nvPr>
        </p:nvSpPr>
        <p:spPr>
          <a:xfrm>
            <a:off x="250824" y="1916832"/>
            <a:ext cx="8641655" cy="4464918"/>
          </a:xfrm>
        </p:spPr>
        <p:txBody>
          <a:bodyPr>
            <a:normAutofit fontScale="92500" lnSpcReduction="10000"/>
          </a:bodyPr>
          <a:lstStyle/>
          <a:p>
            <a:r>
              <a:rPr lang="en-GB" dirty="0" smtClean="0"/>
              <a:t>100x-200x increase in complexity in last 15 years</a:t>
            </a:r>
          </a:p>
          <a:p>
            <a:pPr lvl="1"/>
            <a:r>
              <a:rPr lang="en-GB" dirty="0"/>
              <a:t>Generation-to-generation improvement in </a:t>
            </a:r>
            <a:r>
              <a:rPr lang="en-GB" dirty="0" smtClean="0"/>
              <a:t>efficiency</a:t>
            </a:r>
          </a:p>
          <a:p>
            <a:pPr lvl="1"/>
            <a:r>
              <a:rPr lang="en-GB" dirty="0" smtClean="0"/>
              <a:t>Ability to think </a:t>
            </a:r>
            <a:r>
              <a:rPr lang="en-GB" b="1" dirty="0" smtClean="0"/>
              <a:t>innovatively</a:t>
            </a:r>
          </a:p>
          <a:p>
            <a:pPr lvl="1"/>
            <a:r>
              <a:rPr lang="en-GB" dirty="0" smtClean="0"/>
              <a:t>Ability to learn from others - </a:t>
            </a:r>
            <a:r>
              <a:rPr lang="en-GB" b="1" dirty="0" smtClean="0"/>
              <a:t>continuous development</a:t>
            </a:r>
          </a:p>
          <a:p>
            <a:r>
              <a:rPr lang="en-GB" dirty="0" smtClean="0"/>
              <a:t>New problems with every iteration </a:t>
            </a:r>
          </a:p>
          <a:p>
            <a:pPr lvl="1"/>
            <a:r>
              <a:rPr lang="en-GB" dirty="0" smtClean="0"/>
              <a:t>Strong </a:t>
            </a:r>
            <a:r>
              <a:rPr lang="en-GB" b="1" dirty="0" smtClean="0"/>
              <a:t>problem solving skills</a:t>
            </a:r>
          </a:p>
          <a:p>
            <a:r>
              <a:rPr lang="en-GB" dirty="0"/>
              <a:t>High degrees of automation</a:t>
            </a:r>
          </a:p>
          <a:p>
            <a:pPr lvl="1"/>
            <a:r>
              <a:rPr lang="en-GB" dirty="0"/>
              <a:t>Use of EDA tools</a:t>
            </a:r>
          </a:p>
          <a:p>
            <a:pPr lvl="1"/>
            <a:r>
              <a:rPr lang="en-GB" dirty="0"/>
              <a:t>Strong </a:t>
            </a:r>
            <a:r>
              <a:rPr lang="en-GB" b="1" dirty="0" smtClean="0"/>
              <a:t>programming, scripting and data analysing skills</a:t>
            </a:r>
          </a:p>
          <a:p>
            <a:r>
              <a:rPr lang="en-GB" dirty="0" smtClean="0"/>
              <a:t>Re-use as much as possible</a:t>
            </a:r>
          </a:p>
          <a:p>
            <a:pPr lvl="1"/>
            <a:r>
              <a:rPr lang="en-GB" dirty="0" smtClean="0"/>
              <a:t>Understanding of </a:t>
            </a:r>
            <a:r>
              <a:rPr lang="en-GB" b="1" dirty="0" smtClean="0"/>
              <a:t>modular development</a:t>
            </a:r>
          </a:p>
          <a:p>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5</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7" name="Rectangle 6"/>
          <p:cNvSpPr/>
          <p:nvPr/>
        </p:nvSpPr>
        <p:spPr>
          <a:xfrm>
            <a:off x="250824" y="980728"/>
            <a:ext cx="8353036" cy="830997"/>
          </a:xfrm>
          <a:prstGeom prst="rect">
            <a:avLst/>
          </a:prstGeom>
          <a:solidFill>
            <a:schemeClr val="accent3"/>
          </a:solidFill>
        </p:spPr>
        <p:txBody>
          <a:bodyPr wrap="square">
            <a:spAutoFit/>
          </a:bodyPr>
          <a:lstStyle/>
          <a:p>
            <a:pPr algn="ctr"/>
            <a:r>
              <a:rPr lang="en-GB" dirty="0"/>
              <a:t>Fast moving industry </a:t>
            </a:r>
            <a:r>
              <a:rPr lang="en-GB" dirty="0" smtClean="0"/>
              <a:t>– have to cope with </a:t>
            </a:r>
            <a:r>
              <a:rPr lang="en-GB" dirty="0"/>
              <a:t>exponential growth in </a:t>
            </a:r>
            <a:r>
              <a:rPr lang="en-GB" dirty="0" smtClean="0"/>
              <a:t>complexity</a:t>
            </a:r>
            <a:endParaRPr lang="en-GB" dirty="0"/>
          </a:p>
        </p:txBody>
      </p:sp>
    </p:spTree>
    <p:extLst>
      <p:ext uri="{BB962C8B-B14F-4D97-AF65-F5344CB8AC3E}">
        <p14:creationId xmlns:p14="http://schemas.microsoft.com/office/powerpoint/2010/main" val="3416346183"/>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dressing the </a:t>
            </a:r>
            <a:r>
              <a:rPr lang="en-GB" dirty="0" smtClean="0"/>
              <a:t>challenges</a:t>
            </a:r>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51</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1511612347"/>
              </p:ext>
            </p:extLst>
          </p:nvPr>
        </p:nvGraphicFramePr>
        <p:xfrm>
          <a:off x="179512" y="1700808"/>
          <a:ext cx="8784976" cy="4586691"/>
        </p:xfrm>
        <a:graphic>
          <a:graphicData uri="http://schemas.openxmlformats.org/drawingml/2006/table">
            <a:tbl>
              <a:tblPr firstRow="1" bandRow="1">
                <a:tableStyleId>{5C22544A-7EE6-4342-B048-85BDC9FD1C3A}</a:tableStyleId>
              </a:tblPr>
              <a:tblGrid>
                <a:gridCol w="2140106"/>
                <a:gridCol w="3850939"/>
                <a:gridCol w="2793931"/>
              </a:tblGrid>
              <a:tr h="715534">
                <a:tc>
                  <a:txBody>
                    <a:bodyPr/>
                    <a:lstStyle/>
                    <a:p>
                      <a:r>
                        <a:rPr lang="en-GB" sz="1500" dirty="0" smtClean="0"/>
                        <a:t>Example Goal Types</a:t>
                      </a:r>
                      <a:endParaRPr lang="en-GB" sz="1500" dirty="0"/>
                    </a:p>
                  </a:txBody>
                  <a:tcPr/>
                </a:tc>
                <a:tc>
                  <a:txBody>
                    <a:bodyPr/>
                    <a:lstStyle/>
                    <a:p>
                      <a:r>
                        <a:rPr lang="en-GB" sz="1500" dirty="0" smtClean="0"/>
                        <a:t>Examples</a:t>
                      </a:r>
                      <a:endParaRPr lang="en-GB" sz="1500" dirty="0"/>
                    </a:p>
                  </a:txBody>
                  <a:tcPr/>
                </a:tc>
                <a:tc>
                  <a:txBody>
                    <a:bodyPr/>
                    <a:lstStyle/>
                    <a:p>
                      <a:r>
                        <a:rPr lang="en-GB" sz="1500" dirty="0" smtClean="0"/>
                        <a:t>Example</a:t>
                      </a:r>
                      <a:r>
                        <a:rPr lang="en-GB" sz="1500" baseline="0" dirty="0" smtClean="0"/>
                        <a:t> </a:t>
                      </a:r>
                      <a:r>
                        <a:rPr lang="en-GB" sz="1500" dirty="0" smtClean="0"/>
                        <a:t>Techniques</a:t>
                      </a:r>
                      <a:endParaRPr lang="en-GB" sz="1500" dirty="0"/>
                    </a:p>
                  </a:txBody>
                  <a:tcPr/>
                </a:tc>
              </a:tr>
              <a:tr h="821124">
                <a:tc>
                  <a:txBody>
                    <a:bodyPr/>
                    <a:lstStyle/>
                    <a:p>
                      <a:r>
                        <a:rPr lang="en-GB" sz="1500" dirty="0" smtClean="0"/>
                        <a:t>Requirements</a:t>
                      </a:r>
                    </a:p>
                  </a:txBody>
                  <a:tcPr/>
                </a:tc>
                <a:tc>
                  <a:txBody>
                    <a:bodyPr/>
                    <a:lstStyle/>
                    <a:p>
                      <a:r>
                        <a:rPr lang="en-GB" sz="1500" dirty="0" smtClean="0"/>
                        <a:t>The</a:t>
                      </a:r>
                      <a:r>
                        <a:rPr lang="en-GB" sz="1500" baseline="0" dirty="0" smtClean="0"/>
                        <a:t> DMA shall be able to move data from source to target at 3.2 GB per second</a:t>
                      </a:r>
                      <a:endParaRPr lang="en-GB" sz="1500" dirty="0"/>
                    </a:p>
                  </a:txBody>
                  <a:tcPr/>
                </a:tc>
                <a:tc>
                  <a:txBody>
                    <a:bodyPr/>
                    <a:lstStyle/>
                    <a:p>
                      <a:r>
                        <a:rPr lang="en-GB" sz="1500" dirty="0" smtClean="0"/>
                        <a:t>Benchmark</a:t>
                      </a:r>
                      <a:r>
                        <a:rPr lang="en-GB" sz="1500" baseline="0" dirty="0" smtClean="0"/>
                        <a:t> @ sub-system level</a:t>
                      </a:r>
                      <a:endParaRPr lang="en-GB" sz="1500" dirty="0"/>
                    </a:p>
                  </a:txBody>
                  <a:tcPr/>
                </a:tc>
              </a:tr>
              <a:tr h="384164">
                <a:tc>
                  <a:txBody>
                    <a:bodyPr/>
                    <a:lstStyle/>
                    <a:p>
                      <a:r>
                        <a:rPr lang="en-GB" sz="1500" dirty="0" smtClean="0"/>
                        <a:t>Features </a:t>
                      </a:r>
                      <a:endParaRPr lang="en-GB" sz="1500" dirty="0"/>
                    </a:p>
                  </a:txBody>
                  <a:tcPr/>
                </a:tc>
                <a:tc>
                  <a:txBody>
                    <a:bodyPr/>
                    <a:lstStyle/>
                    <a:p>
                      <a:r>
                        <a:rPr lang="en-GB" sz="1500" dirty="0" smtClean="0"/>
                        <a:t>The DMA</a:t>
                      </a:r>
                      <a:r>
                        <a:rPr lang="en-GB" sz="1500" baseline="0" dirty="0" smtClean="0"/>
                        <a:t> has two move engines</a:t>
                      </a:r>
                      <a:endParaRPr lang="en-GB" sz="1500" dirty="0"/>
                    </a:p>
                  </a:txBody>
                  <a:tcPr/>
                </a:tc>
                <a:tc>
                  <a:txBody>
                    <a:bodyPr/>
                    <a:lstStyle/>
                    <a:p>
                      <a:r>
                        <a:rPr lang="en-GB" sz="1500" dirty="0" smtClean="0"/>
                        <a:t>FC @</a:t>
                      </a:r>
                      <a:r>
                        <a:rPr lang="en-GB" sz="1500" baseline="0" dirty="0" smtClean="0"/>
                        <a:t> module level</a:t>
                      </a:r>
                      <a:endParaRPr lang="en-GB" sz="1500" dirty="0"/>
                    </a:p>
                  </a:txBody>
                  <a:tcPr/>
                </a:tc>
              </a:tr>
              <a:tr h="780536">
                <a:tc>
                  <a:txBody>
                    <a:bodyPr/>
                    <a:lstStyle/>
                    <a:p>
                      <a:r>
                        <a:rPr lang="en-GB" sz="1500" dirty="0" smtClean="0"/>
                        <a:t>Properties</a:t>
                      </a:r>
                      <a:endParaRPr lang="en-GB" sz="15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smtClean="0"/>
                        <a:t>If</a:t>
                      </a:r>
                      <a:r>
                        <a:rPr lang="en-GB" sz="1500" baseline="0" dirty="0" smtClean="0"/>
                        <a:t> a move engine is not in use it must service any new move requests</a:t>
                      </a:r>
                      <a:endParaRPr lang="en-GB" sz="15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smtClean="0"/>
                        <a:t>Assertions </a:t>
                      </a:r>
                      <a:r>
                        <a:rPr lang="en-GB" sz="1500" baseline="0" dirty="0" smtClean="0"/>
                        <a:t>or formal property checking @ module level</a:t>
                      </a:r>
                      <a:endParaRPr lang="en-GB" sz="1500" dirty="0" smtClean="0"/>
                    </a:p>
                  </a:txBody>
                  <a:tcPr/>
                </a:tc>
              </a:tr>
              <a:tr h="552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smtClean="0"/>
                        <a:t>Corner</a:t>
                      </a:r>
                      <a:r>
                        <a:rPr lang="en-GB" sz="1500" baseline="0" dirty="0" smtClean="0"/>
                        <a:t> Cases</a:t>
                      </a:r>
                      <a:endParaRPr lang="en-GB" sz="15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smtClean="0"/>
                        <a:t>Both</a:t>
                      </a:r>
                      <a:r>
                        <a:rPr lang="en-GB" sz="1500" baseline="0" dirty="0" smtClean="0"/>
                        <a:t> move engines are requested at the same time</a:t>
                      </a:r>
                      <a:endParaRPr lang="en-GB" sz="15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smtClean="0"/>
                        <a:t>FC @</a:t>
                      </a:r>
                      <a:r>
                        <a:rPr lang="en-GB" sz="1500" baseline="0" dirty="0" smtClean="0"/>
                        <a:t> module level</a:t>
                      </a:r>
                      <a:endParaRPr lang="en-GB" sz="15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1500" dirty="0" smtClean="0"/>
                    </a:p>
                  </a:txBody>
                  <a:tcPr/>
                </a:tc>
              </a:tr>
              <a:tr h="664240">
                <a:tc>
                  <a:txBody>
                    <a:bodyPr/>
                    <a:lstStyle/>
                    <a:p>
                      <a:r>
                        <a:rPr lang="en-GB" sz="1500" dirty="0" smtClean="0"/>
                        <a:t>Connectivity</a:t>
                      </a:r>
                      <a:endParaRPr lang="en-GB" sz="1500" dirty="0"/>
                    </a:p>
                  </a:txBody>
                  <a:tcPr/>
                </a:tc>
                <a:tc>
                  <a:txBody>
                    <a:bodyPr/>
                    <a:lstStyle/>
                    <a:p>
                      <a:r>
                        <a:rPr lang="en-GB" sz="1500" baseline="0" dirty="0" smtClean="0"/>
                        <a:t>All module interfaces have been connected properly</a:t>
                      </a:r>
                    </a:p>
                  </a:txBody>
                  <a:tcPr/>
                </a:tc>
                <a:tc>
                  <a:txBody>
                    <a:bodyPr/>
                    <a:lstStyle/>
                    <a:p>
                      <a:r>
                        <a:rPr lang="en-GB" sz="1500" baseline="0" dirty="0" smtClean="0"/>
                        <a:t>Toggle coverage or formal checks @ sub-system level</a:t>
                      </a:r>
                    </a:p>
                  </a:txBody>
                  <a:tcPr/>
                </a:tc>
              </a:tr>
              <a:tr h="668213">
                <a:tc>
                  <a:txBody>
                    <a:bodyPr/>
                    <a:lstStyle/>
                    <a:p>
                      <a:r>
                        <a:rPr lang="en-GB" sz="1500" dirty="0" smtClean="0"/>
                        <a:t>Metrics</a:t>
                      </a:r>
                      <a:endParaRPr lang="en-GB" sz="1500" dirty="0"/>
                    </a:p>
                  </a:txBody>
                  <a:tcPr/>
                </a:tc>
                <a:tc>
                  <a:txBody>
                    <a:bodyPr/>
                    <a:lstStyle/>
                    <a:p>
                      <a:r>
                        <a:rPr lang="en-GB" sz="1500" baseline="0" dirty="0" smtClean="0"/>
                        <a:t>All branches in the RTL have been executed</a:t>
                      </a:r>
                    </a:p>
                  </a:txBody>
                  <a:tcPr/>
                </a:tc>
                <a:tc>
                  <a:txBody>
                    <a:bodyPr/>
                    <a:lstStyle/>
                    <a:p>
                      <a:r>
                        <a:rPr lang="en-GB" sz="1500" baseline="0" dirty="0" smtClean="0"/>
                        <a:t>Combined* Code coverage @ module level</a:t>
                      </a:r>
                    </a:p>
                  </a:txBody>
                  <a:tcPr/>
                </a:tc>
              </a:tr>
            </a:tbl>
          </a:graphicData>
        </a:graphic>
      </p:graphicFrame>
      <p:sp>
        <p:nvSpPr>
          <p:cNvPr id="8" name="Rectangle 7"/>
          <p:cNvSpPr/>
          <p:nvPr/>
        </p:nvSpPr>
        <p:spPr>
          <a:xfrm>
            <a:off x="251520" y="1052736"/>
            <a:ext cx="8353036" cy="461665"/>
          </a:xfrm>
          <a:prstGeom prst="rect">
            <a:avLst/>
          </a:prstGeom>
          <a:solidFill>
            <a:schemeClr val="accent3"/>
          </a:solidFill>
        </p:spPr>
        <p:txBody>
          <a:bodyPr wrap="square">
            <a:spAutoFit/>
          </a:bodyPr>
          <a:lstStyle/>
          <a:p>
            <a:pPr algn="ctr"/>
            <a:r>
              <a:rPr lang="en-GB" dirty="0" smtClean="0"/>
              <a:t>Verification Planning</a:t>
            </a:r>
            <a:endParaRPr lang="en-GB" dirty="0"/>
          </a:p>
        </p:txBody>
      </p:sp>
    </p:spTree>
    <p:extLst>
      <p:ext uri="{BB962C8B-B14F-4D97-AF65-F5344CB8AC3E}">
        <p14:creationId xmlns:p14="http://schemas.microsoft.com/office/powerpoint/2010/main" val="2713982006"/>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emiconductor </a:t>
            </a:r>
            <a:r>
              <a:rPr lang="en-GB" dirty="0"/>
              <a:t>I</a:t>
            </a:r>
            <a:r>
              <a:rPr lang="en-GB" dirty="0" smtClean="0"/>
              <a:t>ndustry in Bristol Area</a:t>
            </a:r>
            <a:endParaRPr lang="en-GB" dirty="0"/>
          </a:p>
        </p:txBody>
      </p:sp>
      <p:sp>
        <p:nvSpPr>
          <p:cNvPr id="3" name="Content Placeholder 2"/>
          <p:cNvSpPr>
            <a:spLocks noGrp="1"/>
          </p:cNvSpPr>
          <p:nvPr>
            <p:ph sz="quarter" idx="13"/>
          </p:nvPr>
        </p:nvSpPr>
        <p:spPr>
          <a:xfrm>
            <a:off x="251520" y="1988840"/>
            <a:ext cx="8641655" cy="4464918"/>
          </a:xfrm>
        </p:spPr>
        <p:txBody>
          <a:bodyPr>
            <a:normAutofit/>
          </a:bodyPr>
          <a:lstStyle/>
          <a:p>
            <a:r>
              <a:rPr lang="en-GB" dirty="0" smtClean="0"/>
              <a:t>Infineon</a:t>
            </a:r>
          </a:p>
          <a:p>
            <a:pPr lvl="1"/>
            <a:r>
              <a:rPr lang="en-GB" dirty="0" smtClean="0"/>
              <a:t>World #1 in power semiconductors and #2 in automotive and in smart cards</a:t>
            </a:r>
          </a:p>
          <a:p>
            <a:r>
              <a:rPr lang="en-GB" dirty="0" smtClean="0"/>
              <a:t>Huawei, Broadcom, Qualcomm</a:t>
            </a:r>
          </a:p>
          <a:p>
            <a:pPr lvl="1"/>
            <a:r>
              <a:rPr lang="en-GB" dirty="0" smtClean="0"/>
              <a:t>Global leaders in ICT (Information and Communication Technology) solutions based in China/US</a:t>
            </a:r>
          </a:p>
          <a:p>
            <a:r>
              <a:rPr lang="en-GB" dirty="0" smtClean="0"/>
              <a:t>Imagination Technologies</a:t>
            </a:r>
          </a:p>
          <a:p>
            <a:pPr lvl="1"/>
            <a:r>
              <a:rPr lang="en-GB" dirty="0" smtClean="0"/>
              <a:t>A UK based world leader in supplying IP e.g. GPRs</a:t>
            </a:r>
          </a:p>
          <a:p>
            <a:r>
              <a:rPr lang="en-GB" dirty="0" smtClean="0"/>
              <a:t> Start-ups and young companies such as XMOS, ...</a:t>
            </a:r>
          </a:p>
          <a:p>
            <a:endParaRPr lang="en-GB" dirty="0"/>
          </a:p>
        </p:txBody>
      </p:sp>
      <p:sp>
        <p:nvSpPr>
          <p:cNvPr id="4" name="Slide Number Placeholder 3"/>
          <p:cNvSpPr>
            <a:spLocks noGrp="1"/>
          </p:cNvSpPr>
          <p:nvPr>
            <p:ph type="sldNum" sz="quarter" idx="4"/>
          </p:nvPr>
        </p:nvSpPr>
        <p:spPr/>
        <p:txBody>
          <a:bodyPr/>
          <a:lstStyle/>
          <a:p>
            <a:r>
              <a:rPr lang="en-GB" smtClean="0"/>
              <a:t> </a:t>
            </a:r>
            <a:fld id="{DC8B3668-E1AB-4560-B66B-CD4643A23BF9}" type="slidenum">
              <a:rPr lang="en-GB" smtClean="0"/>
              <a:pPr/>
              <a:t>6</a:t>
            </a:fld>
            <a:endParaRPr lang="en-GB" dirty="0"/>
          </a:p>
        </p:txBody>
      </p:sp>
      <p:sp>
        <p:nvSpPr>
          <p:cNvPr id="5" name="Date Placeholder 4"/>
          <p:cNvSpPr>
            <a:spLocks noGrp="1"/>
          </p:cNvSpPr>
          <p:nvPr>
            <p:ph type="dt" sz="half" idx="2"/>
          </p:nvPr>
        </p:nvSpPr>
        <p:spPr/>
        <p:txBody>
          <a:bodyPr/>
          <a:lstStyle/>
          <a:p>
            <a:r>
              <a:rPr lang="en-GB" smtClean="0"/>
              <a:t>set date</a:t>
            </a:r>
            <a:endParaRPr lang="en-GB" dirty="0"/>
          </a:p>
        </p:txBody>
      </p:sp>
      <p:sp>
        <p:nvSpPr>
          <p:cNvPr id="6" name="Footer Placeholder 5"/>
          <p:cNvSpPr>
            <a:spLocks noGrp="1"/>
          </p:cNvSpPr>
          <p:nvPr>
            <p:ph type="ftr" sz="quarter" idx="3"/>
          </p:nvPr>
        </p:nvSpPr>
        <p:spPr/>
        <p:txBody>
          <a:bodyPr/>
          <a:lstStyle/>
          <a:p>
            <a:r>
              <a:rPr lang="en-GB" smtClean="0"/>
              <a:t>Copyright © Infineon Technologies AG 2015. All rights reserved.</a:t>
            </a:r>
            <a:endParaRPr lang="en-GB" dirty="0"/>
          </a:p>
        </p:txBody>
      </p:sp>
      <p:sp>
        <p:nvSpPr>
          <p:cNvPr id="8" name="Rectangle 7"/>
          <p:cNvSpPr/>
          <p:nvPr/>
        </p:nvSpPr>
        <p:spPr>
          <a:xfrm>
            <a:off x="250824" y="980728"/>
            <a:ext cx="8353036" cy="830997"/>
          </a:xfrm>
          <a:prstGeom prst="rect">
            <a:avLst/>
          </a:prstGeom>
          <a:solidFill>
            <a:schemeClr val="accent3"/>
          </a:solidFill>
        </p:spPr>
        <p:txBody>
          <a:bodyPr wrap="square">
            <a:spAutoFit/>
          </a:bodyPr>
          <a:lstStyle/>
          <a:p>
            <a:pPr lvl="0">
              <a:spcBef>
                <a:spcPts val="0"/>
              </a:spcBef>
              <a:spcAft>
                <a:spcPts val="1200"/>
              </a:spcAft>
              <a:buClr>
                <a:srgbClr val="E30034"/>
              </a:buClr>
              <a:buSzPct val="100000"/>
            </a:pPr>
            <a:r>
              <a:rPr lang="en-GB" kern="0" dirty="0" smtClean="0">
                <a:solidFill>
                  <a:srgbClr val="000000"/>
                </a:solidFill>
                <a:latin typeface="Verdana" pitchFamily="34" charset="0"/>
              </a:rPr>
              <a:t>“Silicon </a:t>
            </a:r>
            <a:r>
              <a:rPr lang="en-GB" kern="0" dirty="0">
                <a:solidFill>
                  <a:srgbClr val="000000"/>
                </a:solidFill>
                <a:latin typeface="Verdana" pitchFamily="34" charset="0"/>
              </a:rPr>
              <a:t>Gorge” </a:t>
            </a:r>
            <a:r>
              <a:rPr lang="en-GB" kern="0" dirty="0" smtClean="0">
                <a:solidFill>
                  <a:srgbClr val="000000"/>
                </a:solidFill>
                <a:latin typeface="Verdana" pitchFamily="34" charset="0"/>
              </a:rPr>
              <a:t>- 5</a:t>
            </a:r>
            <a:r>
              <a:rPr lang="en-GB" kern="0" baseline="30000" dirty="0" smtClean="0">
                <a:solidFill>
                  <a:srgbClr val="000000"/>
                </a:solidFill>
                <a:latin typeface="Verdana" pitchFamily="34" charset="0"/>
              </a:rPr>
              <a:t>th</a:t>
            </a:r>
            <a:r>
              <a:rPr lang="en-GB" kern="0" dirty="0" smtClean="0">
                <a:solidFill>
                  <a:srgbClr val="000000"/>
                </a:solidFill>
                <a:latin typeface="Verdana" pitchFamily="34" charset="0"/>
              </a:rPr>
              <a:t> </a:t>
            </a:r>
            <a:r>
              <a:rPr lang="en-GB" kern="0" dirty="0">
                <a:solidFill>
                  <a:srgbClr val="000000"/>
                </a:solidFill>
                <a:latin typeface="Verdana" pitchFamily="34" charset="0"/>
              </a:rPr>
              <a:t>largest conglomeration of high tech companies in Europe (Wikipedia)</a:t>
            </a:r>
          </a:p>
        </p:txBody>
      </p:sp>
    </p:spTree>
    <p:extLst>
      <p:ext uri="{BB962C8B-B14F-4D97-AF65-F5344CB8AC3E}">
        <p14:creationId xmlns:p14="http://schemas.microsoft.com/office/powerpoint/2010/main" val="1758854265"/>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Infineon</a:t>
            </a:r>
            <a:endParaRPr lang="en-GB" dirty="0"/>
          </a:p>
        </p:txBody>
      </p:sp>
    </p:spTree>
    <p:extLst>
      <p:ext uri="{BB962C8B-B14F-4D97-AF65-F5344CB8AC3E}">
        <p14:creationId xmlns:p14="http://schemas.microsoft.com/office/powerpoint/2010/main" val="1352813508"/>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4"/>
          </p:nvPr>
        </p:nvSpPr>
        <p:spPr/>
        <p:txBody>
          <a:bodyPr/>
          <a:lstStyle/>
          <a:p>
            <a:fld id="{A71CE892-DF73-4337-8EFB-E11694675A00}" type="slidenum">
              <a:rPr lang="en-US" smtClean="0"/>
              <a:pPr/>
              <a:t>8</a:t>
            </a:fld>
            <a:endParaRPr lang="en-US" dirty="0"/>
          </a:p>
        </p:txBody>
      </p:sp>
      <p:sp>
        <p:nvSpPr>
          <p:cNvPr id="24" name="Date Placeholder 23"/>
          <p:cNvSpPr>
            <a:spLocks noGrp="1"/>
          </p:cNvSpPr>
          <p:nvPr>
            <p:ph type="dt" sz="half" idx="2"/>
          </p:nvPr>
        </p:nvSpPr>
        <p:spPr/>
        <p:txBody>
          <a:bodyPr/>
          <a:lstStyle/>
          <a:p>
            <a:r>
              <a:rPr lang="en-US" dirty="0" smtClean="0"/>
              <a:t>July 2015</a:t>
            </a:r>
            <a:endParaRPr lang="en-US" dirty="0"/>
          </a:p>
        </p:txBody>
      </p:sp>
      <p:sp>
        <p:nvSpPr>
          <p:cNvPr id="25" name="Footer Placeholder 24"/>
          <p:cNvSpPr>
            <a:spLocks noGrp="1"/>
          </p:cNvSpPr>
          <p:nvPr>
            <p:ph type="ftr" sz="quarter" idx="3"/>
          </p:nvPr>
        </p:nvSpPr>
        <p:spPr/>
        <p:txBody>
          <a:bodyPr/>
          <a:lstStyle/>
          <a:p>
            <a:r>
              <a:rPr lang="en-US" dirty="0" smtClean="0"/>
              <a:t>Copyright © Infineon Technologies AG 2015. All rights reserved.</a:t>
            </a:r>
            <a:endParaRPr lang="en-US" dirty="0"/>
          </a:p>
        </p:txBody>
      </p:sp>
      <p:pic>
        <p:nvPicPr>
          <p:cNvPr id="6" name="Bild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908114"/>
            <a:ext cx="9144000" cy="5640019"/>
          </a:xfrm>
          <a:prstGeom prst="rect">
            <a:avLst/>
          </a:prstGeom>
        </p:spPr>
      </p:pic>
      <p:sp>
        <p:nvSpPr>
          <p:cNvPr id="9" name="Textfeld 8"/>
          <p:cNvSpPr txBox="1"/>
          <p:nvPr/>
        </p:nvSpPr>
        <p:spPr bwMode="auto">
          <a:xfrm>
            <a:off x="6098666" y="5445280"/>
            <a:ext cx="2880400" cy="777136"/>
          </a:xfrm>
          <a:prstGeom prst="rect">
            <a:avLst/>
          </a:prstGeom>
          <a:noFill/>
          <a:ln w="9525">
            <a:noFill/>
            <a:miter lim="800000"/>
            <a:headEnd/>
            <a:tailEnd/>
          </a:ln>
          <a:effectLst/>
        </p:spPr>
        <p:txBody>
          <a:bodyPr wrap="square" lIns="0" tIns="0" rIns="0" bIns="0" rtlCol="0" anchor="ctr" anchorCtr="0">
            <a:spAutoFit/>
          </a:bodyPr>
          <a:lstStyle/>
          <a:p>
            <a:pPr marR="0" defTabSz="914400" eaLnBrk="0" fontAlgn="auto" latinLnBrk="0" hangingPunct="0">
              <a:spcBef>
                <a:spcPts val="0"/>
              </a:spcBef>
              <a:spcAft>
                <a:spcPts val="300"/>
              </a:spcAft>
              <a:buClr>
                <a:schemeClr val="accent1"/>
              </a:buClr>
              <a:buSzTx/>
              <a:tabLst/>
            </a:pPr>
            <a:r>
              <a:rPr lang="en-US" kern="0" dirty="0" smtClean="0">
                <a:latin typeface="Verdana" pitchFamily="34" charset="0"/>
                <a:ea typeface="Verdana" pitchFamily="34" charset="0"/>
                <a:cs typeface="Verdana" pitchFamily="34" charset="0"/>
              </a:rPr>
              <a:t>Part of your life. </a:t>
            </a:r>
          </a:p>
          <a:p>
            <a:pPr marR="0" defTabSz="914400" eaLnBrk="0" fontAlgn="auto" latinLnBrk="0" hangingPunct="0">
              <a:spcBef>
                <a:spcPts val="0"/>
              </a:spcBef>
              <a:spcAft>
                <a:spcPts val="300"/>
              </a:spcAft>
              <a:buClr>
                <a:schemeClr val="accent1"/>
              </a:buClr>
              <a:buSzTx/>
              <a:tabLst/>
            </a:pPr>
            <a:r>
              <a:rPr lang="en-US" kern="0" dirty="0" smtClean="0">
                <a:latin typeface="Verdana" pitchFamily="34" charset="0"/>
                <a:ea typeface="Verdana" pitchFamily="34" charset="0"/>
                <a:cs typeface="Verdana" pitchFamily="34" charset="0"/>
              </a:rPr>
              <a:t>Part of tomorrow.</a:t>
            </a:r>
          </a:p>
        </p:txBody>
      </p:sp>
      <p:sp>
        <p:nvSpPr>
          <p:cNvPr id="10" name="Textfeld 7"/>
          <p:cNvSpPr txBox="1"/>
          <p:nvPr/>
        </p:nvSpPr>
        <p:spPr bwMode="auto">
          <a:xfrm>
            <a:off x="2290829" y="2796174"/>
            <a:ext cx="3744520" cy="1615827"/>
          </a:xfrm>
          <a:prstGeom prst="rect">
            <a:avLst/>
          </a:prstGeom>
          <a:noFill/>
          <a:ln w="9525">
            <a:noFill/>
            <a:miter lim="800000"/>
            <a:headEnd/>
            <a:tailEnd/>
          </a:ln>
          <a:effectLst/>
        </p:spPr>
        <p:txBody>
          <a:bodyPr wrap="square" lIns="0" tIns="0" rIns="0" bIns="0" rtlCol="0" anchor="ctr" anchorCtr="0">
            <a:spAutoFit/>
          </a:bodyPr>
          <a:lstStyle/>
          <a:p>
            <a:pPr marR="0" algn="ctr" defTabSz="914400" eaLnBrk="0" fontAlgn="auto" latinLnBrk="0" hangingPunct="0">
              <a:spcBef>
                <a:spcPts val="0"/>
              </a:spcBef>
              <a:spcAft>
                <a:spcPts val="300"/>
              </a:spcAft>
              <a:buClr>
                <a:schemeClr val="accent1"/>
              </a:buClr>
              <a:buSzTx/>
              <a:tabLst/>
            </a:pPr>
            <a:r>
              <a:rPr lang="en-US" sz="1500" kern="0" dirty="0" smtClean="0">
                <a:latin typeface="Verdana" pitchFamily="34" charset="0"/>
                <a:ea typeface="Verdana" pitchFamily="34" charset="0"/>
                <a:cs typeface="Verdana" pitchFamily="34" charset="0"/>
              </a:rPr>
              <a:t>We make life easier, safer </a:t>
            </a:r>
            <a:br>
              <a:rPr lang="en-US" sz="1500" kern="0" dirty="0" smtClean="0">
                <a:latin typeface="Verdana" pitchFamily="34" charset="0"/>
                <a:ea typeface="Verdana" pitchFamily="34" charset="0"/>
                <a:cs typeface="Verdana" pitchFamily="34" charset="0"/>
              </a:rPr>
            </a:br>
            <a:r>
              <a:rPr lang="en-US" sz="1500" kern="0" dirty="0" smtClean="0">
                <a:latin typeface="Verdana" pitchFamily="34" charset="0"/>
                <a:ea typeface="Verdana" pitchFamily="34" charset="0"/>
                <a:cs typeface="Verdana" pitchFamily="34" charset="0"/>
              </a:rPr>
              <a:t>and greener – with technology </a:t>
            </a:r>
            <a:br>
              <a:rPr lang="en-US" sz="1500" kern="0" dirty="0" smtClean="0">
                <a:latin typeface="Verdana" pitchFamily="34" charset="0"/>
                <a:ea typeface="Verdana" pitchFamily="34" charset="0"/>
                <a:cs typeface="Verdana" pitchFamily="34" charset="0"/>
              </a:rPr>
            </a:br>
            <a:r>
              <a:rPr lang="en-US" sz="1500" kern="0" dirty="0" smtClean="0">
                <a:latin typeface="Verdana" pitchFamily="34" charset="0"/>
                <a:ea typeface="Verdana" pitchFamily="34" charset="0"/>
                <a:cs typeface="Verdana" pitchFamily="34" charset="0"/>
              </a:rPr>
              <a:t>that achieves more, consumes </a:t>
            </a:r>
            <a:br>
              <a:rPr lang="en-US" sz="1500" kern="0" dirty="0" smtClean="0">
                <a:latin typeface="Verdana" pitchFamily="34" charset="0"/>
                <a:ea typeface="Verdana" pitchFamily="34" charset="0"/>
                <a:cs typeface="Verdana" pitchFamily="34" charset="0"/>
              </a:rPr>
            </a:br>
            <a:r>
              <a:rPr lang="en-US" sz="1500" kern="0" dirty="0" smtClean="0">
                <a:latin typeface="Verdana" pitchFamily="34" charset="0"/>
                <a:ea typeface="Verdana" pitchFamily="34" charset="0"/>
                <a:cs typeface="Verdana" pitchFamily="34" charset="0"/>
              </a:rPr>
              <a:t>less and is accessible to </a:t>
            </a:r>
            <a:br>
              <a:rPr lang="en-US" sz="1500" kern="0" dirty="0" smtClean="0">
                <a:latin typeface="Verdana" pitchFamily="34" charset="0"/>
                <a:ea typeface="Verdana" pitchFamily="34" charset="0"/>
                <a:cs typeface="Verdana" pitchFamily="34" charset="0"/>
              </a:rPr>
            </a:br>
            <a:r>
              <a:rPr lang="en-US" sz="1500" kern="0" dirty="0" smtClean="0">
                <a:latin typeface="Verdana" pitchFamily="34" charset="0"/>
                <a:ea typeface="Verdana" pitchFamily="34" charset="0"/>
                <a:cs typeface="Verdana" pitchFamily="34" charset="0"/>
              </a:rPr>
              <a:t>every­one. Microelectronics </a:t>
            </a:r>
            <a:br>
              <a:rPr lang="en-US" sz="1500" kern="0" dirty="0" smtClean="0">
                <a:latin typeface="Verdana" pitchFamily="34" charset="0"/>
                <a:ea typeface="Verdana" pitchFamily="34" charset="0"/>
                <a:cs typeface="Verdana" pitchFamily="34" charset="0"/>
              </a:rPr>
            </a:br>
            <a:r>
              <a:rPr lang="en-US" sz="1500" kern="0" dirty="0" smtClean="0">
                <a:latin typeface="Verdana" pitchFamily="34" charset="0"/>
                <a:ea typeface="Verdana" pitchFamily="34" charset="0"/>
                <a:cs typeface="Verdana" pitchFamily="34" charset="0"/>
              </a:rPr>
              <a:t>from Infineon is the </a:t>
            </a:r>
            <a:br>
              <a:rPr lang="en-US" sz="1500" kern="0" dirty="0" smtClean="0">
                <a:latin typeface="Verdana" pitchFamily="34" charset="0"/>
                <a:ea typeface="Verdana" pitchFamily="34" charset="0"/>
                <a:cs typeface="Verdana" pitchFamily="34" charset="0"/>
              </a:rPr>
            </a:br>
            <a:r>
              <a:rPr lang="en-US" sz="1500" kern="0" dirty="0" smtClean="0">
                <a:latin typeface="Verdana" pitchFamily="34" charset="0"/>
                <a:ea typeface="Verdana" pitchFamily="34" charset="0"/>
                <a:cs typeface="Verdana" pitchFamily="34" charset="0"/>
              </a:rPr>
              <a:t>key to a better future.</a:t>
            </a:r>
          </a:p>
        </p:txBody>
      </p:sp>
    </p:spTree>
    <p:custDataLst>
      <p:tags r:id="rId1"/>
    </p:custDataLst>
    <p:extLst>
      <p:ext uri="{BB962C8B-B14F-4D97-AF65-F5344CB8AC3E}">
        <p14:creationId xmlns:p14="http://schemas.microsoft.com/office/powerpoint/2010/main" val="3008737637"/>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Diagramm 50"/>
          <p:cNvGraphicFramePr/>
          <p:nvPr>
            <p:extLst>
              <p:ext uri="{D42A27DB-BD31-4B8C-83A1-F6EECF244321}">
                <p14:modId xmlns:p14="http://schemas.microsoft.com/office/powerpoint/2010/main" val="2540168326"/>
              </p:ext>
            </p:extLst>
          </p:nvPr>
        </p:nvGraphicFramePr>
        <p:xfrm>
          <a:off x="6156600" y="2582516"/>
          <a:ext cx="2736575" cy="24577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1" name="Diagramm 51"/>
          <p:cNvGraphicFramePr/>
          <p:nvPr>
            <p:extLst>
              <p:ext uri="{D42A27DB-BD31-4B8C-83A1-F6EECF244321}">
                <p14:modId xmlns:p14="http://schemas.microsoft.com/office/powerpoint/2010/main" val="1037550828"/>
              </p:ext>
            </p:extLst>
          </p:nvPr>
        </p:nvGraphicFramePr>
        <p:xfrm>
          <a:off x="3203576" y="2565730"/>
          <a:ext cx="2736614" cy="25191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3" name="Diagramm 45"/>
          <p:cNvGraphicFramePr/>
          <p:nvPr>
            <p:extLst>
              <p:ext uri="{D42A27DB-BD31-4B8C-83A1-F6EECF244321}">
                <p14:modId xmlns:p14="http://schemas.microsoft.com/office/powerpoint/2010/main" val="3232982380"/>
              </p:ext>
            </p:extLst>
          </p:nvPr>
        </p:nvGraphicFramePr>
        <p:xfrm>
          <a:off x="252165" y="2564515"/>
          <a:ext cx="2736000" cy="2520715"/>
        </p:xfrm>
        <a:graphic>
          <a:graphicData uri="http://schemas.openxmlformats.org/drawingml/2006/chart">
            <c:chart xmlns:c="http://schemas.openxmlformats.org/drawingml/2006/chart" xmlns:r="http://schemas.openxmlformats.org/officeDocument/2006/relationships" r:id="rId5"/>
          </a:graphicData>
        </a:graphic>
      </p:graphicFrame>
      <p:sp>
        <p:nvSpPr>
          <p:cNvPr id="5" name="Titel 4"/>
          <p:cNvSpPr>
            <a:spLocks noGrp="1"/>
          </p:cNvSpPr>
          <p:nvPr>
            <p:ph type="title"/>
          </p:nvPr>
        </p:nvSpPr>
        <p:spPr/>
        <p:txBody>
          <a:bodyPr/>
          <a:lstStyle/>
          <a:p>
            <a:r>
              <a:rPr lang="en-US" dirty="0" smtClean="0"/>
              <a:t>Top positions in all major product categories</a:t>
            </a:r>
            <a:endParaRPr lang="en-US" dirty="0"/>
          </a:p>
        </p:txBody>
      </p:sp>
      <p:sp>
        <p:nvSpPr>
          <p:cNvPr id="12" name="Slide Number Placeholder 11"/>
          <p:cNvSpPr>
            <a:spLocks noGrp="1"/>
          </p:cNvSpPr>
          <p:nvPr>
            <p:ph type="sldNum" sz="quarter" idx="4"/>
          </p:nvPr>
        </p:nvSpPr>
        <p:spPr/>
        <p:txBody>
          <a:bodyPr/>
          <a:lstStyle/>
          <a:p>
            <a:fld id="{D76EE51F-27BA-45FA-8796-28042A4C65A9}" type="slidenum">
              <a:rPr lang="en-US" smtClean="0"/>
              <a:pPr/>
              <a:t>9</a:t>
            </a:fld>
            <a:endParaRPr lang="en-US" dirty="0"/>
          </a:p>
        </p:txBody>
      </p:sp>
      <p:sp>
        <p:nvSpPr>
          <p:cNvPr id="13" name="Date Placeholder 12"/>
          <p:cNvSpPr>
            <a:spLocks noGrp="1"/>
          </p:cNvSpPr>
          <p:nvPr>
            <p:ph type="dt" sz="half" idx="2"/>
          </p:nvPr>
        </p:nvSpPr>
        <p:spPr/>
        <p:txBody>
          <a:bodyPr/>
          <a:lstStyle/>
          <a:p>
            <a:r>
              <a:rPr lang="en-US" dirty="0" smtClean="0"/>
              <a:t>July 2015</a:t>
            </a:r>
            <a:endParaRPr lang="en-US" dirty="0"/>
          </a:p>
        </p:txBody>
      </p:sp>
      <p:sp>
        <p:nvSpPr>
          <p:cNvPr id="14" name="Footer Placeholder 13"/>
          <p:cNvSpPr>
            <a:spLocks noGrp="1"/>
          </p:cNvSpPr>
          <p:nvPr>
            <p:ph type="ftr" sz="quarter" idx="3"/>
          </p:nvPr>
        </p:nvSpPr>
        <p:spPr/>
        <p:txBody>
          <a:bodyPr/>
          <a:lstStyle/>
          <a:p>
            <a:r>
              <a:rPr lang="en-US" dirty="0" smtClean="0"/>
              <a:t>Copyright © Infineon Technologies AG 2015. All rights reserved.</a:t>
            </a:r>
            <a:endParaRPr lang="en-US" dirty="0"/>
          </a:p>
        </p:txBody>
      </p:sp>
      <p:sp>
        <p:nvSpPr>
          <p:cNvPr id="31" name="Text Box 23"/>
          <p:cNvSpPr txBox="1">
            <a:spLocks noChangeArrowheads="1"/>
          </p:cNvSpPr>
          <p:nvPr/>
        </p:nvSpPr>
        <p:spPr bwMode="auto">
          <a:xfrm>
            <a:off x="3204190" y="5513329"/>
            <a:ext cx="2736000" cy="630942"/>
          </a:xfrm>
          <a:prstGeom prst="rect">
            <a:avLst/>
          </a:prstGeom>
          <a:noFill/>
          <a:ln w="9525">
            <a:noFill/>
            <a:miter lim="800000"/>
            <a:headEnd/>
            <a:tailEnd/>
          </a:ln>
          <a:effectLst/>
        </p:spPr>
        <p:txBody>
          <a:bodyPr wrap="square" lIns="0" tIns="0" rIns="0" bIns="0">
            <a:spAutoFit/>
          </a:bodyPr>
          <a:lstStyle/>
          <a:p>
            <a:pPr eaLnBrk="0" hangingPunct="0">
              <a:spcAft>
                <a:spcPts val="600"/>
              </a:spcAft>
              <a:buClr>
                <a:srgbClr val="00214A"/>
              </a:buClr>
            </a:pPr>
            <a:r>
              <a:rPr lang="en-US" sz="1200" dirty="0" smtClean="0">
                <a:latin typeface="Verdana"/>
                <a:ea typeface="MS PGothic" pitchFamily="34" charset="-128"/>
              </a:rPr>
              <a:t>Discrete power semiconductors and power modules.</a:t>
            </a:r>
          </a:p>
          <a:p>
            <a:pPr marL="627063" indent="-627063" eaLnBrk="0" hangingPunct="0">
              <a:spcAft>
                <a:spcPts val="600"/>
              </a:spcAft>
              <a:buClr>
                <a:srgbClr val="00214A"/>
              </a:buClr>
            </a:pPr>
            <a:r>
              <a:rPr lang="en-US" sz="1200" dirty="0" smtClean="0">
                <a:latin typeface="Verdana"/>
                <a:ea typeface="MS PGothic" pitchFamily="34" charset="-128"/>
              </a:rPr>
              <a:t>Source:	IHS Inc., September 2015</a:t>
            </a:r>
            <a:endParaRPr lang="en-US" sz="1200" dirty="0">
              <a:latin typeface="Verdana"/>
              <a:ea typeface="MS PGothic" pitchFamily="34" charset="-128"/>
            </a:endParaRPr>
          </a:p>
        </p:txBody>
      </p:sp>
      <p:sp>
        <p:nvSpPr>
          <p:cNvPr id="34" name="Text Box 27"/>
          <p:cNvSpPr txBox="1">
            <a:spLocks noChangeArrowheads="1"/>
          </p:cNvSpPr>
          <p:nvPr/>
        </p:nvSpPr>
        <p:spPr bwMode="auto">
          <a:xfrm>
            <a:off x="6156600" y="5513329"/>
            <a:ext cx="2736575" cy="630942"/>
          </a:xfrm>
          <a:prstGeom prst="rect">
            <a:avLst/>
          </a:prstGeom>
          <a:noFill/>
          <a:ln w="9525">
            <a:noFill/>
            <a:miter lim="800000"/>
            <a:headEnd/>
            <a:tailEnd/>
          </a:ln>
          <a:effectLst/>
        </p:spPr>
        <p:txBody>
          <a:bodyPr wrap="square" lIns="0" tIns="0" rIns="0" bIns="0">
            <a:spAutoFit/>
          </a:bodyPr>
          <a:lstStyle/>
          <a:p>
            <a:pPr eaLnBrk="0" hangingPunct="0">
              <a:spcAft>
                <a:spcPts val="600"/>
              </a:spcAft>
              <a:buClr>
                <a:srgbClr val="00214A"/>
              </a:buClr>
            </a:pPr>
            <a:r>
              <a:rPr lang="en-US" sz="1200" dirty="0" smtClean="0">
                <a:latin typeface="Verdana"/>
                <a:ea typeface="MS PGothic" pitchFamily="34" charset="-128"/>
              </a:rPr>
              <a:t>Microcontroller-based smart</a:t>
            </a:r>
            <a:br>
              <a:rPr lang="en-US" sz="1200" dirty="0" smtClean="0">
                <a:latin typeface="Verdana"/>
                <a:ea typeface="MS PGothic" pitchFamily="34" charset="-128"/>
              </a:rPr>
            </a:br>
            <a:r>
              <a:rPr lang="en-US" sz="1200" dirty="0" smtClean="0">
                <a:latin typeface="Verdana"/>
                <a:ea typeface="MS PGothic" pitchFamily="34" charset="-128"/>
              </a:rPr>
              <a:t>card ICs.</a:t>
            </a:r>
          </a:p>
          <a:p>
            <a:pPr eaLnBrk="0" hangingPunct="0">
              <a:spcAft>
                <a:spcPts val="600"/>
              </a:spcAft>
              <a:buClr>
                <a:srgbClr val="00214A"/>
              </a:buClr>
            </a:pPr>
            <a:r>
              <a:rPr lang="en-US" sz="1200" dirty="0" smtClean="0">
                <a:latin typeface="Verdana"/>
                <a:ea typeface="MS PGothic" pitchFamily="34" charset="-128"/>
              </a:rPr>
              <a:t>Source: IHS Inc., July 2015</a:t>
            </a:r>
            <a:endParaRPr lang="en-US" sz="1200" dirty="0">
              <a:latin typeface="Verdana"/>
              <a:ea typeface="MS PGothic" pitchFamily="34" charset="-128"/>
            </a:endParaRPr>
          </a:p>
        </p:txBody>
      </p:sp>
      <p:sp>
        <p:nvSpPr>
          <p:cNvPr id="35" name="Text Box 28"/>
          <p:cNvSpPr txBox="1">
            <a:spLocks noChangeArrowheads="1"/>
          </p:cNvSpPr>
          <p:nvPr/>
        </p:nvSpPr>
        <p:spPr bwMode="auto">
          <a:xfrm>
            <a:off x="250824" y="5516444"/>
            <a:ext cx="2737340" cy="815608"/>
          </a:xfrm>
          <a:prstGeom prst="rect">
            <a:avLst/>
          </a:prstGeom>
          <a:noFill/>
          <a:ln w="9525">
            <a:noFill/>
            <a:miter lim="800000"/>
            <a:headEnd/>
            <a:tailEnd/>
          </a:ln>
          <a:effectLst/>
        </p:spPr>
        <p:txBody>
          <a:bodyPr wrap="square" lIns="0" tIns="0" rIns="0" bIns="0">
            <a:spAutoFit/>
          </a:bodyPr>
          <a:lstStyle/>
          <a:p>
            <a:pPr eaLnBrk="0" hangingPunct="0">
              <a:spcAft>
                <a:spcPts val="600"/>
              </a:spcAft>
              <a:buClr>
                <a:srgbClr val="00214A"/>
              </a:buClr>
            </a:pPr>
            <a:r>
              <a:rPr lang="en-US" sz="1200" dirty="0" smtClean="0">
                <a:latin typeface="Verdana"/>
                <a:ea typeface="MS PGothic" pitchFamily="34" charset="-128"/>
              </a:rPr>
              <a:t>Automotive semiconductors incl. semiconductor sensors.</a:t>
            </a:r>
          </a:p>
          <a:p>
            <a:pPr marL="627063" indent="-627063" eaLnBrk="0" hangingPunct="0">
              <a:spcAft>
                <a:spcPts val="600"/>
              </a:spcAft>
              <a:buClr>
                <a:srgbClr val="00214A"/>
              </a:buClr>
            </a:pPr>
            <a:r>
              <a:rPr lang="en-US" sz="1200" dirty="0" smtClean="0">
                <a:latin typeface="Verdana"/>
                <a:ea typeface="MS PGothic" pitchFamily="34" charset="-128"/>
              </a:rPr>
              <a:t>Source:	Strategy Analytics,</a:t>
            </a:r>
            <a:br>
              <a:rPr lang="en-US" sz="1200" dirty="0" smtClean="0">
                <a:latin typeface="Verdana"/>
                <a:ea typeface="MS PGothic" pitchFamily="34" charset="-128"/>
              </a:rPr>
            </a:br>
            <a:r>
              <a:rPr lang="en-US" sz="1200" dirty="0" smtClean="0">
                <a:latin typeface="Verdana"/>
                <a:ea typeface="MS PGothic" pitchFamily="34" charset="-128"/>
              </a:rPr>
              <a:t>April 2015</a:t>
            </a:r>
          </a:p>
        </p:txBody>
      </p:sp>
      <p:sp>
        <p:nvSpPr>
          <p:cNvPr id="40" name="Text Box 3"/>
          <p:cNvSpPr txBox="1">
            <a:spLocks noChangeArrowheads="1"/>
          </p:cNvSpPr>
          <p:nvPr/>
        </p:nvSpPr>
        <p:spPr bwMode="auto">
          <a:xfrm>
            <a:off x="252164" y="1412720"/>
            <a:ext cx="2736000" cy="1080000"/>
          </a:xfrm>
          <a:prstGeom prst="rect">
            <a:avLst/>
          </a:prstGeom>
          <a:noFill/>
          <a:ln w="9525" cap="flat" cmpd="sng" algn="ctr">
            <a:noFill/>
            <a:prstDash val="solid"/>
            <a:headEnd/>
            <a:tailEnd/>
          </a:ln>
          <a:effectLst/>
        </p:spPr>
        <p:txBody>
          <a:bodyPr wrap="square" lIns="0" tIns="28800" rIns="0" anchor="t" anchorCtr="0"/>
          <a:lstStyle/>
          <a:p>
            <a:pPr fontAlgn="auto">
              <a:spcBef>
                <a:spcPts val="300"/>
              </a:spcBef>
              <a:spcAft>
                <a:spcPts val="0"/>
              </a:spcAft>
              <a:buClr>
                <a:srgbClr val="FFFFFF"/>
              </a:buClr>
              <a:defRPr/>
            </a:pPr>
            <a:r>
              <a:rPr lang="en-US" sz="1600" b="1" kern="0" dirty="0" smtClean="0">
                <a:latin typeface="Verdana"/>
                <a:cs typeface="Arial" pitchFamily="34" charset="0"/>
              </a:rPr>
              <a:t>Automotive semiconductors</a:t>
            </a:r>
          </a:p>
          <a:p>
            <a:pPr fontAlgn="auto">
              <a:spcBef>
                <a:spcPts val="600"/>
              </a:spcBef>
              <a:spcAft>
                <a:spcPts val="0"/>
              </a:spcAft>
              <a:buClr>
                <a:srgbClr val="FFFFFF"/>
              </a:buClr>
              <a:defRPr/>
            </a:pPr>
            <a:r>
              <a:rPr lang="en-US" sz="1200" kern="0" dirty="0" smtClean="0">
                <a:latin typeface="Verdana"/>
                <a:cs typeface="Arial" pitchFamily="34" charset="0"/>
              </a:rPr>
              <a:t>total market in 2014:</a:t>
            </a:r>
            <a:br>
              <a:rPr lang="en-US" sz="1200" kern="0" dirty="0" smtClean="0">
                <a:latin typeface="Verdana"/>
                <a:cs typeface="Arial" pitchFamily="34" charset="0"/>
              </a:rPr>
            </a:br>
            <a:r>
              <a:rPr lang="en-US" sz="1200" kern="0" dirty="0" smtClean="0">
                <a:latin typeface="Verdana"/>
                <a:cs typeface="Arial" pitchFamily="34" charset="0"/>
              </a:rPr>
              <a:t>$27.5bn</a:t>
            </a:r>
            <a:endParaRPr lang="en-US" sz="1200" kern="0" dirty="0">
              <a:latin typeface="Verdana"/>
              <a:cs typeface="Arial" pitchFamily="34" charset="0"/>
            </a:endParaRPr>
          </a:p>
        </p:txBody>
      </p:sp>
      <p:sp>
        <p:nvSpPr>
          <p:cNvPr id="44" name="Text Box 3"/>
          <p:cNvSpPr txBox="1">
            <a:spLocks noChangeArrowheads="1"/>
          </p:cNvSpPr>
          <p:nvPr/>
        </p:nvSpPr>
        <p:spPr bwMode="auto">
          <a:xfrm>
            <a:off x="3204190" y="1413026"/>
            <a:ext cx="2736000" cy="1080000"/>
          </a:xfrm>
          <a:prstGeom prst="rect">
            <a:avLst/>
          </a:prstGeom>
          <a:noFill/>
          <a:ln w="9525" cap="flat" cmpd="sng" algn="ctr">
            <a:noFill/>
            <a:prstDash val="solid"/>
            <a:headEnd/>
            <a:tailEnd/>
          </a:ln>
          <a:effectLst/>
        </p:spPr>
        <p:txBody>
          <a:bodyPr wrap="square" lIns="0" tIns="28800" rIns="0" anchor="t" anchorCtr="0"/>
          <a:lstStyle/>
          <a:p>
            <a:pPr fontAlgn="auto">
              <a:spcBef>
                <a:spcPts val="300"/>
              </a:spcBef>
              <a:spcAft>
                <a:spcPts val="0"/>
              </a:spcAft>
              <a:buClr>
                <a:srgbClr val="FFFFFF"/>
              </a:buClr>
              <a:defRPr/>
            </a:pPr>
            <a:r>
              <a:rPr lang="en-US" sz="1600" b="1" kern="0" dirty="0" smtClean="0">
                <a:latin typeface="Verdana"/>
                <a:cs typeface="Arial" pitchFamily="34" charset="0"/>
              </a:rPr>
              <a:t>Power</a:t>
            </a:r>
            <a:br>
              <a:rPr lang="en-US" sz="1600" b="1" kern="0" dirty="0" smtClean="0">
                <a:latin typeface="Verdana"/>
                <a:cs typeface="Arial" pitchFamily="34" charset="0"/>
              </a:rPr>
            </a:br>
            <a:r>
              <a:rPr lang="en-US" sz="1600" b="1" kern="0" dirty="0" smtClean="0">
                <a:latin typeface="Verdana"/>
                <a:cs typeface="Arial" pitchFamily="34" charset="0"/>
              </a:rPr>
              <a:t>semiconductors</a:t>
            </a:r>
          </a:p>
          <a:p>
            <a:pPr fontAlgn="auto">
              <a:spcBef>
                <a:spcPts val="600"/>
              </a:spcBef>
              <a:spcAft>
                <a:spcPts val="0"/>
              </a:spcAft>
              <a:buClr>
                <a:srgbClr val="FFFFFF"/>
              </a:buClr>
              <a:defRPr/>
            </a:pPr>
            <a:r>
              <a:rPr lang="en-US" sz="1200" kern="0" dirty="0" smtClean="0">
                <a:latin typeface="Verdana"/>
                <a:cs typeface="Arial" pitchFamily="34" charset="0"/>
              </a:rPr>
              <a:t>total market in 2014:</a:t>
            </a:r>
            <a:br>
              <a:rPr lang="en-US" sz="1200" kern="0" dirty="0" smtClean="0">
                <a:latin typeface="Verdana"/>
                <a:cs typeface="Arial" pitchFamily="34" charset="0"/>
              </a:rPr>
            </a:br>
            <a:r>
              <a:rPr lang="en-US" sz="1200" kern="0" dirty="0" smtClean="0">
                <a:latin typeface="Verdana"/>
                <a:cs typeface="Arial" pitchFamily="34" charset="0"/>
              </a:rPr>
              <a:t>$16.2bn</a:t>
            </a:r>
            <a:endParaRPr lang="en-US" sz="1200" kern="0" dirty="0">
              <a:latin typeface="Verdana"/>
              <a:cs typeface="Arial" pitchFamily="34" charset="0"/>
            </a:endParaRPr>
          </a:p>
        </p:txBody>
      </p:sp>
      <p:sp>
        <p:nvSpPr>
          <p:cNvPr id="45" name="Text Box 3"/>
          <p:cNvSpPr txBox="1">
            <a:spLocks noChangeArrowheads="1"/>
          </p:cNvSpPr>
          <p:nvPr/>
        </p:nvSpPr>
        <p:spPr bwMode="auto">
          <a:xfrm>
            <a:off x="6156600" y="1413026"/>
            <a:ext cx="2736000" cy="1080000"/>
          </a:xfrm>
          <a:prstGeom prst="rect">
            <a:avLst/>
          </a:prstGeom>
          <a:noFill/>
          <a:ln w="9525" cap="flat" cmpd="sng" algn="ctr">
            <a:noFill/>
            <a:prstDash val="solid"/>
            <a:headEnd/>
            <a:tailEnd/>
          </a:ln>
          <a:effectLst/>
        </p:spPr>
        <p:txBody>
          <a:bodyPr wrap="square" lIns="0" tIns="28800" rIns="0" anchor="t" anchorCtr="0"/>
          <a:lstStyle/>
          <a:p>
            <a:pPr fontAlgn="auto">
              <a:spcBef>
                <a:spcPts val="300"/>
              </a:spcBef>
              <a:spcAft>
                <a:spcPts val="0"/>
              </a:spcAft>
              <a:buClr>
                <a:srgbClr val="FFFFFF"/>
              </a:buClr>
              <a:defRPr/>
            </a:pPr>
            <a:r>
              <a:rPr lang="en-US" sz="1600" b="1" kern="0" dirty="0" smtClean="0">
                <a:latin typeface="Verdana"/>
                <a:cs typeface="Arial" pitchFamily="34" charset="0"/>
              </a:rPr>
              <a:t>Smart card </a:t>
            </a:r>
            <a:r>
              <a:rPr lang="en-US" sz="1600" b="1" kern="0" dirty="0" err="1" smtClean="0">
                <a:latin typeface="Verdana"/>
                <a:cs typeface="Arial" pitchFamily="34" charset="0"/>
              </a:rPr>
              <a:t>Ics</a:t>
            </a:r>
            <a:r>
              <a:rPr lang="en-US" sz="1600" b="1" kern="0" dirty="0" smtClean="0">
                <a:latin typeface="Verdana"/>
                <a:cs typeface="Arial" pitchFamily="34" charset="0"/>
              </a:rPr>
              <a:t/>
            </a:r>
            <a:br>
              <a:rPr lang="en-US" sz="1600" b="1" kern="0" dirty="0" smtClean="0">
                <a:latin typeface="Verdana"/>
                <a:cs typeface="Arial" pitchFamily="34" charset="0"/>
              </a:rPr>
            </a:br>
            <a:endParaRPr lang="en-US" sz="1600" b="1" kern="0" dirty="0" smtClean="0">
              <a:latin typeface="Verdana"/>
              <a:cs typeface="Arial" pitchFamily="34" charset="0"/>
            </a:endParaRPr>
          </a:p>
          <a:p>
            <a:pPr fontAlgn="auto">
              <a:spcBef>
                <a:spcPts val="600"/>
              </a:spcBef>
              <a:spcAft>
                <a:spcPts val="0"/>
              </a:spcAft>
              <a:buClr>
                <a:srgbClr val="FFFFFF"/>
              </a:buClr>
              <a:defRPr/>
            </a:pPr>
            <a:r>
              <a:rPr lang="en-US" sz="1200" kern="0" dirty="0" smtClean="0">
                <a:latin typeface="Verdana"/>
                <a:cs typeface="Arial" pitchFamily="34" charset="0"/>
              </a:rPr>
              <a:t>total market in 2014:</a:t>
            </a:r>
            <a:br>
              <a:rPr lang="en-US" sz="1200" kern="0" dirty="0" smtClean="0">
                <a:latin typeface="Verdana"/>
                <a:cs typeface="Arial" pitchFamily="34" charset="0"/>
              </a:rPr>
            </a:br>
            <a:r>
              <a:rPr lang="en-US" sz="1200" kern="0" dirty="0" smtClean="0">
                <a:latin typeface="Verdana"/>
                <a:cs typeface="Arial" pitchFamily="34" charset="0"/>
              </a:rPr>
              <a:t>$2.63bn</a:t>
            </a:r>
            <a:endParaRPr lang="en-US" sz="1200" kern="0" dirty="0">
              <a:latin typeface="Verdana"/>
              <a:cs typeface="Arial" pitchFamily="34" charset="0"/>
            </a:endParaRPr>
          </a:p>
        </p:txBody>
      </p:sp>
      <p:cxnSp>
        <p:nvCxnSpPr>
          <p:cNvPr id="15" name="Straight Connector 14"/>
          <p:cNvCxnSpPr/>
          <p:nvPr/>
        </p:nvCxnSpPr>
        <p:spPr>
          <a:xfrm>
            <a:off x="3059790" y="1412720"/>
            <a:ext cx="0" cy="4919332"/>
          </a:xfrm>
          <a:prstGeom prst="line">
            <a:avLst/>
          </a:prstGeom>
          <a:ln w="9525">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12200" y="1412720"/>
            <a:ext cx="0" cy="4919332"/>
          </a:xfrm>
          <a:prstGeom prst="line">
            <a:avLst/>
          </a:prstGeom>
          <a:ln w="9525">
            <a:solidFill>
              <a:schemeClr val="bg2">
                <a:lumMod val="75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874579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Lst>
</file>

<file path=ppt/tags/tag2.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ags/tag3.xml><?xml version="1.0" encoding="utf-8"?>
<p:tagLst xmlns:a="http://schemas.openxmlformats.org/drawingml/2006/main" xmlns:r="http://schemas.openxmlformats.org/officeDocument/2006/relationships" xmlns:p="http://schemas.openxmlformats.org/presentationml/2006/main">
  <p:tag name="FB-SLIDENAME" val="3 columns with pictures"/>
  <p:tag name="FB-CATEGORY" val="Slides with pictures"/>
</p:tagLst>
</file>

<file path=ppt/tags/tag4.xml><?xml version="1.0" encoding="utf-8"?>
<p:tagLst xmlns:a="http://schemas.openxmlformats.org/drawingml/2006/main" xmlns:r="http://schemas.openxmlformats.org/officeDocument/2006/relationships" xmlns:p="http://schemas.openxmlformats.org/presentationml/2006/main">
  <p:tag name="FB-SLIDENAME" val="World map with caption"/>
  <p:tag name="FB-CATEGORY" val="Map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6abvLJEam0eQ9bnBSquDOw"/>
</p:tagLst>
</file>

<file path=ppt/tags/tag6.xml><?xml version="1.0" encoding="utf-8"?>
<p:tagLst xmlns:a="http://schemas.openxmlformats.org/drawingml/2006/main" xmlns:r="http://schemas.openxmlformats.org/officeDocument/2006/relationships" xmlns:p="http://schemas.openxmlformats.org/presentationml/2006/main">
  <p:tag name="FB-SLIDENAME" val="4 boxes with title"/>
  <p:tag name="FB-CATEGORY" val="Title slide, text and agenda"/>
</p:tagLst>
</file>

<file path=ppt/theme/theme1.xml><?xml version="1.0" encoding="utf-8"?>
<a:theme xmlns:a="http://schemas.openxmlformats.org/drawingml/2006/main" name="blank">
  <a:themeElements>
    <a:clrScheme name="IFX Neues Design 2015">
      <a:dk1>
        <a:srgbClr val="000000"/>
      </a:dk1>
      <a:lt1>
        <a:srgbClr val="FFFFFF"/>
      </a:lt1>
      <a:dk2>
        <a:srgbClr val="84B6A7"/>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w="9525">
          <a:noFill/>
          <a:miter lim="800000"/>
          <a:headEnd/>
          <a:tailEnd/>
        </a:ln>
      </a:spPr>
      <a:bodyPr wrap="square" lIns="72000" tIns="72000" rIns="72000" bIns="72000" rtlCol="0" anchor="ctr"/>
      <a:lstStyle>
        <a:defPPr algn="ctr" eaLnBrk="0" hangingPunct="0">
          <a:defRPr sz="1600" dirty="0" smtClean="0">
            <a:latin typeface="+mn-lt"/>
            <a:ea typeface="Verdana" pitchFamily="34" charset="0"/>
            <a:cs typeface="Verdana" pitchFamily="34" charset="0"/>
          </a:defRPr>
        </a:defPPr>
      </a:lstStyle>
    </a:spDef>
    <a:lnDef>
      <a:spPr>
        <a:ln w="1905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ctr" anchorCtr="0">
        <a:spAutoFit/>
      </a:bodyPr>
      <a:lstStyle>
        <a:defPPr marL="285750" marR="0" indent="-285750" defTabSz="914400" eaLnBrk="0" fontAlgn="auto" latinLnBrk="0" hangingPunct="0">
          <a:spcBef>
            <a:spcPts val="0"/>
          </a:spcBef>
          <a:spcAft>
            <a:spcPts val="300"/>
          </a:spcAft>
          <a:buClr>
            <a:schemeClr val="accent1"/>
          </a:buClr>
          <a:buSzTx/>
          <a:buFont typeface="Arial" panose="020B0604020202020204" pitchFamily="34" charset="0"/>
          <a:buChar char="›"/>
          <a:tabLst/>
          <a:defRPr sz="1400" kern="0" dirty="0" smtClean="0">
            <a:latin typeface="Verdana" pitchFamily="34" charset="0"/>
            <a:ea typeface="Verdana" pitchFamily="34" charset="0"/>
            <a:cs typeface="Verdana" pitchFamily="34" charset="0"/>
          </a:defRPr>
        </a:defPPr>
      </a:lstStyle>
    </a:txDef>
  </a:objectDefaults>
  <a:extraClrSchemeLst/>
  <a:extLst>
    <a:ext uri="{05A4C25C-085E-4340-85A3-A5531E510DB2}">
      <thm15:themeFamily xmlns:thm15="http://schemas.microsoft.com/office/thememl/2012/main" xmlns="" name="Presentation1" id="{8C34893D-68E5-4138-B57D-402AEA3882AA}" vid="{150C4280-DFD2-4C45-B14E-733F667A1F56}"/>
    </a:ext>
  </a:extLst>
</a:theme>
</file>

<file path=ppt/theme/theme2.xml><?xml version="1.0" encoding="utf-8"?>
<a:theme xmlns:a="http://schemas.openxmlformats.org/drawingml/2006/main" name="Larissa-Design">
  <a:themeElements>
    <a:clrScheme name="IFX Neues Design 2015">
      <a:dk1>
        <a:srgbClr val="000000"/>
      </a:dk1>
      <a:lt1>
        <a:srgbClr val="FFFFFF"/>
      </a:lt1>
      <a:dk2>
        <a:srgbClr val="000000"/>
      </a:dk2>
      <a:lt2>
        <a:srgbClr val="928285"/>
      </a:lt2>
      <a:accent1>
        <a:srgbClr val="E30034"/>
      </a:accent1>
      <a:accent2>
        <a:srgbClr val="E9E6E6"/>
      </a:accent2>
      <a:accent3>
        <a:srgbClr val="9BC3B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8186</Words>
  <Application>Microsoft Macintosh PowerPoint</Application>
  <PresentationFormat>On-screen Show (4:3)</PresentationFormat>
  <Paragraphs>911</Paragraphs>
  <Slides>51</Slides>
  <Notes>46</Notes>
  <HiddenSlides>0</HiddenSlides>
  <MMClips>0</MMClips>
  <ScaleCrop>false</ScaleCrop>
  <HeadingPairs>
    <vt:vector size="4" baseType="variant">
      <vt:variant>
        <vt:lpstr>Theme</vt:lpstr>
      </vt:variant>
      <vt:variant>
        <vt:i4>1</vt:i4>
      </vt:variant>
      <vt:variant>
        <vt:lpstr>Slide Titles</vt:lpstr>
      </vt:variant>
      <vt:variant>
        <vt:i4>51</vt:i4>
      </vt:variant>
    </vt:vector>
  </HeadingPairs>
  <TitlesOfParts>
    <vt:vector size="52" baseType="lpstr">
      <vt:lpstr>blank</vt:lpstr>
      <vt:lpstr>Verification at the Infineon Design Centre, Bristol</vt:lpstr>
      <vt:lpstr>Overview</vt:lpstr>
      <vt:lpstr>PowerPoint Presentation</vt:lpstr>
      <vt:lpstr>Semiconductor Industry</vt:lpstr>
      <vt:lpstr>Working in the Semiconductor Industry</vt:lpstr>
      <vt:lpstr>Semiconductor Industry in Bristol Area</vt:lpstr>
      <vt:lpstr>PowerPoint Presentation</vt:lpstr>
      <vt:lpstr>PowerPoint Presentation</vt:lpstr>
      <vt:lpstr>Top positions in all major product categories</vt:lpstr>
      <vt:lpstr>Revenue split by segment</vt:lpstr>
      <vt:lpstr>Product range</vt:lpstr>
      <vt:lpstr>Our global R&amp;D network</vt:lpstr>
      <vt:lpstr>Infineon creates a net ecologic benefit</vt:lpstr>
      <vt:lpstr>Advanced Driver Assistance Systems (ADAS)</vt:lpstr>
      <vt:lpstr>Towards Autonomous Vehicles</vt:lpstr>
      <vt:lpstr>PowerPoint Presentation</vt:lpstr>
      <vt:lpstr>Infineon, Bristol</vt:lpstr>
      <vt:lpstr>What is an Automotive Microcontroller?</vt:lpstr>
      <vt:lpstr>Example Automotive System</vt:lpstr>
      <vt:lpstr>TC279TA Microcontroller</vt:lpstr>
      <vt:lpstr>TC279TA Microcontroller – Bristol</vt:lpstr>
      <vt:lpstr>TC279TA Microcontroller - ADAS</vt:lpstr>
      <vt:lpstr>TriCore Processor</vt:lpstr>
      <vt:lpstr>PowerPoint Presentation</vt:lpstr>
      <vt:lpstr>Amount of Verification - Industry</vt:lpstr>
      <vt:lpstr>Cost of Not Doing Verification</vt:lpstr>
      <vt:lpstr>Cost of Hardware Bugs – ‘Shift Left’</vt:lpstr>
      <vt:lpstr>Summary</vt:lpstr>
      <vt:lpstr>PowerPoint Presentation</vt:lpstr>
      <vt:lpstr>TC279TA Compute and ADAS Sub-system</vt:lpstr>
      <vt:lpstr>Challenges</vt:lpstr>
      <vt:lpstr>Addressing the challenges</vt:lpstr>
      <vt:lpstr>Module Level Verification</vt:lpstr>
      <vt:lpstr>Module Level Verification</vt:lpstr>
      <vt:lpstr>System and Sub-system Level Verification</vt:lpstr>
      <vt:lpstr>PowerPoint Presentation</vt:lpstr>
      <vt:lpstr>Verification Technologies</vt:lpstr>
      <vt:lpstr>When we use formal</vt:lpstr>
      <vt:lpstr>When we use simulation</vt:lpstr>
      <vt:lpstr>PowerPoint Presentation</vt:lpstr>
      <vt:lpstr>Different types of re-use</vt:lpstr>
      <vt:lpstr>Example Property</vt:lpstr>
      <vt:lpstr>Formal Constraints</vt:lpstr>
      <vt:lpstr>Incorrectly coded constraints</vt:lpstr>
      <vt:lpstr>Detecting False Passes</vt:lpstr>
      <vt:lpstr>Checking Properties at Different Hierarchy Levels</vt:lpstr>
      <vt:lpstr>PowerPoint Presentation</vt:lpstr>
      <vt:lpstr>Summary</vt:lpstr>
      <vt:lpstr>Summary</vt:lpstr>
      <vt:lpstr>PowerPoint Presentation</vt:lpstr>
      <vt:lpstr>Addressing the challeng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04-03-02T21:24:15Z</cp:lastPrinted>
  <dcterms:created xsi:type="dcterms:W3CDTF">2015-11-04T16:40:52Z</dcterms:created>
  <dcterms:modified xsi:type="dcterms:W3CDTF">2015-12-07T13:2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v.02.00.01-2015-07-22</vt:lpwstr>
  </property>
  <property fmtid="{D5CDD505-2E9C-101B-9397-08002B2CF9AE}" pid="3" name="TemplateCompany">
    <vt:lpwstr>IFX</vt:lpwstr>
  </property>
</Properties>
</file>